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notesSlides/notesSlide4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notesSlides/notesSlide44.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0.xml" ContentType="application/vnd.openxmlformats-officedocument.themeOverride+xml"/>
  <Override PartName="/ppt/charts/chart13.xml" ContentType="application/vnd.openxmlformats-officedocument.drawingml.chart+xml"/>
  <Override PartName="/ppt/theme/themeOverride11.xml" ContentType="application/vnd.openxmlformats-officedocument.themeOverride+xml"/>
  <Override PartName="/ppt/notesSlides/notesSlide49.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2.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15.xml" ContentType="application/vnd.openxmlformats-officedocument.drawingml.chart+xml"/>
  <Override PartName="/ppt/theme/themeOverride13.xml" ContentType="application/vnd.openxmlformats-officedocument.themeOverride+xml"/>
  <Override PartName="/ppt/notesSlides/notesSlide52.xml" ContentType="application/vnd.openxmlformats-officedocument.presentationml.notesSlide+xml"/>
  <Override PartName="/ppt/charts/chart16.xml" ContentType="application/vnd.openxmlformats-officedocument.drawingml.chart+xml"/>
  <Override PartName="/ppt/theme/themeOverride14.xml" ContentType="application/vnd.openxmlformats-officedocument.themeOverr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1" r:id="rId5"/>
    <p:sldMasterId id="2147483741" r:id="rId6"/>
  </p:sldMasterIdLst>
  <p:notesMasterIdLst>
    <p:notesMasterId r:id="rId71"/>
  </p:notesMasterIdLst>
  <p:sldIdLst>
    <p:sldId id="2147199715" r:id="rId7"/>
    <p:sldId id="2147199723" r:id="rId8"/>
    <p:sldId id="2147199697" r:id="rId9"/>
    <p:sldId id="2147199711" r:id="rId10"/>
    <p:sldId id="748" r:id="rId11"/>
    <p:sldId id="2147199707" r:id="rId12"/>
    <p:sldId id="2147199675" r:id="rId13"/>
    <p:sldId id="2147197786" r:id="rId14"/>
    <p:sldId id="749" r:id="rId15"/>
    <p:sldId id="266" r:id="rId16"/>
    <p:sldId id="2147199700" r:id="rId17"/>
    <p:sldId id="2147199699" r:id="rId18"/>
    <p:sldId id="2147199683" r:id="rId19"/>
    <p:sldId id="2147199725" r:id="rId20"/>
    <p:sldId id="274" r:id="rId21"/>
    <p:sldId id="2147199659" r:id="rId22"/>
    <p:sldId id="2147199685" r:id="rId23"/>
    <p:sldId id="694" r:id="rId24"/>
    <p:sldId id="2147199717" r:id="rId25"/>
    <p:sldId id="2147199698" r:id="rId26"/>
    <p:sldId id="746" r:id="rId27"/>
    <p:sldId id="2147199671" r:id="rId28"/>
    <p:sldId id="2147199710" r:id="rId29"/>
    <p:sldId id="2147199709" r:id="rId30"/>
    <p:sldId id="2147199688" r:id="rId31"/>
    <p:sldId id="2147199716" r:id="rId32"/>
    <p:sldId id="2147199689" r:id="rId33"/>
    <p:sldId id="259" r:id="rId34"/>
    <p:sldId id="712" r:id="rId35"/>
    <p:sldId id="688" r:id="rId36"/>
    <p:sldId id="2147199650" r:id="rId37"/>
    <p:sldId id="689" r:id="rId38"/>
    <p:sldId id="2147199695" r:id="rId39"/>
    <p:sldId id="2147199718" r:id="rId40"/>
    <p:sldId id="2147199690" r:id="rId41"/>
    <p:sldId id="671" r:id="rId42"/>
    <p:sldId id="2147199626" r:id="rId43"/>
    <p:sldId id="2147199641" r:id="rId44"/>
    <p:sldId id="2147199705" r:id="rId45"/>
    <p:sldId id="2147199719" r:id="rId46"/>
    <p:sldId id="2147199691" r:id="rId47"/>
    <p:sldId id="2147199651" r:id="rId48"/>
    <p:sldId id="697" r:id="rId49"/>
    <p:sldId id="696" r:id="rId50"/>
    <p:sldId id="2147199708" r:id="rId51"/>
    <p:sldId id="2147199720" r:id="rId52"/>
    <p:sldId id="2147199693" r:id="rId53"/>
    <p:sldId id="677" r:id="rId54"/>
    <p:sldId id="2147199713" r:id="rId55"/>
    <p:sldId id="2147199673" r:id="rId56"/>
    <p:sldId id="2147199655" r:id="rId57"/>
    <p:sldId id="592" r:id="rId58"/>
    <p:sldId id="2147199668" r:id="rId59"/>
    <p:sldId id="2147199721" r:id="rId60"/>
    <p:sldId id="562" r:id="rId61"/>
    <p:sldId id="681" r:id="rId62"/>
    <p:sldId id="690" r:id="rId63"/>
    <p:sldId id="2147199656" r:id="rId64"/>
    <p:sldId id="691" r:id="rId65"/>
    <p:sldId id="2147199722" r:id="rId66"/>
    <p:sldId id="3125" r:id="rId67"/>
    <p:sldId id="2147199724" r:id="rId68"/>
    <p:sldId id="2147199706" r:id="rId69"/>
    <p:sldId id="2147199703" r:id="rId70"/>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ADF5B24A-6E37-487B-833B-7980C394DFDE}">
          <p14:sldIdLst>
            <p14:sldId id="2147199715"/>
            <p14:sldId id="2147199723"/>
            <p14:sldId id="2147199697"/>
            <p14:sldId id="2147199711"/>
            <p14:sldId id="748"/>
            <p14:sldId id="2147199707"/>
            <p14:sldId id="2147199675"/>
            <p14:sldId id="2147197786"/>
            <p14:sldId id="749"/>
            <p14:sldId id="266"/>
            <p14:sldId id="2147199700"/>
          </p14:sldIdLst>
        </p14:section>
        <p14:section name="Arbeidsmarked" id="{43D28688-DA3B-4C99-A72C-038E72869BBA}">
          <p14:sldIdLst>
            <p14:sldId id="2147199699"/>
            <p14:sldId id="2147199683"/>
            <p14:sldId id="2147199725"/>
            <p14:sldId id="274"/>
            <p14:sldId id="2147199659"/>
            <p14:sldId id="2147199685"/>
            <p14:sldId id="694"/>
            <p14:sldId id="2147199717"/>
          </p14:sldIdLst>
        </p14:section>
        <p14:section name="Demografi" id="{CAFF016B-4065-4783-A68F-5DBFAEEA8077}">
          <p14:sldIdLst>
            <p14:sldId id="2147199698"/>
            <p14:sldId id="746"/>
            <p14:sldId id="2147199671"/>
            <p14:sldId id="2147199710"/>
            <p14:sldId id="2147199709"/>
            <p14:sldId id="2147199688"/>
            <p14:sldId id="2147199716"/>
          </p14:sldIdLst>
        </p14:section>
        <p14:section name="Brukerforventninger" id="{2ADD3E2C-0E80-425E-937D-02F6005E3102}">
          <p14:sldIdLst>
            <p14:sldId id="2147199689"/>
            <p14:sldId id="259"/>
            <p14:sldId id="712"/>
            <p14:sldId id="688"/>
            <p14:sldId id="2147199650"/>
            <p14:sldId id="689"/>
            <p14:sldId id="2147199695"/>
            <p14:sldId id="2147199718"/>
          </p14:sldIdLst>
        </p14:section>
        <p14:section name="Teknologi" id="{6CF5FE59-F3A8-4EC9-BDAA-51E636781E3A}">
          <p14:sldIdLst>
            <p14:sldId id="2147199690"/>
            <p14:sldId id="671"/>
            <p14:sldId id="2147199626"/>
            <p14:sldId id="2147199641"/>
            <p14:sldId id="2147199705"/>
            <p14:sldId id="2147199719"/>
          </p14:sldIdLst>
        </p14:section>
        <p14:section name="Levekår" id="{54634C31-DC7A-4B92-BB1E-FB21458AF658}">
          <p14:sldIdLst>
            <p14:sldId id="2147199691"/>
            <p14:sldId id="2147199651"/>
            <p14:sldId id="697"/>
            <p14:sldId id="696"/>
            <p14:sldId id="2147199708"/>
            <p14:sldId id="2147199720"/>
          </p14:sldIdLst>
        </p14:section>
        <p14:section name="Helse" id="{305D9540-7A91-4BEE-8AF6-63DD818DF5B9}">
          <p14:sldIdLst>
            <p14:sldId id="2147199693"/>
            <p14:sldId id="677"/>
            <p14:sldId id="2147199713"/>
            <p14:sldId id="2147199673"/>
            <p14:sldId id="2147199655"/>
            <p14:sldId id="592"/>
            <p14:sldId id="2147199668"/>
            <p14:sldId id="2147199721"/>
          </p14:sldIdLst>
        </p14:section>
        <p14:section name="Politiske trender" id="{298459AC-FD7C-4C88-8D16-35936D32DD47}">
          <p14:sldIdLst>
            <p14:sldId id="562"/>
            <p14:sldId id="681"/>
            <p14:sldId id="690"/>
            <p14:sldId id="2147199656"/>
            <p14:sldId id="691"/>
            <p14:sldId id="2147199722"/>
          </p14:sldIdLst>
        </p14:section>
        <p14:section name="Kompetanse" id="{2281381E-4422-4BA1-8A5E-1E0925715477}">
          <p14:sldIdLst>
            <p14:sldId id="3125"/>
            <p14:sldId id="2147199724"/>
            <p14:sldId id="2147199706"/>
            <p14:sldId id="214719970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0C510F-1BB1-B98F-6A41-07CD3587F7CB}" name="Lien, Ole Christian" initials="LC" userId="S::ole.christian.lien@nav.no::273202a6-48ae-4110-b993-7f020695e2c7" providerId="AD"/>
  <p188:author id="{F371D610-C817-ED97-577D-44FDE0CCE58F}" name="Ringnes, Ida Frisak" initials="RIF" userId="S::Ida.Frisak.Ringnes@nav.no::b59d8213-1dd3-4463-abd2-23b77ac9626d" providerId="AD"/>
  <p188:author id="{920B082A-2DAD-8BC8-732A-5B971BDED5AF}" name="Nossen, Jon Petter" initials="NJP" userId="S::Jon.Petter.Nossen@nav.no::4276b89b-734f-4e0c-813a-0a48ebe67d4f" providerId="AD"/>
  <p188:author id="{6A5CD842-146A-F3E5-A0A6-9F4329F4CA54}" name="Friess, Marianne Åsheim" initials="FÅ" userId="S::marianne.asheim.friess@nav.no::fc1461f3-aaaf-4a21-a95b-0a4fd8f5ce67" providerId="AD"/>
  <p188:author id="{B4B1CC51-6183-A57C-86EB-09E39342371D}" name="Nyberg, Tor Erik" initials="NE" userId="S::tor.erik.nyberg@nav.no::86602162-afdc-4b7e-9f14-fe6ed5d484a5" providerId="AD"/>
  <p188:author id="{A0990E57-34AD-3255-45D0-77D81A013208}" name="Schjold, Hanne Røvig" initials="SR" userId="S::hanne.rovig.schjold@nav.no::72e82339-bab0-442f-8ca6-e6f386a713ee" providerId="AD"/>
  <p188:author id="{081869A5-A7D7-B0E9-920C-38EAFDF302F0}" name="Holbæk-Hanssen, Jørgen" initials="HJ" userId="S::jorgen.holbek-hanssen@nav.no::a3d0a255-9183-455d-a309-251e105a1144" providerId="AD"/>
  <p188:author id="{FF8917C9-34B0-84E9-D08E-785E8668A8F3}" name="Lien, Ole Christian" initials="LOC" userId="S::Ole.Christian.Lien@nav.no::273202a6-48ae-4110-b993-7f020695e2c7" providerId="AD"/>
  <p188:author id="{F18AE0C9-B807-9848-EB82-4C53374A7E33}" name="Sandvik, Raija Kristin" initials="SRK" userId="S::Raija.Kristin.Sandvik@nav.no::086f37df-ac80-4ffd-8133-fa03d7fd1edb" providerId="AD"/>
  <p188:author id="{A591D4E0-055F-8C33-49A8-7429A325A960}" name="Høibjerg, Gard Ringen" initials="HGR" userId="S::gard.ringen.hoibjerg@nav.no::294f0737-741a-46ff-b151-3b2308e4b780" providerId="AD"/>
  <p188:author id="{97FB26E3-12D3-EE67-BA8D-F55027E70DB9}" name="Holbæk-Hanssen, Jørgen" initials="HHJ" userId="S::Jorgen.Holbek-Hanssen@nav.no::a3d0a255-9183-455d-a309-251e105a1144" providerId="AD"/>
  <p188:author id="{1DABE4E7-7ACB-2FA9-6C33-D9CD3876265D}" name="Schjold, Hanne Røvig" initials="SHR" userId="S::Hanne.Rovig.Schjold@nav.no::72e82339-bab0-442f-8ca6-e6f386a713ee" providerId="AD"/>
  <p188:author id="{E77119F9-295C-2472-36E8-911B8D2F7ED8}" name="Røstad, Håkon" initials="RH" userId="S::Hakon.Rostad@nav.no::c1637928-4d10-4cf2-9484-0473857c74e2" providerId="AD"/>
  <p188:author id="{074F03FD-29D0-A9A0-71AC-8F86EF675224}" name="Ringnes, Ida Frisak" initials="RF" userId="S::ida.frisak.ringnes@nav.no::b59d8213-1dd3-4463-abd2-23b77ac9626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rgersen, Arne" initials="BA" lastIdx="9" clrIdx="0">
    <p:extLst>
      <p:ext uri="{19B8F6BF-5375-455C-9EA6-DF929625EA0E}">
        <p15:presenceInfo xmlns:p15="http://schemas.microsoft.com/office/powerpoint/2012/main" userId="S::arne.borgersen@nav.no::5b7421b7-34ee-4bb7-9d9e-27d5cfa49d23" providerId="AD"/>
      </p:ext>
    </p:extLst>
  </p:cmAuthor>
  <p:cmAuthor id="2" name="Wright, Magnus Ystebø" initials="WMY" lastIdx="3" clrIdx="1">
    <p:extLst>
      <p:ext uri="{19B8F6BF-5375-455C-9EA6-DF929625EA0E}">
        <p15:presenceInfo xmlns:p15="http://schemas.microsoft.com/office/powerpoint/2012/main" userId="S::Magnus.Ystebo.Wright@nav.no::92103ea6-1dde-4fed-b593-004455047983" providerId="AD"/>
      </p:ext>
    </p:extLst>
  </p:cmAuthor>
  <p:cmAuthor id="3" name="Lien, Ole Christian" initials="LOC" lastIdx="17" clrIdx="2">
    <p:extLst>
      <p:ext uri="{19B8F6BF-5375-455C-9EA6-DF929625EA0E}">
        <p15:presenceInfo xmlns:p15="http://schemas.microsoft.com/office/powerpoint/2012/main" userId="S::Ole.Christian.Lien@nav.no::273202a6-48ae-4110-b993-7f020695e2c7" providerId="AD"/>
      </p:ext>
    </p:extLst>
  </p:cmAuthor>
  <p:cmAuthor id="4" name="Vidal-Gil, Eugenia" initials="VE" lastIdx="4" clrIdx="3">
    <p:extLst>
      <p:ext uri="{19B8F6BF-5375-455C-9EA6-DF929625EA0E}">
        <p15:presenceInfo xmlns:p15="http://schemas.microsoft.com/office/powerpoint/2012/main" userId="S::eugenia.vidal-gil@nav.no::101174e8-6051-4185-9d42-cd459f6118aa" providerId="AD"/>
      </p:ext>
    </p:extLst>
  </p:cmAuthor>
  <p:cmAuthor id="5" name="Prabhu, Robindra" initials="PR" lastIdx="2" clrIdx="4">
    <p:extLst>
      <p:ext uri="{19B8F6BF-5375-455C-9EA6-DF929625EA0E}">
        <p15:presenceInfo xmlns:p15="http://schemas.microsoft.com/office/powerpoint/2012/main" userId="S::robindra.prabhu@nav.no::59803c5f-7f50-4f10-99ec-5d107a6be6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EE6"/>
    <a:srgbClr val="337C9B"/>
    <a:srgbClr val="323F42"/>
    <a:srgbClr val="FFFFFF"/>
    <a:srgbClr val="0C5472"/>
    <a:srgbClr val="000000"/>
    <a:srgbClr val="99BDCD"/>
    <a:srgbClr val="254652"/>
    <a:srgbClr val="194D62"/>
    <a:srgbClr val="005B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8211B3-6673-41AB-8A93-E8237AB30F22}" v="11" dt="2023-04-18T17:29:40.944"/>
    <p1510:client id="{A5BA931E-EE4F-4DD6-90C0-280734C8B083}" v="1" dt="2023-04-18T18:31:50.668"/>
    <p1510:client id="{A927EA70-17ED-490E-A653-0A9E208DC4A4}" v="6" vWet="16" dt="2023-04-18T06:35:47.441"/>
    <p1510:client id="{B825CDD3-22E1-42FB-AB0E-CBE958C84309}" v="199" dt="2023-04-18T07:29:40.365"/>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ddels stil 2 – uthev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ys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viewProps" Target="viewProp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presProps" Target="presProp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jold, Hanne Røvig" userId="S::hanne.rovig.schjold@nav.no::72e82339-bab0-442f-8ca6-e6f386a713ee" providerId="AD" clId="Web-{B1563CAD-2B59-917D-0952-AD885CA31444}"/>
    <pc:docChg chg="mod modSld">
      <pc:chgData name="Schjold, Hanne Røvig" userId="S::hanne.rovig.schjold@nav.no::72e82339-bab0-442f-8ca6-e6f386a713ee" providerId="AD" clId="Web-{B1563CAD-2B59-917D-0952-AD885CA31444}" dt="2023-04-14T12:09:50.087" v="4"/>
      <pc:docMkLst>
        <pc:docMk/>
      </pc:docMkLst>
      <pc:sldChg chg="addCm">
        <pc:chgData name="Schjold, Hanne Røvig" userId="S::hanne.rovig.schjold@nav.no::72e82339-bab0-442f-8ca6-e6f386a713ee" providerId="AD" clId="Web-{B1563CAD-2B59-917D-0952-AD885CA31444}" dt="2023-04-14T12:09:50.087" v="4"/>
        <pc:sldMkLst>
          <pc:docMk/>
          <pc:sldMk cId="3758531503" sldId="266"/>
        </pc:sldMkLst>
        <pc:extLst>
          <p:ext xmlns:p="http://schemas.openxmlformats.org/presentationml/2006/main" uri="{D6D511B9-2390-475A-947B-AFAB55BFBCF1}">
            <pc226:cmChg xmlns:pc226="http://schemas.microsoft.com/office/powerpoint/2022/06/main/command" chg="add">
              <pc226:chgData name="Schjold, Hanne Røvig" userId="S::hanne.rovig.schjold@nav.no::72e82339-bab0-442f-8ca6-e6f386a713ee" providerId="AD" clId="Web-{B1563CAD-2B59-917D-0952-AD885CA31444}" dt="2023-04-14T12:09:50.087" v="4"/>
              <pc2:cmMkLst xmlns:pc2="http://schemas.microsoft.com/office/powerpoint/2019/9/main/command">
                <pc:docMk/>
                <pc:sldMk cId="3758531503" sldId="266"/>
                <pc2:cmMk id="{72FD89F2-5391-4788-BF40-E51DD6AAB0ED}"/>
              </pc2:cmMkLst>
            </pc226:cmChg>
          </p:ext>
        </pc:extLst>
      </pc:sldChg>
      <pc:sldChg chg="modSp modCm">
        <pc:chgData name="Schjold, Hanne Røvig" userId="S::hanne.rovig.schjold@nav.no::72e82339-bab0-442f-8ca6-e6f386a713ee" providerId="AD" clId="Web-{B1563CAD-2B59-917D-0952-AD885CA31444}" dt="2023-04-14T12:02:00.534" v="2"/>
        <pc:sldMkLst>
          <pc:docMk/>
          <pc:sldMk cId="3770738012" sldId="688"/>
        </pc:sldMkLst>
        <pc:picChg chg="mod">
          <ac:chgData name="Schjold, Hanne Røvig" userId="S::hanne.rovig.schjold@nav.no::72e82339-bab0-442f-8ca6-e6f386a713ee" providerId="AD" clId="Web-{B1563CAD-2B59-917D-0952-AD885CA31444}" dt="2023-04-14T12:01:30.456" v="0"/>
          <ac:picMkLst>
            <pc:docMk/>
            <pc:sldMk cId="3770738012" sldId="688"/>
            <ac:picMk id="6" creationId="{19C285DB-BFD7-9FD9-D17E-D88A87018F35}"/>
          </ac:picMkLst>
        </pc:picChg>
        <pc:extLst>
          <p:ext xmlns:p="http://schemas.openxmlformats.org/presentationml/2006/main" uri="{D6D511B9-2390-475A-947B-AFAB55BFBCF1}">
            <pc226:cmChg xmlns:pc226="http://schemas.microsoft.com/office/powerpoint/2022/06/main/command" chg="">
              <pc226:chgData name="Schjold, Hanne Røvig" userId="S::hanne.rovig.schjold@nav.no::72e82339-bab0-442f-8ca6-e6f386a713ee" providerId="AD" clId="Web-{B1563CAD-2B59-917D-0952-AD885CA31444}" dt="2023-04-14T12:02:00.534" v="2"/>
              <pc2:cmMkLst xmlns:pc2="http://schemas.microsoft.com/office/powerpoint/2019/9/main/command">
                <pc:docMk/>
                <pc:sldMk cId="3770738012" sldId="688"/>
                <pc2:cmMk id="{B9B1FAB1-BA5F-4924-9C09-4CF853AF0698}"/>
              </pc2:cmMkLst>
              <pc226:cmRplyChg chg="add">
                <pc226:chgData name="Schjold, Hanne Røvig" userId="S::hanne.rovig.schjold@nav.no::72e82339-bab0-442f-8ca6-e6f386a713ee" providerId="AD" clId="Web-{B1563CAD-2B59-917D-0952-AD885CA31444}" dt="2023-04-14T12:02:00.534" v="2"/>
                <pc2:cmRplyMkLst xmlns:pc2="http://schemas.microsoft.com/office/powerpoint/2019/9/main/command">
                  <pc:docMk/>
                  <pc:sldMk cId="3770738012" sldId="688"/>
                  <pc2:cmMk id="{B9B1FAB1-BA5F-4924-9C09-4CF853AF0698}"/>
                  <pc2:cmRplyMk id="{38917473-0220-427A-89BA-8F0DF147A415}"/>
                </pc2:cmRplyMkLst>
              </pc226:cmRplyChg>
            </pc226:cmChg>
          </p:ext>
        </pc:extLst>
      </pc:sldChg>
      <pc:sldChg chg="addCm">
        <pc:chgData name="Schjold, Hanne Røvig" userId="S::hanne.rovig.schjold@nav.no::72e82339-bab0-442f-8ca6-e6f386a713ee" providerId="AD" clId="Web-{B1563CAD-2B59-917D-0952-AD885CA31444}" dt="2023-04-14T12:09:33.275" v="3"/>
        <pc:sldMkLst>
          <pc:docMk/>
          <pc:sldMk cId="3717460304" sldId="749"/>
        </pc:sldMkLst>
        <pc:extLst>
          <p:ext xmlns:p="http://schemas.openxmlformats.org/presentationml/2006/main" uri="{D6D511B9-2390-475A-947B-AFAB55BFBCF1}">
            <pc226:cmChg xmlns:pc226="http://schemas.microsoft.com/office/powerpoint/2022/06/main/command" chg="add">
              <pc226:chgData name="Schjold, Hanne Røvig" userId="S::hanne.rovig.schjold@nav.no::72e82339-bab0-442f-8ca6-e6f386a713ee" providerId="AD" clId="Web-{B1563CAD-2B59-917D-0952-AD885CA31444}" dt="2023-04-14T12:09:33.275" v="3"/>
              <pc2:cmMkLst xmlns:pc2="http://schemas.microsoft.com/office/powerpoint/2019/9/main/command">
                <pc:docMk/>
                <pc:sldMk cId="3717460304" sldId="749"/>
                <pc2:cmMk id="{5D1EDEC2-4BEF-4F17-BA2B-6CC06CE6CEAC}"/>
              </pc2:cmMkLst>
            </pc226:cmChg>
          </p:ext>
        </pc:extLst>
      </pc:sldChg>
    </pc:docChg>
  </pc:docChgLst>
  <pc:docChgLst>
    <pc:chgData name="Lien, Ole Christian" userId="273202a6-48ae-4110-b993-7f020695e2c7" providerId="ADAL" clId="{B825CDD3-22E1-42FB-AB0E-CBE958C84309}"/>
    <pc:docChg chg="undo custSel delSld modSld sldOrd delMainMaster modSection">
      <pc:chgData name="Lien, Ole Christian" userId="273202a6-48ae-4110-b993-7f020695e2c7" providerId="ADAL" clId="{B825CDD3-22E1-42FB-AB0E-CBE958C84309}" dt="2023-04-18T07:29:53.573" v="2185" actId="20577"/>
      <pc:docMkLst>
        <pc:docMk/>
      </pc:docMkLst>
      <pc:sldChg chg="modNotesTx">
        <pc:chgData name="Lien, Ole Christian" userId="273202a6-48ae-4110-b993-7f020695e2c7" providerId="ADAL" clId="{B825CDD3-22E1-42FB-AB0E-CBE958C84309}" dt="2023-04-14T08:48:24.909" v="996" actId="255"/>
        <pc:sldMkLst>
          <pc:docMk/>
          <pc:sldMk cId="2838506836" sldId="259"/>
        </pc:sldMkLst>
      </pc:sldChg>
      <pc:sldChg chg="addSp delSp modSp mod delCm">
        <pc:chgData name="Lien, Ole Christian" userId="273202a6-48ae-4110-b993-7f020695e2c7" providerId="ADAL" clId="{B825CDD3-22E1-42FB-AB0E-CBE958C84309}" dt="2023-04-18T06:34:56.905" v="2055"/>
        <pc:sldMkLst>
          <pc:docMk/>
          <pc:sldMk cId="3758531503" sldId="266"/>
        </pc:sldMkLst>
        <pc:graphicFrameChg chg="add mod">
          <ac:chgData name="Lien, Ole Christian" userId="273202a6-48ae-4110-b993-7f020695e2c7" providerId="ADAL" clId="{B825CDD3-22E1-42FB-AB0E-CBE958C84309}" dt="2023-03-29T11:23:17.664" v="5"/>
          <ac:graphicFrameMkLst>
            <pc:docMk/>
            <pc:sldMk cId="3758531503" sldId="266"/>
            <ac:graphicFrameMk id="2" creationId="{2BB32FEC-A32B-4FCC-B7AD-667A8D8A874A}"/>
          </ac:graphicFrameMkLst>
        </pc:graphicFrameChg>
        <pc:graphicFrameChg chg="add del mod">
          <ac:chgData name="Lien, Ole Christian" userId="273202a6-48ae-4110-b993-7f020695e2c7" providerId="ADAL" clId="{B825CDD3-22E1-42FB-AB0E-CBE958C84309}" dt="2023-03-29T11:25:34.313" v="18" actId="478"/>
          <ac:graphicFrameMkLst>
            <pc:docMk/>
            <pc:sldMk cId="3758531503" sldId="266"/>
            <ac:graphicFrameMk id="6" creationId="{2BB32FEC-A32B-4FCC-B7AD-667A8D8A874A}"/>
          </ac:graphicFrameMkLst>
        </pc:graphicFrameChg>
        <pc:graphicFrameChg chg="add mod">
          <ac:chgData name="Lien, Ole Christian" userId="273202a6-48ae-4110-b993-7f020695e2c7" providerId="ADAL" clId="{B825CDD3-22E1-42FB-AB0E-CBE958C84309}" dt="2023-03-29T11:25:37.218" v="21"/>
          <ac:graphicFrameMkLst>
            <pc:docMk/>
            <pc:sldMk cId="3758531503" sldId="266"/>
            <ac:graphicFrameMk id="7" creationId="{2BB32FEC-A32B-4FCC-B7AD-667A8D8A874A}"/>
          </ac:graphicFrameMkLst>
        </pc:graphicFrameChg>
        <pc:graphicFrameChg chg="add mod">
          <ac:chgData name="Lien, Ole Christian" userId="273202a6-48ae-4110-b993-7f020695e2c7" providerId="ADAL" clId="{B825CDD3-22E1-42FB-AB0E-CBE958C84309}" dt="2023-04-17T13:42:29.672" v="1996"/>
          <ac:graphicFrameMkLst>
            <pc:docMk/>
            <pc:sldMk cId="3758531503" sldId="266"/>
            <ac:graphicFrameMk id="8" creationId="{2BB32FEC-A32B-4FCC-B7AD-667A8D8A874A}"/>
          </ac:graphicFrameMkLst>
        </pc:graphicFrameChg>
        <pc:picChg chg="add del mod">
          <ac:chgData name="Lien, Ole Christian" userId="273202a6-48ae-4110-b993-7f020695e2c7" providerId="ADAL" clId="{B825CDD3-22E1-42FB-AB0E-CBE958C84309}" dt="2023-04-17T13:42:48.680" v="1997" actId="21"/>
          <ac:picMkLst>
            <pc:docMk/>
            <pc:sldMk cId="3758531503" sldId="266"/>
            <ac:picMk id="2" creationId="{79221E7D-ADC3-A69D-4194-F989E0C15BE3}"/>
          </ac:picMkLst>
        </pc:picChg>
        <pc:picChg chg="del">
          <ac:chgData name="Lien, Ole Christian" userId="273202a6-48ae-4110-b993-7f020695e2c7" providerId="ADAL" clId="{B825CDD3-22E1-42FB-AB0E-CBE958C84309}" dt="2023-03-29T11:23:15.001" v="2" actId="478"/>
          <ac:picMkLst>
            <pc:docMk/>
            <pc:sldMk cId="3758531503" sldId="266"/>
            <ac:picMk id="5" creationId="{DF821DD2-C538-880C-BD23-5FCD42E29271}"/>
          </ac:picMkLst>
        </pc:pic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8T06:34:56.905" v="2055"/>
              <pc2:cmMkLst xmlns:pc2="http://schemas.microsoft.com/office/powerpoint/2019/9/main/command">
                <pc:docMk/>
                <pc:sldMk cId="3758531503" sldId="266"/>
                <pc2:cmMk id="{72FD89F2-5391-4788-BF40-E51DD6AAB0ED}"/>
              </pc2:cmMkLst>
            </pc226:cmChg>
          </p:ext>
        </pc:extLst>
      </pc:sldChg>
      <pc:sldChg chg="addSp delSp modSp mod">
        <pc:chgData name="Lien, Ole Christian" userId="273202a6-48ae-4110-b993-7f020695e2c7" providerId="ADAL" clId="{B825CDD3-22E1-42FB-AB0E-CBE958C84309}" dt="2023-04-17T13:44:03.368" v="2006" actId="21"/>
        <pc:sldMkLst>
          <pc:docMk/>
          <pc:sldMk cId="2732850255" sldId="274"/>
        </pc:sldMkLst>
        <pc:graphicFrameChg chg="mod">
          <ac:chgData name="Lien, Ole Christian" userId="273202a6-48ae-4110-b993-7f020695e2c7" providerId="ADAL" clId="{B825CDD3-22E1-42FB-AB0E-CBE958C84309}" dt="2023-04-17T13:43:56.132" v="2005"/>
          <ac:graphicFrameMkLst>
            <pc:docMk/>
            <pc:sldMk cId="2732850255" sldId="274"/>
            <ac:graphicFrameMk id="11" creationId="{D5DE6F6E-E2D3-C0BC-83D3-CE4714E51F53}"/>
          </ac:graphicFrameMkLst>
        </pc:graphicFrameChg>
        <pc:picChg chg="add del mod">
          <ac:chgData name="Lien, Ole Christian" userId="273202a6-48ae-4110-b993-7f020695e2c7" providerId="ADAL" clId="{B825CDD3-22E1-42FB-AB0E-CBE958C84309}" dt="2023-04-17T13:44:03.368" v="2006" actId="21"/>
          <ac:picMkLst>
            <pc:docMk/>
            <pc:sldMk cId="2732850255" sldId="274"/>
            <ac:picMk id="2" creationId="{DCAA5D20-5FDC-8AC7-7466-7D94251C4052}"/>
          </ac:picMkLst>
        </pc:picChg>
      </pc:sldChg>
      <pc:sldChg chg="modNotesTx">
        <pc:chgData name="Lien, Ole Christian" userId="273202a6-48ae-4110-b993-7f020695e2c7" providerId="ADAL" clId="{B825CDD3-22E1-42FB-AB0E-CBE958C84309}" dt="2023-04-14T09:20:30.802" v="1852" actId="113"/>
        <pc:sldMkLst>
          <pc:docMk/>
          <pc:sldMk cId="2544436590" sldId="562"/>
        </pc:sldMkLst>
      </pc:sldChg>
      <pc:sldChg chg="addSp delSp modSp mod delCm modCm">
        <pc:chgData name="Lien, Ole Christian" userId="273202a6-48ae-4110-b993-7f020695e2c7" providerId="ADAL" clId="{B825CDD3-22E1-42FB-AB0E-CBE958C84309}" dt="2023-04-18T06:57:35.135" v="2167" actId="20577"/>
        <pc:sldMkLst>
          <pc:docMk/>
          <pc:sldMk cId="1705153547" sldId="592"/>
        </pc:sldMkLst>
        <pc:spChg chg="mod">
          <ac:chgData name="Lien, Ole Christian" userId="273202a6-48ae-4110-b993-7f020695e2c7" providerId="ADAL" clId="{B825CDD3-22E1-42FB-AB0E-CBE958C84309}" dt="2023-04-18T06:57:35.135" v="2167" actId="20577"/>
          <ac:spMkLst>
            <pc:docMk/>
            <pc:sldMk cId="1705153547" sldId="592"/>
            <ac:spMk id="2" creationId="{2361E6A9-99B5-930E-132D-571AFB3AAAF2}"/>
          </ac:spMkLst>
        </pc:spChg>
        <pc:spChg chg="add del mod">
          <ac:chgData name="Lien, Ole Christian" userId="273202a6-48ae-4110-b993-7f020695e2c7" providerId="ADAL" clId="{B825CDD3-22E1-42FB-AB0E-CBE958C84309}" dt="2023-04-14T09:17:42.986" v="1832" actId="478"/>
          <ac:spMkLst>
            <pc:docMk/>
            <pc:sldMk cId="1705153547" sldId="592"/>
            <ac:spMk id="5" creationId="{782FBB9A-6E35-1015-5F73-7A4EAC10A666}"/>
          </ac:spMkLst>
        </pc:spChg>
        <pc:graphicFrameChg chg="del mod">
          <ac:chgData name="Lien, Ole Christian" userId="273202a6-48ae-4110-b993-7f020695e2c7" providerId="ADAL" clId="{B825CDD3-22E1-42FB-AB0E-CBE958C84309}" dt="2023-04-14T09:17:40.444" v="1831" actId="478"/>
          <ac:graphicFrameMkLst>
            <pc:docMk/>
            <pc:sldMk cId="1705153547" sldId="592"/>
            <ac:graphicFrameMk id="6" creationId="{867FB4F3-E791-4B87-AAD9-99440E20A244}"/>
          </ac:graphicFrameMkLst>
        </pc:graphicFrameChg>
        <pc:graphicFrameChg chg="add mod">
          <ac:chgData name="Lien, Ole Christian" userId="273202a6-48ae-4110-b993-7f020695e2c7" providerId="ADAL" clId="{B825CDD3-22E1-42FB-AB0E-CBE958C84309}" dt="2023-04-14T09:17:45.964" v="1834"/>
          <ac:graphicFrameMkLst>
            <pc:docMk/>
            <pc:sldMk cId="1705153547" sldId="592"/>
            <ac:graphicFrameMk id="7" creationId="{867FB4F3-E791-4B87-AAD9-99440E20A244}"/>
          </ac:graphicFrameMkLst>
        </pc:graphicFrameChg>
        <pc:graphicFrameChg chg="add mod">
          <ac:chgData name="Lien, Ole Christian" userId="273202a6-48ae-4110-b993-7f020695e2c7" providerId="ADAL" clId="{B825CDD3-22E1-42FB-AB0E-CBE958C84309}" dt="2023-04-14T09:18:53.409" v="1846" actId="14100"/>
          <ac:graphicFrameMkLst>
            <pc:docMk/>
            <pc:sldMk cId="1705153547" sldId="592"/>
            <ac:graphicFrameMk id="8" creationId="{867FB4F3-E791-4B87-AAD9-99440E20A244}"/>
          </ac:graphicFrameMkLst>
        </pc:graphicFrame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7T13:47:02.076" v="2031"/>
              <pc2:cmMkLst xmlns:pc2="http://schemas.microsoft.com/office/powerpoint/2019/9/main/command">
                <pc:docMk/>
                <pc:sldMk cId="1705153547" sldId="592"/>
                <pc2:cmMk id="{C07A47DD-2407-41E6-B508-2F8412C27D9D}"/>
              </pc2:cmMkLst>
              <pc226:cmRplyChg chg="add">
                <pc226:chgData name="Lien, Ole Christian" userId="273202a6-48ae-4110-b993-7f020695e2c7" providerId="ADAL" clId="{B825CDD3-22E1-42FB-AB0E-CBE958C84309}" dt="2023-04-14T09:19:03.003" v="1847"/>
                <pc2:cmRplyMkLst xmlns:pc2="http://schemas.microsoft.com/office/powerpoint/2019/9/main/command">
                  <pc:docMk/>
                  <pc:sldMk cId="1705153547" sldId="592"/>
                  <pc2:cmMk id="{C07A47DD-2407-41E6-B508-2F8412C27D9D}"/>
                  <pc2:cmRplyMk id="{72255946-CD1F-4AAE-89F9-7EF0433E229A}"/>
                </pc2:cmRplyMkLst>
              </pc226:cmRplyChg>
            </pc226:cmChg>
          </p:ext>
        </pc:extLst>
      </pc:sldChg>
      <pc:sldChg chg="modNotesTx">
        <pc:chgData name="Lien, Ole Christian" userId="273202a6-48ae-4110-b993-7f020695e2c7" providerId="ADAL" clId="{B825CDD3-22E1-42FB-AB0E-CBE958C84309}" dt="2023-04-14T08:52:30.971" v="1025" actId="20577"/>
        <pc:sldMkLst>
          <pc:docMk/>
          <pc:sldMk cId="2567434684" sldId="671"/>
        </pc:sldMkLst>
      </pc:sldChg>
      <pc:sldChg chg="modSp mod modAnim delCm modCm modNotesTx">
        <pc:chgData name="Lien, Ole Christian" userId="273202a6-48ae-4110-b993-7f020695e2c7" providerId="ADAL" clId="{B825CDD3-22E1-42FB-AB0E-CBE958C84309}" dt="2023-04-18T06:57:01.519" v="2155" actId="1076"/>
        <pc:sldMkLst>
          <pc:docMk/>
          <pc:sldMk cId="3925071739" sldId="677"/>
        </pc:sldMkLst>
        <pc:graphicFrameChg chg="mod">
          <ac:chgData name="Lien, Ole Christian" userId="273202a6-48ae-4110-b993-7f020695e2c7" providerId="ADAL" clId="{B825CDD3-22E1-42FB-AB0E-CBE958C84309}" dt="2023-04-14T09:09:30.158" v="1677" actId="692"/>
          <ac:graphicFrameMkLst>
            <pc:docMk/>
            <pc:sldMk cId="3925071739" sldId="677"/>
            <ac:graphicFrameMk id="7" creationId="{56AAC3D3-EE74-7729-CBFB-368C709FCA7D}"/>
          </ac:graphicFrameMkLst>
        </pc:graphicFrameChg>
        <pc:picChg chg="mod">
          <ac:chgData name="Lien, Ole Christian" userId="273202a6-48ae-4110-b993-7f020695e2c7" providerId="ADAL" clId="{B825CDD3-22E1-42FB-AB0E-CBE958C84309}" dt="2023-04-18T06:56:53.938" v="2154" actId="1076"/>
          <ac:picMkLst>
            <pc:docMk/>
            <pc:sldMk cId="3925071739" sldId="677"/>
            <ac:picMk id="10" creationId="{8B501FB8-AFCB-4BC4-AFFB-130C4CF3C322}"/>
          </ac:picMkLst>
        </pc:picChg>
        <pc:picChg chg="mod">
          <ac:chgData name="Lien, Ole Christian" userId="273202a6-48ae-4110-b993-7f020695e2c7" providerId="ADAL" clId="{B825CDD3-22E1-42FB-AB0E-CBE958C84309}" dt="2023-04-18T06:57:01.519" v="2155" actId="1076"/>
          <ac:picMkLst>
            <pc:docMk/>
            <pc:sldMk cId="3925071739" sldId="677"/>
            <ac:picMk id="12" creationId="{BFFF8115-2147-46C6-B20E-048164388C7F}"/>
          </ac:picMkLst>
        </pc:picChg>
        <pc:picChg chg="mod">
          <ac:chgData name="Lien, Ole Christian" userId="273202a6-48ae-4110-b993-7f020695e2c7" providerId="ADAL" clId="{B825CDD3-22E1-42FB-AB0E-CBE958C84309}" dt="2023-04-18T06:56:29.360" v="2152" actId="1076"/>
          <ac:picMkLst>
            <pc:docMk/>
            <pc:sldMk cId="3925071739" sldId="677"/>
            <ac:picMk id="20" creationId="{7E87418B-6A04-4FF2-B0A0-0EF08833F3CE}"/>
          </ac:picMkLst>
        </pc:pic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9:07:57.955" v="1668"/>
              <pc2:cmMkLst xmlns:pc2="http://schemas.microsoft.com/office/powerpoint/2019/9/main/command">
                <pc:docMk/>
                <pc:sldMk cId="3925071739" sldId="677"/>
                <pc2:cmMk id="{6A09B255-0D51-4F99-90C8-C93B10616CBE}"/>
              </pc2:cmMkLst>
            </pc226:cmChg>
            <pc226:cmChg xmlns:pc226="http://schemas.microsoft.com/office/powerpoint/2022/06/main/command" chg="del">
              <pc226:chgData name="Lien, Ole Christian" userId="273202a6-48ae-4110-b993-7f020695e2c7" providerId="ADAL" clId="{B825CDD3-22E1-42FB-AB0E-CBE958C84309}" dt="2023-04-17T13:46:54.068" v="2029"/>
              <pc2:cmMkLst xmlns:pc2="http://schemas.microsoft.com/office/powerpoint/2019/9/main/command">
                <pc:docMk/>
                <pc:sldMk cId="3925071739" sldId="677"/>
                <pc2:cmMk id="{75DEF8B8-02C6-4838-ADDB-B7C743BB32DD}"/>
              </pc2:cmMkLst>
              <pc226:cmRplyChg chg="add">
                <pc226:chgData name="Lien, Ole Christian" userId="273202a6-48ae-4110-b993-7f020695e2c7" providerId="ADAL" clId="{B825CDD3-22E1-42FB-AB0E-CBE958C84309}" dt="2023-04-14T09:10:01.630" v="1678"/>
                <pc2:cmRplyMkLst xmlns:pc2="http://schemas.microsoft.com/office/powerpoint/2019/9/main/command">
                  <pc:docMk/>
                  <pc:sldMk cId="3925071739" sldId="677"/>
                  <pc2:cmMk id="{75DEF8B8-02C6-4838-ADDB-B7C743BB32DD}"/>
                  <pc2:cmRplyMk id="{3C62CDCD-2C20-4E8A-A247-0FE11F03C880}"/>
                </pc2:cmRplyMkLst>
              </pc226:cmRplyChg>
            </pc226:cmChg>
          </p:ext>
        </pc:extLst>
      </pc:sldChg>
      <pc:sldChg chg="delCm modCm">
        <pc:chgData name="Lien, Ole Christian" userId="273202a6-48ae-4110-b993-7f020695e2c7" providerId="ADAL" clId="{B825CDD3-22E1-42FB-AB0E-CBE958C84309}" dt="2023-04-17T13:49:59.847" v="2053"/>
        <pc:sldMkLst>
          <pc:docMk/>
          <pc:sldMk cId="3770738012" sldId="688"/>
        </pc:sldMkLst>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8:48:49.728" v="1000"/>
              <pc2:cmMkLst xmlns:pc2="http://schemas.microsoft.com/office/powerpoint/2019/9/main/command">
                <pc:docMk/>
                <pc:sldMk cId="3770738012" sldId="688"/>
                <pc2:cmMk id="{BE83B869-2213-4366-827D-764EF33C9E2F}"/>
              </pc2:cmMkLst>
            </pc226:cmChg>
            <pc226:cmChg xmlns:pc226="http://schemas.microsoft.com/office/powerpoint/2022/06/main/command" chg="del">
              <pc226:chgData name="Lien, Ole Christian" userId="273202a6-48ae-4110-b993-7f020695e2c7" providerId="ADAL" clId="{B825CDD3-22E1-42FB-AB0E-CBE958C84309}" dt="2023-04-17T13:49:59.847" v="2053"/>
              <pc2:cmMkLst xmlns:pc2="http://schemas.microsoft.com/office/powerpoint/2019/9/main/command">
                <pc:docMk/>
                <pc:sldMk cId="3770738012" sldId="688"/>
                <pc2:cmMk id="{B9B1FAB1-BA5F-4924-9C09-4CF853AF0698}"/>
              </pc2:cmMkLst>
              <pc226:cmRplyChg chg="add">
                <pc226:chgData name="Lien, Ole Christian" userId="273202a6-48ae-4110-b993-7f020695e2c7" providerId="ADAL" clId="{B825CDD3-22E1-42FB-AB0E-CBE958C84309}" dt="2023-04-14T08:50:07.764" v="1001"/>
                <pc2:cmRplyMkLst xmlns:pc2="http://schemas.microsoft.com/office/powerpoint/2019/9/main/command">
                  <pc:docMk/>
                  <pc:sldMk cId="3770738012" sldId="688"/>
                  <pc2:cmMk id="{B9B1FAB1-BA5F-4924-9C09-4CF853AF0698}"/>
                  <pc2:cmRplyMk id="{E9F10B57-2D10-4595-8701-D709C9202F65}"/>
                </pc2:cmRplyMkLst>
              </pc226:cmRplyChg>
            </pc226:cmChg>
          </p:ext>
        </pc:extLst>
      </pc:sldChg>
      <pc:sldChg chg="delCm modCm">
        <pc:chgData name="Lien, Ole Christian" userId="273202a6-48ae-4110-b993-7f020695e2c7" providerId="ADAL" clId="{B825CDD3-22E1-42FB-AB0E-CBE958C84309}" dt="2023-04-14T08:50:24.870" v="1002"/>
        <pc:sldMkLst>
          <pc:docMk/>
          <pc:sldMk cId="2292431674" sldId="689"/>
        </pc:sldMkLst>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8:50:24.870" v="1002"/>
              <pc2:cmMkLst xmlns:pc2="http://schemas.microsoft.com/office/powerpoint/2019/9/main/command">
                <pc:docMk/>
                <pc:sldMk cId="2292431674" sldId="689"/>
                <pc2:cmMk id="{2DD7C608-0A1B-40C7-B3BC-EE9C69D9D705}"/>
              </pc2:cmMkLst>
            </pc226:cmChg>
          </p:ext>
        </pc:extLst>
      </pc:sldChg>
      <pc:sldChg chg="delSp modSp mod modCm">
        <pc:chgData name="Lien, Ole Christian" userId="273202a6-48ae-4110-b993-7f020695e2c7" providerId="ADAL" clId="{B825CDD3-22E1-42FB-AB0E-CBE958C84309}" dt="2023-04-18T06:47:01.447" v="2112"/>
        <pc:sldMkLst>
          <pc:docMk/>
          <pc:sldMk cId="1313285263" sldId="690"/>
        </pc:sldMkLst>
        <pc:spChg chg="mod">
          <ac:chgData name="Lien, Ole Christian" userId="273202a6-48ae-4110-b993-7f020695e2c7" providerId="ADAL" clId="{B825CDD3-22E1-42FB-AB0E-CBE958C84309}" dt="2023-04-14T09:20:43.355" v="1853" actId="207"/>
          <ac:spMkLst>
            <pc:docMk/>
            <pc:sldMk cId="1313285263" sldId="690"/>
            <ac:spMk id="5" creationId="{A9E1B165-CD61-5545-B3A3-F9EAA80CC4EF}"/>
          </ac:spMkLst>
        </pc:spChg>
        <pc:spChg chg="del">
          <ac:chgData name="Lien, Ole Christian" userId="273202a6-48ae-4110-b993-7f020695e2c7" providerId="ADAL" clId="{B825CDD3-22E1-42FB-AB0E-CBE958C84309}" dt="2023-04-18T06:46:02.460" v="2111" actId="478"/>
          <ac:spMkLst>
            <pc:docMk/>
            <pc:sldMk cId="1313285263" sldId="690"/>
            <ac:spMk id="10" creationId="{DBD4E3B2-CA41-4B1B-9736-BF37F2B9E4B5}"/>
          </ac:spMkLst>
        </pc:spChg>
        <pc:extLst>
          <p:ext xmlns:p="http://schemas.openxmlformats.org/presentationml/2006/main" uri="{D6D511B9-2390-475A-947B-AFAB55BFBCF1}">
            <pc226:cmChg xmlns:pc226="http://schemas.microsoft.com/office/powerpoint/2022/06/main/command" chg="">
              <pc226:chgData name="Lien, Ole Christian" userId="273202a6-48ae-4110-b993-7f020695e2c7" providerId="ADAL" clId="{B825CDD3-22E1-42FB-AB0E-CBE958C84309}" dt="2023-04-18T06:47:01.447" v="2112"/>
              <pc2:cmMkLst xmlns:pc2="http://schemas.microsoft.com/office/powerpoint/2019/9/main/command">
                <pc:docMk/>
                <pc:sldMk cId="1313285263" sldId="690"/>
                <pc2:cmMk id="{835E8148-23A1-4140-99DC-31FE549A331C}"/>
              </pc2:cmMkLst>
              <pc226:cmRplyChg chg="add">
                <pc226:chgData name="Lien, Ole Christian" userId="273202a6-48ae-4110-b993-7f020695e2c7" providerId="ADAL" clId="{B825CDD3-22E1-42FB-AB0E-CBE958C84309}" dt="2023-04-18T06:41:07.139" v="2110"/>
                <pc2:cmRplyMkLst xmlns:pc2="http://schemas.microsoft.com/office/powerpoint/2019/9/main/command">
                  <pc:docMk/>
                  <pc:sldMk cId="1313285263" sldId="690"/>
                  <pc2:cmMk id="{835E8148-23A1-4140-99DC-31FE549A331C}"/>
                  <pc2:cmRplyMk id="{D7A2EA30-CAB7-48A8-9FCB-FCB3AEC8B36B}"/>
                </pc2:cmRplyMkLst>
              </pc226:cmRplyChg>
              <pc226:cmRplyChg chg="add">
                <pc226:chgData name="Lien, Ole Christian" userId="273202a6-48ae-4110-b993-7f020695e2c7" providerId="ADAL" clId="{B825CDD3-22E1-42FB-AB0E-CBE958C84309}" dt="2023-04-18T06:47:01.447" v="2112"/>
                <pc2:cmRplyMkLst xmlns:pc2="http://schemas.microsoft.com/office/powerpoint/2019/9/main/command">
                  <pc:docMk/>
                  <pc:sldMk cId="1313285263" sldId="690"/>
                  <pc2:cmMk id="{835E8148-23A1-4140-99DC-31FE549A331C}"/>
                  <pc2:cmRplyMk id="{22458F54-E395-4154-A1B2-D4C8CE496DE9}"/>
                </pc2:cmRplyMkLst>
              </pc226:cmRplyChg>
            </pc226:cmChg>
          </p:ext>
        </pc:extLst>
      </pc:sldChg>
      <pc:sldChg chg="modNotesTx">
        <pc:chgData name="Lien, Ole Christian" userId="273202a6-48ae-4110-b993-7f020695e2c7" providerId="ADAL" clId="{B825CDD3-22E1-42FB-AB0E-CBE958C84309}" dt="2023-04-14T08:09:04.584" v="867" actId="403"/>
        <pc:sldMkLst>
          <pc:docMk/>
          <pc:sldMk cId="2992498367" sldId="694"/>
        </pc:sldMkLst>
      </pc:sldChg>
      <pc:sldChg chg="modNotesTx">
        <pc:chgData name="Lien, Ole Christian" userId="273202a6-48ae-4110-b993-7f020695e2c7" providerId="ADAL" clId="{B825CDD3-22E1-42FB-AB0E-CBE958C84309}" dt="2023-04-14T09:03:52.194" v="1454" actId="20577"/>
        <pc:sldMkLst>
          <pc:docMk/>
          <pc:sldMk cId="3633088076" sldId="697"/>
        </pc:sldMkLst>
      </pc:sldChg>
      <pc:sldChg chg="modSp mod delCm modCm modNotesTx">
        <pc:chgData name="Lien, Ole Christian" userId="273202a6-48ae-4110-b993-7f020695e2c7" providerId="ADAL" clId="{B825CDD3-22E1-42FB-AB0E-CBE958C84309}" dt="2023-04-18T06:36:51.383" v="2109" actId="20577"/>
        <pc:sldMkLst>
          <pc:docMk/>
          <pc:sldMk cId="2011306900" sldId="712"/>
        </pc:sldMkLst>
        <pc:spChg chg="mod">
          <ac:chgData name="Lien, Ole Christian" userId="273202a6-48ae-4110-b993-7f020695e2c7" providerId="ADAL" clId="{B825CDD3-22E1-42FB-AB0E-CBE958C84309}" dt="2023-04-18T06:36:12.409" v="2093" actId="20577"/>
          <ac:spMkLst>
            <pc:docMk/>
            <pc:sldMk cId="2011306900" sldId="712"/>
            <ac:spMk id="10" creationId="{11BB3FE5-9ACF-C4DC-C96B-7C9AB58D8685}"/>
          </ac:spMkLst>
        </pc:spChg>
        <pc:extLst>
          <p:ext xmlns:p="http://schemas.openxmlformats.org/presentationml/2006/main" uri="{D6D511B9-2390-475A-947B-AFAB55BFBCF1}">
            <pc226:cmChg xmlns:pc226="http://schemas.microsoft.com/office/powerpoint/2022/06/main/command" chg="del mod">
              <pc226:chgData name="Lien, Ole Christian" userId="273202a6-48ae-4110-b993-7f020695e2c7" providerId="ADAL" clId="{B825CDD3-22E1-42FB-AB0E-CBE958C84309}" dt="2023-04-18T06:35:18.779" v="2056"/>
              <pc2:cmMkLst xmlns:pc2="http://schemas.microsoft.com/office/powerpoint/2019/9/main/command">
                <pc:docMk/>
                <pc:sldMk cId="2011306900" sldId="712"/>
                <pc2:cmMk id="{F1BD0B27-0A61-4D1E-BF50-8B5772028EA1}"/>
              </pc2:cmMkLst>
              <pc226:cmRplyChg chg="add">
                <pc226:chgData name="Lien, Ole Christian" userId="273202a6-48ae-4110-b993-7f020695e2c7" providerId="ADAL" clId="{B825CDD3-22E1-42FB-AB0E-CBE958C84309}" dt="2023-04-17T13:49:48.201" v="2052"/>
                <pc2:cmRplyMkLst xmlns:pc2="http://schemas.microsoft.com/office/powerpoint/2019/9/main/command">
                  <pc:docMk/>
                  <pc:sldMk cId="2011306900" sldId="712"/>
                  <pc2:cmMk id="{F1BD0B27-0A61-4D1E-BF50-8B5772028EA1}"/>
                  <pc2:cmRplyMk id="{3D322A2A-4AB7-4D88-AC17-8653C0EC4476}"/>
                </pc2:cmRplyMkLst>
              </pc226:cmRplyChg>
              <pc226:cmRplyChg chg="add">
                <pc226:chgData name="Lien, Ole Christian" userId="273202a6-48ae-4110-b993-7f020695e2c7" providerId="ADAL" clId="{B825CDD3-22E1-42FB-AB0E-CBE958C84309}" dt="2023-04-14T12:29:24.681" v="1976"/>
                <pc2:cmRplyMkLst xmlns:pc2="http://schemas.microsoft.com/office/powerpoint/2019/9/main/command">
                  <pc:docMk/>
                  <pc:sldMk cId="2011306900" sldId="712"/>
                  <pc2:cmMk id="{F1BD0B27-0A61-4D1E-BF50-8B5772028EA1}"/>
                  <pc2:cmRplyMk id="{BB4F1090-97E7-484A-87A9-27F3461B9D2A}"/>
                </pc2:cmRplyMkLst>
              </pc226:cmRplyChg>
            </pc226:cmChg>
            <pc226:cmChg xmlns:pc226="http://schemas.microsoft.com/office/powerpoint/2022/06/main/command" chg="del">
              <pc226:chgData name="Lien, Ole Christian" userId="273202a6-48ae-4110-b993-7f020695e2c7" providerId="ADAL" clId="{B825CDD3-22E1-42FB-AB0E-CBE958C84309}" dt="2023-04-14T08:48:30.622" v="997"/>
              <pc2:cmMkLst xmlns:pc2="http://schemas.microsoft.com/office/powerpoint/2019/9/main/command">
                <pc:docMk/>
                <pc:sldMk cId="2011306900" sldId="712"/>
                <pc2:cmMk id="{016CA678-A134-4D79-89EE-F0188DEF1926}"/>
              </pc2:cmMkLst>
            </pc226:cmChg>
            <pc226:cmChg xmlns:pc226="http://schemas.microsoft.com/office/powerpoint/2022/06/main/command" chg="del">
              <pc226:chgData name="Lien, Ole Christian" userId="273202a6-48ae-4110-b993-7f020695e2c7" providerId="ADAL" clId="{B825CDD3-22E1-42FB-AB0E-CBE958C84309}" dt="2023-04-14T08:48:32.854" v="998"/>
              <pc2:cmMkLst xmlns:pc2="http://schemas.microsoft.com/office/powerpoint/2019/9/main/command">
                <pc:docMk/>
                <pc:sldMk cId="2011306900" sldId="712"/>
                <pc2:cmMk id="{20664CFD-063D-4D4C-858E-45B49B794782}"/>
              </pc2:cmMkLst>
            </pc226:cmChg>
          </p:ext>
        </pc:extLst>
      </pc:sldChg>
      <pc:sldChg chg="addSp delSp modSp mod">
        <pc:chgData name="Lien, Ole Christian" userId="273202a6-48ae-4110-b993-7f020695e2c7" providerId="ADAL" clId="{B825CDD3-22E1-42FB-AB0E-CBE958C84309}" dt="2023-04-18T06:52:09.045" v="2129" actId="1035"/>
        <pc:sldMkLst>
          <pc:docMk/>
          <pc:sldMk cId="2505189412" sldId="746"/>
        </pc:sldMkLst>
        <pc:spChg chg="mod">
          <ac:chgData name="Lien, Ole Christian" userId="273202a6-48ae-4110-b993-7f020695e2c7" providerId="ADAL" clId="{B825CDD3-22E1-42FB-AB0E-CBE958C84309}" dt="2023-04-17T13:44:37.337" v="2013" actId="1038"/>
          <ac:spMkLst>
            <pc:docMk/>
            <pc:sldMk cId="2505189412" sldId="746"/>
            <ac:spMk id="17" creationId="{2BA70C08-50C0-5640-A64A-207E5744F103}"/>
          </ac:spMkLst>
        </pc:spChg>
        <pc:spChg chg="mod">
          <ac:chgData name="Lien, Ole Christian" userId="273202a6-48ae-4110-b993-7f020695e2c7" providerId="ADAL" clId="{B825CDD3-22E1-42FB-AB0E-CBE958C84309}" dt="2023-04-18T06:52:09.045" v="2129" actId="1035"/>
          <ac:spMkLst>
            <pc:docMk/>
            <pc:sldMk cId="2505189412" sldId="746"/>
            <ac:spMk id="19" creationId="{4D3CA7FF-BA8C-794A-B8E5-6E4BDCA72B7C}"/>
          </ac:spMkLst>
        </pc:spChg>
        <pc:graphicFrameChg chg="mod">
          <ac:chgData name="Lien, Ole Christian" userId="273202a6-48ae-4110-b993-7f020695e2c7" providerId="ADAL" clId="{B825CDD3-22E1-42FB-AB0E-CBE958C84309}" dt="2023-04-17T13:45:10.350" v="2015"/>
          <ac:graphicFrameMkLst>
            <pc:docMk/>
            <pc:sldMk cId="2505189412" sldId="746"/>
            <ac:graphicFrameMk id="5" creationId="{BC0EE284-EA4B-B3F4-7284-E12A748EF953}"/>
          </ac:graphicFrameMkLst>
        </pc:graphicFrameChg>
        <pc:picChg chg="add del mod">
          <ac:chgData name="Lien, Ole Christian" userId="273202a6-48ae-4110-b993-7f020695e2c7" providerId="ADAL" clId="{B825CDD3-22E1-42FB-AB0E-CBE958C84309}" dt="2023-04-17T13:45:36.788" v="2018" actId="21"/>
          <ac:picMkLst>
            <pc:docMk/>
            <pc:sldMk cId="2505189412" sldId="746"/>
            <ac:picMk id="3" creationId="{C899D880-5B98-F818-274E-2AEAC24FA371}"/>
          </ac:picMkLst>
        </pc:picChg>
      </pc:sldChg>
      <pc:sldChg chg="modNotesTx">
        <pc:chgData name="Lien, Ole Christian" userId="273202a6-48ae-4110-b993-7f020695e2c7" providerId="ADAL" clId="{B825CDD3-22E1-42FB-AB0E-CBE958C84309}" dt="2023-04-14T07:55:51.757" v="444" actId="20577"/>
        <pc:sldMkLst>
          <pc:docMk/>
          <pc:sldMk cId="2931966506" sldId="748"/>
        </pc:sldMkLst>
      </pc:sldChg>
      <pc:sldChg chg="addSp delSp modSp mod ord addCm delCm modCm modNotesTx">
        <pc:chgData name="Lien, Ole Christian" userId="273202a6-48ae-4110-b993-7f020695e2c7" providerId="ADAL" clId="{B825CDD3-22E1-42FB-AB0E-CBE958C84309}" dt="2023-04-18T06:34:52.793" v="2054"/>
        <pc:sldMkLst>
          <pc:docMk/>
          <pc:sldMk cId="3717460304" sldId="749"/>
        </pc:sldMkLst>
        <pc:spChg chg="mod">
          <ac:chgData name="Lien, Ole Christian" userId="273202a6-48ae-4110-b993-7f020695e2c7" providerId="ADAL" clId="{B825CDD3-22E1-42FB-AB0E-CBE958C84309}" dt="2023-03-29T11:27:38.155" v="45" actId="1076"/>
          <ac:spMkLst>
            <pc:docMk/>
            <pc:sldMk cId="3717460304" sldId="749"/>
            <ac:spMk id="11" creationId="{679A9086-7825-6ED9-F4D2-C202161D8DFE}"/>
          </ac:spMkLst>
        </pc:spChg>
        <pc:spChg chg="mod">
          <ac:chgData name="Lien, Ole Christian" userId="273202a6-48ae-4110-b993-7f020695e2c7" providerId="ADAL" clId="{B825CDD3-22E1-42FB-AB0E-CBE958C84309}" dt="2023-03-29T11:27:49.909" v="51" actId="1076"/>
          <ac:spMkLst>
            <pc:docMk/>
            <pc:sldMk cId="3717460304" sldId="749"/>
            <ac:spMk id="12" creationId="{E5A1B7C8-294B-F464-5CF6-49FAD722C8B8}"/>
          </ac:spMkLst>
        </pc:spChg>
        <pc:spChg chg="mod">
          <ac:chgData name="Lien, Ole Christian" userId="273202a6-48ae-4110-b993-7f020695e2c7" providerId="ADAL" clId="{B825CDD3-22E1-42FB-AB0E-CBE958C84309}" dt="2023-03-29T11:27:34.539" v="44" actId="1076"/>
          <ac:spMkLst>
            <pc:docMk/>
            <pc:sldMk cId="3717460304" sldId="749"/>
            <ac:spMk id="13" creationId="{8CD3DD24-9597-39B5-5333-1808A69CA5C2}"/>
          </ac:spMkLst>
        </pc:spChg>
        <pc:graphicFrameChg chg="add mod">
          <ac:chgData name="Lien, Ole Christian" userId="273202a6-48ae-4110-b993-7f020695e2c7" providerId="ADAL" clId="{B825CDD3-22E1-42FB-AB0E-CBE958C84309}" dt="2023-03-29T11:27:03.246" v="35"/>
          <ac:graphicFrameMkLst>
            <pc:docMk/>
            <pc:sldMk cId="3717460304" sldId="749"/>
            <ac:graphicFrameMk id="4" creationId="{78587611-CF88-3A61-FAAD-F670D730DF62}"/>
          </ac:graphicFrameMkLst>
        </pc:graphicFrameChg>
        <pc:graphicFrameChg chg="add mod">
          <ac:chgData name="Lien, Ole Christian" userId="273202a6-48ae-4110-b993-7f020695e2c7" providerId="ADAL" clId="{B825CDD3-22E1-42FB-AB0E-CBE958C84309}" dt="2023-04-17T13:48:02.406" v="2041"/>
          <ac:graphicFrameMkLst>
            <pc:docMk/>
            <pc:sldMk cId="3717460304" sldId="749"/>
            <ac:graphicFrameMk id="5" creationId="{78587611-CF88-3A61-FAAD-F670D730DF62}"/>
          </ac:graphicFrameMkLst>
        </pc:graphicFrameChg>
        <pc:graphicFrameChg chg="del">
          <ac:chgData name="Lien, Ole Christian" userId="273202a6-48ae-4110-b993-7f020695e2c7" providerId="ADAL" clId="{B825CDD3-22E1-42FB-AB0E-CBE958C84309}" dt="2023-03-29T11:26:59.161" v="32" actId="478"/>
          <ac:graphicFrameMkLst>
            <pc:docMk/>
            <pc:sldMk cId="3717460304" sldId="749"/>
            <ac:graphicFrameMk id="8" creationId="{78587611-CF88-3A61-FAAD-F670D730DF62}"/>
          </ac:graphicFrameMkLst>
        </pc:graphicFrameChg>
        <pc:picChg chg="add del mod">
          <ac:chgData name="Lien, Ole Christian" userId="273202a6-48ae-4110-b993-7f020695e2c7" providerId="ADAL" clId="{B825CDD3-22E1-42FB-AB0E-CBE958C84309}" dt="2023-04-17T13:41:43.174" v="1990" actId="21"/>
          <ac:picMkLst>
            <pc:docMk/>
            <pc:sldMk cId="3717460304" sldId="749"/>
            <ac:picMk id="6" creationId="{01DF5F57-F54A-D2D0-76A0-1EAE825452D1}"/>
          </ac:picMkLst>
        </pc:picChg>
        <pc:picChg chg="add del mod">
          <ac:chgData name="Lien, Ole Christian" userId="273202a6-48ae-4110-b993-7f020695e2c7" providerId="ADAL" clId="{B825CDD3-22E1-42FB-AB0E-CBE958C84309}" dt="2023-04-17T13:49:01.160" v="2043" actId="478"/>
          <ac:picMkLst>
            <pc:docMk/>
            <pc:sldMk cId="3717460304" sldId="749"/>
            <ac:picMk id="8" creationId="{48B1CDF7-0FD2-2C9C-2DE1-4E76778031DA}"/>
          </ac:picMkLst>
        </pc:pic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8:04:15.010" v="827"/>
              <pc2:cmMkLst xmlns:pc2="http://schemas.microsoft.com/office/powerpoint/2019/9/main/command">
                <pc:docMk/>
                <pc:sldMk cId="3717460304" sldId="749"/>
                <pc2:cmMk id="{579D1B62-C349-48A4-88AF-4F0818685119}"/>
              </pc2:cmMkLst>
            </pc226:cmChg>
            <pc226:cmChg xmlns:pc226="http://schemas.microsoft.com/office/powerpoint/2022/06/main/command" chg="del">
              <pc226:chgData name="Lien, Ole Christian" userId="273202a6-48ae-4110-b993-7f020695e2c7" providerId="ADAL" clId="{B825CDD3-22E1-42FB-AB0E-CBE958C84309}" dt="2023-04-18T06:34:52.793" v="2054"/>
              <pc2:cmMkLst xmlns:pc2="http://schemas.microsoft.com/office/powerpoint/2019/9/main/command">
                <pc:docMk/>
                <pc:sldMk cId="3717460304" sldId="749"/>
                <pc2:cmMk id="{5D1EDEC2-4BEF-4F17-BA2B-6CC06CE6CEAC}"/>
              </pc2:cmMkLst>
              <pc226:cmRplyChg chg="add">
                <pc226:chgData name="Lien, Ole Christian" userId="273202a6-48ae-4110-b993-7f020695e2c7" providerId="ADAL" clId="{B825CDD3-22E1-42FB-AB0E-CBE958C84309}" dt="2023-04-14T12:31:09.780" v="1977"/>
                <pc2:cmRplyMkLst xmlns:pc2="http://schemas.microsoft.com/office/powerpoint/2019/9/main/command">
                  <pc:docMk/>
                  <pc:sldMk cId="3717460304" sldId="749"/>
                  <pc2:cmMk id="{5D1EDEC2-4BEF-4F17-BA2B-6CC06CE6CEAC}"/>
                  <pc2:cmRplyMk id="{633A052B-071D-4471-BEEB-3CF34C88C10B}"/>
                </pc2:cmRplyMkLst>
              </pc226:cmRplyChg>
              <pc226:cmRplyChg chg="add mod">
                <pc226:chgData name="Lien, Ole Christian" userId="273202a6-48ae-4110-b993-7f020695e2c7" providerId="ADAL" clId="{B825CDD3-22E1-42FB-AB0E-CBE958C84309}" dt="2023-04-14T12:13:30.151" v="1951"/>
                <pc2:cmRplyMkLst xmlns:pc2="http://schemas.microsoft.com/office/powerpoint/2019/9/main/command">
                  <pc:docMk/>
                  <pc:sldMk cId="3717460304" sldId="749"/>
                  <pc2:cmMk id="{5D1EDEC2-4BEF-4F17-BA2B-6CC06CE6CEAC}"/>
                  <pc2:cmRplyMk id="{7174BAC2-948A-4A0A-9FF1-DC0144321299}"/>
                </pc2:cmRplyMkLst>
              </pc226:cmRplyChg>
              <pc226:cmRplyChg chg="add">
                <pc226:chgData name="Lien, Ole Christian" userId="273202a6-48ae-4110-b993-7f020695e2c7" providerId="ADAL" clId="{B825CDD3-22E1-42FB-AB0E-CBE958C84309}" dt="2023-04-17T13:48:59.309" v="2042"/>
                <pc2:cmRplyMkLst xmlns:pc2="http://schemas.microsoft.com/office/powerpoint/2019/9/main/command">
                  <pc:docMk/>
                  <pc:sldMk cId="3717460304" sldId="749"/>
                  <pc2:cmMk id="{5D1EDEC2-4BEF-4F17-BA2B-6CC06CE6CEAC}"/>
                  <pc2:cmRplyMk id="{23D7F4EA-7A00-422A-B93B-C43B3F7E1C86}"/>
                </pc2:cmRplyMkLst>
              </pc226:cmRplyChg>
            </pc226:cmChg>
          </p:ext>
        </pc:extLst>
      </pc:sldChg>
      <pc:sldChg chg="delCm">
        <pc:chgData name="Lien, Ole Christian" userId="273202a6-48ae-4110-b993-7f020695e2c7" providerId="ADAL" clId="{B825CDD3-22E1-42FB-AB0E-CBE958C84309}" dt="2023-04-14T09:21:30.333" v="1861"/>
        <pc:sldMkLst>
          <pc:docMk/>
          <pc:sldMk cId="3250492731" sldId="3125"/>
        </pc:sldMkLst>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9:21:30.333" v="1861"/>
              <pc2:cmMkLst xmlns:pc2="http://schemas.microsoft.com/office/powerpoint/2019/9/main/command">
                <pc:docMk/>
                <pc:sldMk cId="3250492731" sldId="3125"/>
                <pc2:cmMk id="{D83965C3-2089-4ECC-9296-7356A10784CB}"/>
              </pc2:cmMkLst>
            </pc226:cmChg>
          </p:ext>
        </pc:extLst>
      </pc:sldChg>
      <pc:sldChg chg="del">
        <pc:chgData name="Lien, Ole Christian" userId="273202a6-48ae-4110-b993-7f020695e2c7" providerId="ADAL" clId="{B825CDD3-22E1-42FB-AB0E-CBE958C84309}" dt="2023-04-14T09:25:22.208" v="1947" actId="47"/>
        <pc:sldMkLst>
          <pc:docMk/>
          <pc:sldMk cId="382517694" sldId="2147199155"/>
        </pc:sldMkLst>
      </pc:sldChg>
      <pc:sldChg chg="modNotesTx">
        <pc:chgData name="Lien, Ole Christian" userId="273202a6-48ae-4110-b993-7f020695e2c7" providerId="ADAL" clId="{B825CDD3-22E1-42FB-AB0E-CBE958C84309}" dt="2023-04-14T08:54:20.016" v="1186" actId="20577"/>
        <pc:sldMkLst>
          <pc:docMk/>
          <pc:sldMk cId="311781684" sldId="2147199626"/>
        </pc:sldMkLst>
      </pc:sldChg>
      <pc:sldChg chg="modNotesTx">
        <pc:chgData name="Lien, Ole Christian" userId="273202a6-48ae-4110-b993-7f020695e2c7" providerId="ADAL" clId="{B825CDD3-22E1-42FB-AB0E-CBE958C84309}" dt="2023-04-14T08:59:21.996" v="1379" actId="255"/>
        <pc:sldMkLst>
          <pc:docMk/>
          <pc:sldMk cId="1177185325" sldId="2147199641"/>
        </pc:sldMkLst>
      </pc:sldChg>
      <pc:sldChg chg="modSp mod">
        <pc:chgData name="Lien, Ole Christian" userId="273202a6-48ae-4110-b993-7f020695e2c7" providerId="ADAL" clId="{B825CDD3-22E1-42FB-AB0E-CBE958C84309}" dt="2023-03-29T14:00:34.756" v="364" actId="20577"/>
        <pc:sldMkLst>
          <pc:docMk/>
          <pc:sldMk cId="3806527201" sldId="2147199650"/>
        </pc:sldMkLst>
        <pc:spChg chg="mod">
          <ac:chgData name="Lien, Ole Christian" userId="273202a6-48ae-4110-b993-7f020695e2c7" providerId="ADAL" clId="{B825CDD3-22E1-42FB-AB0E-CBE958C84309}" dt="2023-03-29T14:00:34.756" v="364" actId="20577"/>
          <ac:spMkLst>
            <pc:docMk/>
            <pc:sldMk cId="3806527201" sldId="2147199650"/>
            <ac:spMk id="2" creationId="{8953B5AA-F9F0-54FC-88B4-DA9DA9A0D2BE}"/>
          </ac:spMkLst>
        </pc:spChg>
      </pc:sldChg>
      <pc:sldChg chg="delCm">
        <pc:chgData name="Lien, Ole Christian" userId="273202a6-48ae-4110-b993-7f020695e2c7" providerId="ADAL" clId="{B825CDD3-22E1-42FB-AB0E-CBE958C84309}" dt="2023-04-14T09:27:04.002" v="1948"/>
        <pc:sldMkLst>
          <pc:docMk/>
          <pc:sldMk cId="857450812" sldId="2147199655"/>
        </pc:sldMkLst>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9:27:04.002" v="1948"/>
              <pc2:cmMkLst xmlns:pc2="http://schemas.microsoft.com/office/powerpoint/2019/9/main/command">
                <pc:docMk/>
                <pc:sldMk cId="857450812" sldId="2147199655"/>
                <pc2:cmMk id="{ABF96EBC-A0F5-4F66-B60E-9F779AE0E956}"/>
              </pc2:cmMkLst>
            </pc226:cmChg>
          </p:ext>
        </pc:extLst>
      </pc:sldChg>
      <pc:sldChg chg="modSp mod">
        <pc:chgData name="Lien, Ole Christian" userId="273202a6-48ae-4110-b993-7f020695e2c7" providerId="ADAL" clId="{B825CDD3-22E1-42FB-AB0E-CBE958C84309}" dt="2023-04-18T06:58:47.890" v="2169" actId="790"/>
        <pc:sldMkLst>
          <pc:docMk/>
          <pc:sldMk cId="4022571338" sldId="2147199656"/>
        </pc:sldMkLst>
        <pc:spChg chg="mod">
          <ac:chgData name="Lien, Ole Christian" userId="273202a6-48ae-4110-b993-7f020695e2c7" providerId="ADAL" clId="{B825CDD3-22E1-42FB-AB0E-CBE958C84309}" dt="2023-04-18T06:58:47.890" v="2169" actId="790"/>
          <ac:spMkLst>
            <pc:docMk/>
            <pc:sldMk cId="4022571338" sldId="2147199656"/>
            <ac:spMk id="5" creationId="{A9E1B165-CD61-5545-B3A3-F9EAA80CC4EF}"/>
          </ac:spMkLst>
        </pc:spChg>
      </pc:sldChg>
      <pc:sldChg chg="modSp mod modNotesTx">
        <pc:chgData name="Lien, Ole Christian" userId="273202a6-48ae-4110-b993-7f020695e2c7" providerId="ADAL" clId="{B825CDD3-22E1-42FB-AB0E-CBE958C84309}" dt="2023-04-18T06:50:55.321" v="2121" actId="20577"/>
        <pc:sldMkLst>
          <pc:docMk/>
          <pc:sldMk cId="967738493" sldId="2147199659"/>
        </pc:sldMkLst>
        <pc:spChg chg="mod">
          <ac:chgData name="Lien, Ole Christian" userId="273202a6-48ae-4110-b993-7f020695e2c7" providerId="ADAL" clId="{B825CDD3-22E1-42FB-AB0E-CBE958C84309}" dt="2023-04-18T06:50:55.321" v="2121" actId="20577"/>
          <ac:spMkLst>
            <pc:docMk/>
            <pc:sldMk cId="967738493" sldId="2147199659"/>
            <ac:spMk id="2" creationId="{6A9C9B0F-55DA-8129-88DC-03B40AF8417F}"/>
          </ac:spMkLst>
        </pc:spChg>
      </pc:sldChg>
      <pc:sldChg chg="modSp modNotesTx">
        <pc:chgData name="Lien, Ole Christian" userId="273202a6-48ae-4110-b993-7f020695e2c7" providerId="ADAL" clId="{B825CDD3-22E1-42FB-AB0E-CBE958C84309}" dt="2023-04-18T06:52:54.985" v="2138" actId="20577"/>
        <pc:sldMkLst>
          <pc:docMk/>
          <pc:sldMk cId="1481927132" sldId="2147199671"/>
        </pc:sldMkLst>
        <pc:graphicFrameChg chg="mod">
          <ac:chgData name="Lien, Ole Christian" userId="273202a6-48ae-4110-b993-7f020695e2c7" providerId="ADAL" clId="{B825CDD3-22E1-42FB-AB0E-CBE958C84309}" dt="2023-04-18T06:52:54.985" v="2138" actId="20577"/>
          <ac:graphicFrameMkLst>
            <pc:docMk/>
            <pc:sldMk cId="1481927132" sldId="2147199671"/>
            <ac:graphicFrameMk id="8" creationId="{593BDA29-4B12-6D33-863C-027164633F1F}"/>
          </ac:graphicFrameMkLst>
        </pc:graphicFrameChg>
      </pc:sldChg>
      <pc:sldChg chg="modSp mod delCm modCm">
        <pc:chgData name="Lien, Ole Christian" userId="273202a6-48ae-4110-b993-7f020695e2c7" providerId="ADAL" clId="{B825CDD3-22E1-42FB-AB0E-CBE958C84309}" dt="2023-04-17T13:46:57.943" v="2030"/>
        <pc:sldMkLst>
          <pc:docMk/>
          <pc:sldMk cId="2119641651" sldId="2147199673"/>
        </pc:sldMkLst>
        <pc:spChg chg="mod">
          <ac:chgData name="Lien, Ole Christian" userId="273202a6-48ae-4110-b993-7f020695e2c7" providerId="ADAL" clId="{B825CDD3-22E1-42FB-AB0E-CBE958C84309}" dt="2023-04-14T09:15:55.170" v="1828" actId="207"/>
          <ac:spMkLst>
            <pc:docMk/>
            <pc:sldMk cId="2119641651" sldId="2147199673"/>
            <ac:spMk id="4" creationId="{CEB5A685-31DB-4FA3-845F-BBEE0F4B08E3}"/>
          </ac:spMkLst>
        </pc:sp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7T13:46:57.943" v="2030"/>
              <pc2:cmMkLst xmlns:pc2="http://schemas.microsoft.com/office/powerpoint/2019/9/main/command">
                <pc:docMk/>
                <pc:sldMk cId="2119641651" sldId="2147199673"/>
                <pc2:cmMk id="{2F4C6E12-D8CF-48CD-B538-0D77F57F2897}"/>
              </pc2:cmMkLst>
              <pc226:cmRplyChg chg="add">
                <pc226:chgData name="Lien, Ole Christian" userId="273202a6-48ae-4110-b993-7f020695e2c7" providerId="ADAL" clId="{B825CDD3-22E1-42FB-AB0E-CBE958C84309}" dt="2023-04-14T09:16:08.569" v="1829"/>
                <pc2:cmRplyMkLst xmlns:pc2="http://schemas.microsoft.com/office/powerpoint/2019/9/main/command">
                  <pc:docMk/>
                  <pc:sldMk cId="2119641651" sldId="2147199673"/>
                  <pc2:cmMk id="{2F4C6E12-D8CF-48CD-B538-0D77F57F2897}"/>
                  <pc2:cmRplyMk id="{094C7022-3DB0-4EF8-8071-13F64DB55625}"/>
                </pc2:cmRplyMkLst>
              </pc226:cmRplyChg>
            </pc226:cmChg>
          </p:ext>
        </pc:extLst>
      </pc:sldChg>
      <pc:sldChg chg="modSp mod delCm modCm modNotesTx">
        <pc:chgData name="Lien, Ole Christian" userId="273202a6-48ae-4110-b993-7f020695e2c7" providerId="ADAL" clId="{B825CDD3-22E1-42FB-AB0E-CBE958C84309}" dt="2023-04-14T08:14:33.193" v="910" actId="20577"/>
        <pc:sldMkLst>
          <pc:docMk/>
          <pc:sldMk cId="2463229187" sldId="2147199675"/>
        </pc:sldMkLst>
        <pc:spChg chg="mod">
          <ac:chgData name="Lien, Ole Christian" userId="273202a6-48ae-4110-b993-7f020695e2c7" providerId="ADAL" clId="{B825CDD3-22E1-42FB-AB0E-CBE958C84309}" dt="2023-03-29T12:58:47.461" v="361" actId="20577"/>
          <ac:spMkLst>
            <pc:docMk/>
            <pc:sldMk cId="2463229187" sldId="2147199675"/>
            <ac:spMk id="5" creationId="{A9E1B165-CD61-5545-B3A3-F9EAA80CC4EF}"/>
          </ac:spMkLst>
        </pc:sp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7:56:47.732" v="449"/>
              <pc2:cmMkLst xmlns:pc2="http://schemas.microsoft.com/office/powerpoint/2019/9/main/command">
                <pc:docMk/>
                <pc:sldMk cId="2463229187" sldId="2147199675"/>
                <pc2:cmMk id="{63459A40-D633-4449-8824-2825B2CBBEB5}"/>
              </pc2:cmMkLst>
            </pc226:cmChg>
            <pc226:cmChg xmlns:pc226="http://schemas.microsoft.com/office/powerpoint/2022/06/main/command" chg="del">
              <pc226:chgData name="Lien, Ole Christian" userId="273202a6-48ae-4110-b993-7f020695e2c7" providerId="ADAL" clId="{B825CDD3-22E1-42FB-AB0E-CBE958C84309}" dt="2023-04-14T07:56:50.018" v="450"/>
              <pc2:cmMkLst xmlns:pc2="http://schemas.microsoft.com/office/powerpoint/2019/9/main/command">
                <pc:docMk/>
                <pc:sldMk cId="2463229187" sldId="2147199675"/>
                <pc2:cmMk id="{A35656AC-56C7-4602-8627-2900320F6C11}"/>
              </pc2:cmMkLst>
            </pc226:cmChg>
          </p:ext>
        </pc:extLst>
      </pc:sldChg>
      <pc:sldChg chg="delCm modNotesTx">
        <pc:chgData name="Lien, Ole Christian" userId="273202a6-48ae-4110-b993-7f020695e2c7" providerId="ADAL" clId="{B825CDD3-22E1-42FB-AB0E-CBE958C84309}" dt="2023-04-14T08:07:11.712" v="859"/>
        <pc:sldMkLst>
          <pc:docMk/>
          <pc:sldMk cId="3460481158" sldId="2147199683"/>
        </pc:sldMkLst>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8:07:11.712" v="859"/>
              <pc2:cmMkLst xmlns:pc2="http://schemas.microsoft.com/office/powerpoint/2019/9/main/command">
                <pc:docMk/>
                <pc:sldMk cId="3460481158" sldId="2147199683"/>
                <pc2:cmMk id="{8BCE4379-97BC-4960-BF69-3C094874EBC2}"/>
              </pc2:cmMkLst>
            </pc226:cmChg>
          </p:ext>
        </pc:extLst>
      </pc:sldChg>
      <pc:sldChg chg="modNotesTx">
        <pc:chgData name="Lien, Ole Christian" userId="273202a6-48ae-4110-b993-7f020695e2c7" providerId="ADAL" clId="{B825CDD3-22E1-42FB-AB0E-CBE958C84309}" dt="2023-04-14T08:19:06.656" v="914" actId="20577"/>
        <pc:sldMkLst>
          <pc:docMk/>
          <pc:sldMk cId="1689254817" sldId="2147199685"/>
        </pc:sldMkLst>
      </pc:sldChg>
      <pc:sldChg chg="addSp delSp modSp mod delCm modNotesTx">
        <pc:chgData name="Lien, Ole Christian" userId="273202a6-48ae-4110-b993-7f020695e2c7" providerId="ADAL" clId="{B825CDD3-22E1-42FB-AB0E-CBE958C84309}" dt="2023-04-17T13:46:35.864" v="2028" actId="21"/>
        <pc:sldMkLst>
          <pc:docMk/>
          <pc:sldMk cId="1314660975" sldId="2147199688"/>
        </pc:sldMkLst>
        <pc:spChg chg="mod">
          <ac:chgData name="Lien, Ole Christian" userId="273202a6-48ae-4110-b993-7f020695e2c7" providerId="ADAL" clId="{B825CDD3-22E1-42FB-AB0E-CBE958C84309}" dt="2023-04-14T08:22:20.688" v="978" actId="790"/>
          <ac:spMkLst>
            <pc:docMk/>
            <pc:sldMk cId="1314660975" sldId="2147199688"/>
            <ac:spMk id="14" creationId="{751AA060-3B1D-4102-9E3B-BFF75CD4A862}"/>
          </ac:spMkLst>
        </pc:spChg>
        <pc:picChg chg="add del mod">
          <ac:chgData name="Lien, Ole Christian" userId="273202a6-48ae-4110-b993-7f020695e2c7" providerId="ADAL" clId="{B825CDD3-22E1-42FB-AB0E-CBE958C84309}" dt="2023-04-17T13:46:35.864" v="2028" actId="21"/>
          <ac:picMkLst>
            <pc:docMk/>
            <pc:sldMk cId="1314660975" sldId="2147199688"/>
            <ac:picMk id="2" creationId="{3E10C607-C11E-DCF1-FFA1-4E668D82B698}"/>
          </ac:picMkLst>
        </pc:pic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8:22:09.479" v="976"/>
              <pc2:cmMkLst xmlns:pc2="http://schemas.microsoft.com/office/powerpoint/2019/9/main/command">
                <pc:docMk/>
                <pc:sldMk cId="1314660975" sldId="2147199688"/>
                <pc2:cmMk id="{7308C961-93F0-4D01-AC36-A17C3EBFAD38}"/>
              </pc2:cmMkLst>
            </pc226:cmChg>
            <pc226:cmChg xmlns:pc226="http://schemas.microsoft.com/office/powerpoint/2022/06/main/command" chg="del">
              <pc226:chgData name="Lien, Ole Christian" userId="273202a6-48ae-4110-b993-7f020695e2c7" providerId="ADAL" clId="{B825CDD3-22E1-42FB-AB0E-CBE958C84309}" dt="2023-04-14T08:22:11.802" v="977"/>
              <pc2:cmMkLst xmlns:pc2="http://schemas.microsoft.com/office/powerpoint/2019/9/main/command">
                <pc:docMk/>
                <pc:sldMk cId="1314660975" sldId="2147199688"/>
                <pc2:cmMk id="{0539C865-26A0-4730-BED2-44E3EE0D4F88}"/>
              </pc2:cmMkLst>
            </pc226:cmChg>
          </p:ext>
        </pc:extLst>
      </pc:sldChg>
      <pc:sldChg chg="modNotesTx">
        <pc:chgData name="Lien, Ole Christian" userId="273202a6-48ae-4110-b993-7f020695e2c7" providerId="ADAL" clId="{B825CDD3-22E1-42FB-AB0E-CBE958C84309}" dt="2023-04-14T09:06:26.774" v="1525" actId="207"/>
        <pc:sldMkLst>
          <pc:docMk/>
          <pc:sldMk cId="613675044" sldId="2147199689"/>
        </pc:sldMkLst>
      </pc:sldChg>
      <pc:sldChg chg="modNotesTx">
        <pc:chgData name="Lien, Ole Christian" userId="273202a6-48ae-4110-b993-7f020695e2c7" providerId="ADAL" clId="{B825CDD3-22E1-42FB-AB0E-CBE958C84309}" dt="2023-04-14T09:07:11.277" v="1593" actId="113"/>
        <pc:sldMkLst>
          <pc:docMk/>
          <pc:sldMk cId="3828192015" sldId="2147199690"/>
        </pc:sldMkLst>
      </pc:sldChg>
      <pc:sldChg chg="modNotesTx">
        <pc:chgData name="Lien, Ole Christian" userId="273202a6-48ae-4110-b993-7f020695e2c7" providerId="ADAL" clId="{B825CDD3-22E1-42FB-AB0E-CBE958C84309}" dt="2023-04-14T09:07:37.924" v="1667" actId="20577"/>
        <pc:sldMkLst>
          <pc:docMk/>
          <pc:sldMk cId="2293250089" sldId="2147199691"/>
        </pc:sldMkLst>
      </pc:sldChg>
      <pc:sldChg chg="modNotesTx">
        <pc:chgData name="Lien, Ole Christian" userId="273202a6-48ae-4110-b993-7f020695e2c7" providerId="ADAL" clId="{B825CDD3-22E1-42FB-AB0E-CBE958C84309}" dt="2023-04-14T09:05:26.093" v="1461" actId="255"/>
        <pc:sldMkLst>
          <pc:docMk/>
          <pc:sldMk cId="457178272" sldId="2147199693"/>
        </pc:sldMkLst>
      </pc:sldChg>
      <pc:sldChg chg="modNotesTx">
        <pc:chgData name="Lien, Ole Christian" userId="273202a6-48ae-4110-b993-7f020695e2c7" providerId="ADAL" clId="{B825CDD3-22E1-42FB-AB0E-CBE958C84309}" dt="2023-04-14T08:50:43.984" v="1005" actId="20577"/>
        <pc:sldMkLst>
          <pc:docMk/>
          <pc:sldMk cId="3887728048" sldId="2147199695"/>
        </pc:sldMkLst>
      </pc:sldChg>
      <pc:sldChg chg="delSp mod modNotesTx">
        <pc:chgData name="Lien, Ole Christian" userId="273202a6-48ae-4110-b993-7f020695e2c7" providerId="ADAL" clId="{B825CDD3-22E1-42FB-AB0E-CBE958C84309}" dt="2023-04-14T11:58:15.891" v="1949" actId="478"/>
        <pc:sldMkLst>
          <pc:docMk/>
          <pc:sldMk cId="3383914499" sldId="2147199697"/>
        </pc:sldMkLst>
        <pc:picChg chg="del">
          <ac:chgData name="Lien, Ole Christian" userId="273202a6-48ae-4110-b993-7f020695e2c7" providerId="ADAL" clId="{B825CDD3-22E1-42FB-AB0E-CBE958C84309}" dt="2023-04-14T11:58:15.891" v="1949" actId="478"/>
          <ac:picMkLst>
            <pc:docMk/>
            <pc:sldMk cId="3383914499" sldId="2147199697"/>
            <ac:picMk id="9" creationId="{2FA9203A-D561-E12F-3F4E-A9C5E7671DC0}"/>
          </ac:picMkLst>
        </pc:picChg>
      </pc:sldChg>
      <pc:sldChg chg="modNotesTx">
        <pc:chgData name="Lien, Ole Christian" userId="273202a6-48ae-4110-b993-7f020695e2c7" providerId="ADAL" clId="{B825CDD3-22E1-42FB-AB0E-CBE958C84309}" dt="2023-04-14T09:06:49.027" v="1533" actId="207"/>
        <pc:sldMkLst>
          <pc:docMk/>
          <pc:sldMk cId="3231242404" sldId="2147199698"/>
        </pc:sldMkLst>
      </pc:sldChg>
      <pc:sldChg chg="modNotesTx">
        <pc:chgData name="Lien, Ole Christian" userId="273202a6-48ae-4110-b993-7f020695e2c7" providerId="ADAL" clId="{B825CDD3-22E1-42FB-AB0E-CBE958C84309}" dt="2023-04-14T09:05:58.855" v="1519" actId="113"/>
        <pc:sldMkLst>
          <pc:docMk/>
          <pc:sldMk cId="2665262395" sldId="2147199699"/>
        </pc:sldMkLst>
      </pc:sldChg>
      <pc:sldChg chg="modNotesTx">
        <pc:chgData name="Lien, Ole Christian" userId="273202a6-48ae-4110-b993-7f020695e2c7" providerId="ADAL" clId="{B825CDD3-22E1-42FB-AB0E-CBE958C84309}" dt="2023-04-14T08:06:07.103" v="854" actId="20577"/>
        <pc:sldMkLst>
          <pc:docMk/>
          <pc:sldMk cId="1103566599" sldId="2147199700"/>
        </pc:sldMkLst>
      </pc:sldChg>
      <pc:sldChg chg="modSp mod">
        <pc:chgData name="Lien, Ole Christian" userId="273202a6-48ae-4110-b993-7f020695e2c7" providerId="ADAL" clId="{B825CDD3-22E1-42FB-AB0E-CBE958C84309}" dt="2023-04-18T07:29:53.573" v="2185" actId="20577"/>
        <pc:sldMkLst>
          <pc:docMk/>
          <pc:sldMk cId="3098349971" sldId="2147199703"/>
        </pc:sldMkLst>
        <pc:spChg chg="mod">
          <ac:chgData name="Lien, Ole Christian" userId="273202a6-48ae-4110-b993-7f020695e2c7" providerId="ADAL" clId="{B825CDD3-22E1-42FB-AB0E-CBE958C84309}" dt="2023-04-18T07:29:53.573" v="2185" actId="20577"/>
          <ac:spMkLst>
            <pc:docMk/>
            <pc:sldMk cId="3098349971" sldId="2147199703"/>
            <ac:spMk id="4" creationId="{99B6815F-7717-442C-973F-093B42E688A0}"/>
          </ac:spMkLst>
        </pc:spChg>
      </pc:sldChg>
      <pc:sldChg chg="del">
        <pc:chgData name="Lien, Ole Christian" userId="273202a6-48ae-4110-b993-7f020695e2c7" providerId="ADAL" clId="{B825CDD3-22E1-42FB-AB0E-CBE958C84309}" dt="2023-04-14T09:23:51.625" v="1898" actId="47"/>
        <pc:sldMkLst>
          <pc:docMk/>
          <pc:sldMk cId="4096535654" sldId="2147199704"/>
        </pc:sldMkLst>
      </pc:sldChg>
      <pc:sldChg chg="modNotesTx">
        <pc:chgData name="Lien, Ole Christian" userId="273202a6-48ae-4110-b993-7f020695e2c7" providerId="ADAL" clId="{B825CDD3-22E1-42FB-AB0E-CBE958C84309}" dt="2023-04-14T08:57:47.622" v="1378" actId="255"/>
        <pc:sldMkLst>
          <pc:docMk/>
          <pc:sldMk cId="1055730045" sldId="2147199705"/>
        </pc:sldMkLst>
      </pc:sldChg>
      <pc:sldChg chg="delSp modSp mod delCm modCm">
        <pc:chgData name="Lien, Ole Christian" userId="273202a6-48ae-4110-b993-7f020695e2c7" providerId="ADAL" clId="{B825CDD3-22E1-42FB-AB0E-CBE958C84309}" dt="2023-04-16T09:57:31.851" v="1979" actId="255"/>
        <pc:sldMkLst>
          <pc:docMk/>
          <pc:sldMk cId="223489148" sldId="2147199706"/>
        </pc:sldMkLst>
        <pc:spChg chg="mod">
          <ac:chgData name="Lien, Ole Christian" userId="273202a6-48ae-4110-b993-7f020695e2c7" providerId="ADAL" clId="{B825CDD3-22E1-42FB-AB0E-CBE958C84309}" dt="2023-03-29T11:51:20.515" v="338" actId="1076"/>
          <ac:spMkLst>
            <pc:docMk/>
            <pc:sldMk cId="223489148" sldId="2147199706"/>
            <ac:spMk id="7" creationId="{D5788F81-48DB-51A9-033E-D3D788D47329}"/>
          </ac:spMkLst>
        </pc:spChg>
        <pc:spChg chg="mod">
          <ac:chgData name="Lien, Ole Christian" userId="273202a6-48ae-4110-b993-7f020695e2c7" providerId="ADAL" clId="{B825CDD3-22E1-42FB-AB0E-CBE958C84309}" dt="2023-03-29T11:47:10.856" v="329" actId="20577"/>
          <ac:spMkLst>
            <pc:docMk/>
            <pc:sldMk cId="223489148" sldId="2147199706"/>
            <ac:spMk id="11" creationId="{7DF4EEB0-38C5-FF8C-1708-A89F6F4528E8}"/>
          </ac:spMkLst>
        </pc:spChg>
        <pc:spChg chg="mod">
          <ac:chgData name="Lien, Ole Christian" userId="273202a6-48ae-4110-b993-7f020695e2c7" providerId="ADAL" clId="{B825CDD3-22E1-42FB-AB0E-CBE958C84309}" dt="2023-03-29T11:51:30.152" v="339" actId="1076"/>
          <ac:spMkLst>
            <pc:docMk/>
            <pc:sldMk cId="223489148" sldId="2147199706"/>
            <ac:spMk id="12" creationId="{571A82D3-E342-1C4D-68EA-2B0EB1C4141C}"/>
          </ac:spMkLst>
        </pc:spChg>
        <pc:spChg chg="mod">
          <ac:chgData name="Lien, Ole Christian" userId="273202a6-48ae-4110-b993-7f020695e2c7" providerId="ADAL" clId="{B825CDD3-22E1-42FB-AB0E-CBE958C84309}" dt="2023-04-16T09:57:31.851" v="1979" actId="255"/>
          <ac:spMkLst>
            <pc:docMk/>
            <pc:sldMk cId="223489148" sldId="2147199706"/>
            <ac:spMk id="14" creationId="{A5A7DDF1-0D0D-B99A-02F1-AAC434C3D8A6}"/>
          </ac:spMkLst>
        </pc:spChg>
        <pc:picChg chg="del">
          <ac:chgData name="Lien, Ole Christian" userId="273202a6-48ae-4110-b993-7f020695e2c7" providerId="ADAL" clId="{B825CDD3-22E1-42FB-AB0E-CBE958C84309}" dt="2023-04-14T09:25:13.733" v="1946" actId="478"/>
          <ac:picMkLst>
            <pc:docMk/>
            <pc:sldMk cId="223489148" sldId="2147199706"/>
            <ac:picMk id="3" creationId="{ABB7B971-6B31-4D00-674C-5FB22C601E40}"/>
          </ac:picMkLst>
        </pc:picChg>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9:24:46.381" v="1942"/>
              <pc2:cmMkLst xmlns:pc2="http://schemas.microsoft.com/office/powerpoint/2019/9/main/command">
                <pc:docMk/>
                <pc:sldMk cId="223489148" sldId="2147199706"/>
                <pc2:cmMk id="{99293528-E701-4517-AF93-9343D3C0B03A}"/>
              </pc2:cmMkLst>
            </pc226:cmChg>
            <pc226:cmChg xmlns:pc226="http://schemas.microsoft.com/office/powerpoint/2022/06/main/command" chg="del">
              <pc226:chgData name="Lien, Ole Christian" userId="273202a6-48ae-4110-b993-7f020695e2c7" providerId="ADAL" clId="{B825CDD3-22E1-42FB-AB0E-CBE958C84309}" dt="2023-04-14T09:24:51.157" v="1943"/>
              <pc2:cmMkLst xmlns:pc2="http://schemas.microsoft.com/office/powerpoint/2019/9/main/command">
                <pc:docMk/>
                <pc:sldMk cId="223489148" sldId="2147199706"/>
                <pc2:cmMk id="{827D0A76-8BBF-4D79-90F5-8E1650CBED17}"/>
              </pc2:cmMkLst>
            </pc226:cmChg>
            <pc226:cmChg xmlns:pc226="http://schemas.microsoft.com/office/powerpoint/2022/06/main/command" chg="del mod">
              <pc226:chgData name="Lien, Ole Christian" userId="273202a6-48ae-4110-b993-7f020695e2c7" providerId="ADAL" clId="{B825CDD3-22E1-42FB-AB0E-CBE958C84309}" dt="2023-04-16T09:56:50.427" v="1978"/>
              <pc2:cmMkLst xmlns:pc2="http://schemas.microsoft.com/office/powerpoint/2019/9/main/command">
                <pc:docMk/>
                <pc:sldMk cId="223489148" sldId="2147199706"/>
                <pc2:cmMk id="{54B95DEA-7430-41E5-ABA9-53CBAC73188E}"/>
              </pc2:cmMkLst>
              <pc226:cmRplyChg chg="add">
                <pc226:chgData name="Lien, Ole Christian" userId="273202a6-48ae-4110-b993-7f020695e2c7" providerId="ADAL" clId="{B825CDD3-22E1-42FB-AB0E-CBE958C84309}" dt="2023-04-14T09:25:09.440" v="1945"/>
                <pc2:cmRplyMkLst xmlns:pc2="http://schemas.microsoft.com/office/powerpoint/2019/9/main/command">
                  <pc:docMk/>
                  <pc:sldMk cId="223489148" sldId="2147199706"/>
                  <pc2:cmMk id="{54B95DEA-7430-41E5-ABA9-53CBAC73188E}"/>
                  <pc2:cmRplyMk id="{51FF84E2-AEDF-4030-9BF9-9C4E01FE21B8}"/>
                </pc2:cmRplyMkLst>
              </pc226:cmRplyChg>
            </pc226:cmChg>
          </p:ext>
        </pc:extLst>
      </pc:sldChg>
      <pc:sldChg chg="delCm modNotesTx">
        <pc:chgData name="Lien, Ole Christian" userId="273202a6-48ae-4110-b993-7f020695e2c7" providerId="ADAL" clId="{B825CDD3-22E1-42FB-AB0E-CBE958C84309}" dt="2023-04-14T08:10:50.858" v="886" actId="255"/>
        <pc:sldMkLst>
          <pc:docMk/>
          <pc:sldMk cId="281140690" sldId="2147199707"/>
        </pc:sldMkLst>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B825CDD3-22E1-42FB-AB0E-CBE958C84309}" dt="2023-04-14T07:55:58.565" v="445"/>
              <pc2:cmMkLst xmlns:pc2="http://schemas.microsoft.com/office/powerpoint/2019/9/main/command">
                <pc:docMk/>
                <pc:sldMk cId="281140690" sldId="2147199707"/>
                <pc2:cmMk id="{290211BC-0038-442E-9FEC-214EE4E7A789}"/>
              </pc2:cmMkLst>
            </pc226:cmChg>
          </p:ext>
        </pc:extLst>
      </pc:sldChg>
      <pc:sldChg chg="modSp mod modNotesTx">
        <pc:chgData name="Lien, Ole Christian" userId="273202a6-48ae-4110-b993-7f020695e2c7" providerId="ADAL" clId="{B825CDD3-22E1-42FB-AB0E-CBE958C84309}" dt="2023-04-18T06:53:42.238" v="2148" actId="20577"/>
        <pc:sldMkLst>
          <pc:docMk/>
          <pc:sldMk cId="2726177147" sldId="2147199709"/>
        </pc:sldMkLst>
        <pc:spChg chg="mod">
          <ac:chgData name="Lien, Ole Christian" userId="273202a6-48ae-4110-b993-7f020695e2c7" providerId="ADAL" clId="{B825CDD3-22E1-42FB-AB0E-CBE958C84309}" dt="2023-04-18T06:53:42.238" v="2148" actId="20577"/>
          <ac:spMkLst>
            <pc:docMk/>
            <pc:sldMk cId="2726177147" sldId="2147199709"/>
            <ac:spMk id="4" creationId="{31B28EF2-27DF-FD6E-A56E-C79FFA7A0237}"/>
          </ac:spMkLst>
        </pc:spChg>
      </pc:sldChg>
      <pc:sldChg chg="addSp delSp modSp mod">
        <pc:chgData name="Lien, Ole Christian" userId="273202a6-48ae-4110-b993-7f020695e2c7" providerId="ADAL" clId="{B825CDD3-22E1-42FB-AB0E-CBE958C84309}" dt="2023-04-17T13:46:29.059" v="2025" actId="21"/>
        <pc:sldMkLst>
          <pc:docMk/>
          <pc:sldMk cId="148059855" sldId="2147199710"/>
        </pc:sldMkLst>
        <pc:graphicFrameChg chg="mod">
          <ac:chgData name="Lien, Ole Christian" userId="273202a6-48ae-4110-b993-7f020695e2c7" providerId="ADAL" clId="{B825CDD3-22E1-42FB-AB0E-CBE958C84309}" dt="2023-04-17T13:46:15.678" v="2024" actId="2085"/>
          <ac:graphicFrameMkLst>
            <pc:docMk/>
            <pc:sldMk cId="148059855" sldId="2147199710"/>
            <ac:graphicFrameMk id="11" creationId="{2A6E5D02-B7A7-4F1C-ACEE-845E7C8E051E}"/>
          </ac:graphicFrameMkLst>
        </pc:graphicFrameChg>
        <pc:picChg chg="add del mod">
          <ac:chgData name="Lien, Ole Christian" userId="273202a6-48ae-4110-b993-7f020695e2c7" providerId="ADAL" clId="{B825CDD3-22E1-42FB-AB0E-CBE958C84309}" dt="2023-04-17T13:46:29.059" v="2025" actId="21"/>
          <ac:picMkLst>
            <pc:docMk/>
            <pc:sldMk cId="148059855" sldId="2147199710"/>
            <ac:picMk id="10" creationId="{0E255199-7EEC-B534-71FA-B364B7595ED8}"/>
          </ac:picMkLst>
        </pc:picChg>
      </pc:sldChg>
      <pc:sldChg chg="modNotesTx">
        <pc:chgData name="Lien, Ole Christian" userId="273202a6-48ae-4110-b993-7f020695e2c7" providerId="ADAL" clId="{B825CDD3-22E1-42FB-AB0E-CBE958C84309}" dt="2023-04-14T09:15:34.530" v="1825" actId="6549"/>
        <pc:sldMkLst>
          <pc:docMk/>
          <pc:sldMk cId="3140334545" sldId="2147199713"/>
        </pc:sldMkLst>
      </pc:sldChg>
      <pc:sldChg chg="del mod modShow modCm">
        <pc:chgData name="Lien, Ole Christian" userId="273202a6-48ae-4110-b993-7f020695e2c7" providerId="ADAL" clId="{B825CDD3-22E1-42FB-AB0E-CBE958C84309}" dt="2023-04-14T09:21:38.751" v="1862" actId="47"/>
        <pc:sldMkLst>
          <pc:docMk/>
          <pc:sldMk cId="3468937758" sldId="2147199714"/>
        </pc:sldMkLst>
      </pc:sldChg>
      <pc:sldChg chg="modSp mod">
        <pc:chgData name="Lien, Ole Christian" userId="273202a6-48ae-4110-b993-7f020695e2c7" providerId="ADAL" clId="{B825CDD3-22E1-42FB-AB0E-CBE958C84309}" dt="2023-04-18T06:55:04.453" v="2150" actId="20577"/>
        <pc:sldMkLst>
          <pc:docMk/>
          <pc:sldMk cId="3192489805" sldId="2147199719"/>
        </pc:sldMkLst>
        <pc:spChg chg="mod">
          <ac:chgData name="Lien, Ole Christian" userId="273202a6-48ae-4110-b993-7f020695e2c7" providerId="ADAL" clId="{B825CDD3-22E1-42FB-AB0E-CBE958C84309}" dt="2023-04-18T06:55:04.453" v="2150" actId="20577"/>
          <ac:spMkLst>
            <pc:docMk/>
            <pc:sldMk cId="3192489805" sldId="2147199719"/>
            <ac:spMk id="6" creationId="{0C8900CB-B5C8-EF3F-D3ED-E7E416FEAA9E}"/>
          </ac:spMkLst>
        </pc:spChg>
      </pc:sldChg>
      <pc:sldChg chg="modSp mod modNotesTx">
        <pc:chgData name="Lien, Ole Christian" userId="273202a6-48ae-4110-b993-7f020695e2c7" providerId="ADAL" clId="{B825CDD3-22E1-42FB-AB0E-CBE958C84309}" dt="2023-04-14T09:23:38.072" v="1897" actId="255"/>
        <pc:sldMkLst>
          <pc:docMk/>
          <pc:sldMk cId="2632267400" sldId="2147199724"/>
        </pc:sldMkLst>
        <pc:spChg chg="mod">
          <ac:chgData name="Lien, Ole Christian" userId="273202a6-48ae-4110-b993-7f020695e2c7" providerId="ADAL" clId="{B825CDD3-22E1-42FB-AB0E-CBE958C84309}" dt="2023-03-29T11:34:58.599" v="115" actId="20577"/>
          <ac:spMkLst>
            <pc:docMk/>
            <pc:sldMk cId="2632267400" sldId="2147199724"/>
            <ac:spMk id="2" creationId="{109203F1-4DA9-92C9-6619-EC97165140C0}"/>
          </ac:spMkLst>
        </pc:spChg>
        <pc:spChg chg="mod">
          <ac:chgData name="Lien, Ole Christian" userId="273202a6-48ae-4110-b993-7f020695e2c7" providerId="ADAL" clId="{B825CDD3-22E1-42FB-AB0E-CBE958C84309}" dt="2023-03-29T11:40:48.916" v="206" actId="1076"/>
          <ac:spMkLst>
            <pc:docMk/>
            <pc:sldMk cId="2632267400" sldId="2147199724"/>
            <ac:spMk id="8" creationId="{9DDBEFBC-2BF6-3CEE-BE23-6CFEF0C75C74}"/>
          </ac:spMkLst>
        </pc:spChg>
        <pc:spChg chg="mod">
          <ac:chgData name="Lien, Ole Christian" userId="273202a6-48ae-4110-b993-7f020695e2c7" providerId="ADAL" clId="{B825CDD3-22E1-42FB-AB0E-CBE958C84309}" dt="2023-03-29T11:41:34.664" v="213" actId="1076"/>
          <ac:spMkLst>
            <pc:docMk/>
            <pc:sldMk cId="2632267400" sldId="2147199724"/>
            <ac:spMk id="9" creationId="{40C6DC6B-6EC1-73A0-7116-6A9CA4EDC599}"/>
          </ac:spMkLst>
        </pc:spChg>
        <pc:spChg chg="mod">
          <ac:chgData name="Lien, Ole Christian" userId="273202a6-48ae-4110-b993-7f020695e2c7" providerId="ADAL" clId="{B825CDD3-22E1-42FB-AB0E-CBE958C84309}" dt="2023-03-29T11:41:01.433" v="208" actId="1076"/>
          <ac:spMkLst>
            <pc:docMk/>
            <pc:sldMk cId="2632267400" sldId="2147199724"/>
            <ac:spMk id="10" creationId="{12865911-99D6-BCF5-F70E-0E54E01A64B6}"/>
          </ac:spMkLst>
        </pc:spChg>
        <pc:spChg chg="mod">
          <ac:chgData name="Lien, Ole Christian" userId="273202a6-48ae-4110-b993-7f020695e2c7" providerId="ADAL" clId="{B825CDD3-22E1-42FB-AB0E-CBE958C84309}" dt="2023-03-29T11:41:22.624" v="212" actId="1076"/>
          <ac:spMkLst>
            <pc:docMk/>
            <pc:sldMk cId="2632267400" sldId="2147199724"/>
            <ac:spMk id="11" creationId="{DE6264DB-4943-2AE7-49F4-91055265DB72}"/>
          </ac:spMkLst>
        </pc:spChg>
      </pc:sldChg>
      <pc:sldChg chg="modNotesTx">
        <pc:chgData name="Lien, Ole Christian" userId="273202a6-48ae-4110-b993-7f020695e2c7" providerId="ADAL" clId="{B825CDD3-22E1-42FB-AB0E-CBE958C84309}" dt="2023-04-14T08:15:09.350" v="911" actId="255"/>
        <pc:sldMkLst>
          <pc:docMk/>
          <pc:sldMk cId="1469400580" sldId="2147199725"/>
        </pc:sldMkLst>
      </pc:sldChg>
      <pc:sldMasterChg chg="del delSldLayout">
        <pc:chgData name="Lien, Ole Christian" userId="273202a6-48ae-4110-b993-7f020695e2c7" providerId="ADAL" clId="{B825CDD3-22E1-42FB-AB0E-CBE958C84309}" dt="2023-04-14T09:25:22.208" v="1947" actId="47"/>
        <pc:sldMasterMkLst>
          <pc:docMk/>
          <pc:sldMasterMk cId="3574734343" sldId="2147483717"/>
        </pc:sldMasterMkLst>
        <pc:sldLayoutChg chg="del">
          <pc:chgData name="Lien, Ole Christian" userId="273202a6-48ae-4110-b993-7f020695e2c7" providerId="ADAL" clId="{B825CDD3-22E1-42FB-AB0E-CBE958C84309}" dt="2023-04-14T09:25:22.208" v="1947" actId="47"/>
          <pc:sldLayoutMkLst>
            <pc:docMk/>
            <pc:sldMasterMk cId="3574734343" sldId="2147483717"/>
            <pc:sldLayoutMk cId="275749" sldId="2147483718"/>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1710451217" sldId="2147483719"/>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720836642" sldId="2147483720"/>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1662354675" sldId="2147483721"/>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1293347068" sldId="2147483722"/>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1525511352" sldId="2147483723"/>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1130575595" sldId="2147483724"/>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3498422629" sldId="2147483725"/>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3394889656" sldId="2147483726"/>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2855461034" sldId="2147483727"/>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3879519261" sldId="2147483728"/>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2917951572" sldId="2147483729"/>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1378708010" sldId="2147483730"/>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1871694072" sldId="2147483731"/>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2754619177" sldId="2147483732"/>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3808625697" sldId="2147483733"/>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775067740" sldId="2147483734"/>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415245529" sldId="2147483735"/>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472756000" sldId="2147483736"/>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4041639710" sldId="2147483737"/>
          </pc:sldLayoutMkLst>
        </pc:sldLayoutChg>
        <pc:sldLayoutChg chg="del">
          <pc:chgData name="Lien, Ole Christian" userId="273202a6-48ae-4110-b993-7f020695e2c7" providerId="ADAL" clId="{B825CDD3-22E1-42FB-AB0E-CBE958C84309}" dt="2023-04-14T09:25:22.208" v="1947" actId="47"/>
          <pc:sldLayoutMkLst>
            <pc:docMk/>
            <pc:sldMasterMk cId="3574734343" sldId="2147483717"/>
            <pc:sldLayoutMk cId="2076458828" sldId="2147483738"/>
          </pc:sldLayoutMkLst>
        </pc:sldLayoutChg>
      </pc:sldMasterChg>
    </pc:docChg>
  </pc:docChgLst>
  <pc:docChgLst>
    <pc:chgData name="Røstad, Håkon" userId="c1637928-4d10-4cf2-9484-0473857c74e2" providerId="ADAL" clId="{17BDEAFC-6B35-45A1-9AD5-4F59433E80DE}"/>
    <pc:docChg chg="undo custSel addSld delSld modSection">
      <pc:chgData name="Røstad, Håkon" userId="c1637928-4d10-4cf2-9484-0473857c74e2" providerId="ADAL" clId="{17BDEAFC-6B35-45A1-9AD5-4F59433E80DE}" dt="2023-03-29T08:30:06.484" v="1" actId="680"/>
      <pc:docMkLst>
        <pc:docMk/>
      </pc:docMkLst>
      <pc:sldChg chg="new del">
        <pc:chgData name="Røstad, Håkon" userId="c1637928-4d10-4cf2-9484-0473857c74e2" providerId="ADAL" clId="{17BDEAFC-6B35-45A1-9AD5-4F59433E80DE}" dt="2023-03-29T08:30:06.484" v="1" actId="680"/>
        <pc:sldMkLst>
          <pc:docMk/>
          <pc:sldMk cId="2247219883" sldId="2147199725"/>
        </pc:sldMkLst>
      </pc:sldChg>
    </pc:docChg>
  </pc:docChgLst>
  <pc:docChgLst>
    <pc:chgData name="Schjold, Hanne Røvig" userId="72e82339-bab0-442f-8ca6-e6f386a713ee" providerId="ADAL" clId="{5633FD63-69B2-41DC-A8DB-6848874D8C42}"/>
    <pc:docChg chg="undo custSel addSld delSld modSld sldOrd delMainMaster addSection modSection">
      <pc:chgData name="Schjold, Hanne Røvig" userId="72e82339-bab0-442f-8ca6-e6f386a713ee" providerId="ADAL" clId="{5633FD63-69B2-41DC-A8DB-6848874D8C42}" dt="2023-03-15T14:10:35.299" v="2389"/>
      <pc:docMkLst>
        <pc:docMk/>
      </pc:docMkLst>
      <pc:sldChg chg="delSp del mod">
        <pc:chgData name="Schjold, Hanne Røvig" userId="72e82339-bab0-442f-8ca6-e6f386a713ee" providerId="ADAL" clId="{5633FD63-69B2-41DC-A8DB-6848874D8C42}" dt="2023-03-15T12:46:41.854" v="1069" actId="47"/>
        <pc:sldMkLst>
          <pc:docMk/>
          <pc:sldMk cId="2295195277" sldId="256"/>
        </pc:sldMkLst>
        <pc:spChg chg="del">
          <ac:chgData name="Schjold, Hanne Røvig" userId="72e82339-bab0-442f-8ca6-e6f386a713ee" providerId="ADAL" clId="{5633FD63-69B2-41DC-A8DB-6848874D8C42}" dt="2023-03-15T12:44:48.614" v="1002" actId="478"/>
          <ac:spMkLst>
            <pc:docMk/>
            <pc:sldMk cId="2295195277" sldId="256"/>
            <ac:spMk id="14" creationId="{BF7504A5-0469-46AF-B942-95F6D1295BE9}"/>
          </ac:spMkLst>
        </pc:spChg>
      </pc:sldChg>
      <pc:sldChg chg="addSp delSp modSp mod ord modNotesTx">
        <pc:chgData name="Schjold, Hanne Røvig" userId="72e82339-bab0-442f-8ca6-e6f386a713ee" providerId="ADAL" clId="{5633FD63-69B2-41DC-A8DB-6848874D8C42}" dt="2023-03-15T13:30:50.915" v="2102" actId="1035"/>
        <pc:sldMkLst>
          <pc:docMk/>
          <pc:sldMk cId="2544436590" sldId="562"/>
        </pc:sldMkLst>
        <pc:spChg chg="add mod">
          <ac:chgData name="Schjold, Hanne Røvig" userId="72e82339-bab0-442f-8ca6-e6f386a713ee" providerId="ADAL" clId="{5633FD63-69B2-41DC-A8DB-6848874D8C42}" dt="2023-03-15T13:30:12.310" v="2075" actId="1076"/>
          <ac:spMkLst>
            <pc:docMk/>
            <pc:sldMk cId="2544436590" sldId="562"/>
            <ac:spMk id="2" creationId="{0E74A854-B8CC-8EA0-0405-A002DE200316}"/>
          </ac:spMkLst>
        </pc:spChg>
        <pc:spChg chg="mod ord">
          <ac:chgData name="Schjold, Hanne Røvig" userId="72e82339-bab0-442f-8ca6-e6f386a713ee" providerId="ADAL" clId="{5633FD63-69B2-41DC-A8DB-6848874D8C42}" dt="2023-03-15T13:30:50.915" v="2102" actId="1035"/>
          <ac:spMkLst>
            <pc:docMk/>
            <pc:sldMk cId="2544436590" sldId="562"/>
            <ac:spMk id="3" creationId="{098A251C-9D7E-5B4C-87DE-B133D69E3ED2}"/>
          </ac:spMkLst>
        </pc:spChg>
        <pc:spChg chg="del mod">
          <ac:chgData name="Schjold, Hanne Røvig" userId="72e82339-bab0-442f-8ca6-e6f386a713ee" providerId="ADAL" clId="{5633FD63-69B2-41DC-A8DB-6848874D8C42}" dt="2023-03-15T13:30:04.809" v="2073"/>
          <ac:spMkLst>
            <pc:docMk/>
            <pc:sldMk cId="2544436590" sldId="562"/>
            <ac:spMk id="7" creationId="{00000000-0000-0000-0000-000000000000}"/>
          </ac:spMkLst>
        </pc:spChg>
      </pc:sldChg>
      <pc:sldChg chg="modSp mod ord">
        <pc:chgData name="Schjold, Hanne Røvig" userId="72e82339-bab0-442f-8ca6-e6f386a713ee" providerId="ADAL" clId="{5633FD63-69B2-41DC-A8DB-6848874D8C42}" dt="2023-03-15T14:10:32.988" v="2387"/>
        <pc:sldMkLst>
          <pc:docMk/>
          <pc:sldMk cId="2567434684" sldId="671"/>
        </pc:sldMkLst>
        <pc:spChg chg="mod">
          <ac:chgData name="Schjold, Hanne Røvig" userId="72e82339-bab0-442f-8ca6-e6f386a713ee" providerId="ADAL" clId="{5633FD63-69B2-41DC-A8DB-6848874D8C42}" dt="2023-03-15T13:12:35.771" v="1462" actId="207"/>
          <ac:spMkLst>
            <pc:docMk/>
            <pc:sldMk cId="2567434684" sldId="671"/>
            <ac:spMk id="2" creationId="{26E39EAC-C6AC-1142-9FCD-117DFBC264B1}"/>
          </ac:spMkLst>
        </pc:spChg>
        <pc:spChg chg="mod">
          <ac:chgData name="Schjold, Hanne Røvig" userId="72e82339-bab0-442f-8ca6-e6f386a713ee" providerId="ADAL" clId="{5633FD63-69B2-41DC-A8DB-6848874D8C42}" dt="2023-03-15T13:12:46.199" v="1476" actId="1037"/>
          <ac:spMkLst>
            <pc:docMk/>
            <pc:sldMk cId="2567434684" sldId="671"/>
            <ac:spMk id="6" creationId="{11EA804D-DCDF-044D-AD56-A5A9D193031E}"/>
          </ac:spMkLst>
        </pc:spChg>
        <pc:spChg chg="mod">
          <ac:chgData name="Schjold, Hanne Røvig" userId="72e82339-bab0-442f-8ca6-e6f386a713ee" providerId="ADAL" clId="{5633FD63-69B2-41DC-A8DB-6848874D8C42}" dt="2023-03-15T13:12:46.199" v="1476" actId="1037"/>
          <ac:spMkLst>
            <pc:docMk/>
            <pc:sldMk cId="2567434684" sldId="671"/>
            <ac:spMk id="7" creationId="{102F4561-7DD9-8348-A026-D73DAE2C4331}"/>
          </ac:spMkLst>
        </pc:spChg>
        <pc:spChg chg="mod">
          <ac:chgData name="Schjold, Hanne Røvig" userId="72e82339-bab0-442f-8ca6-e6f386a713ee" providerId="ADAL" clId="{5633FD63-69B2-41DC-A8DB-6848874D8C42}" dt="2023-03-15T13:12:46.199" v="1476" actId="1037"/>
          <ac:spMkLst>
            <pc:docMk/>
            <pc:sldMk cId="2567434684" sldId="671"/>
            <ac:spMk id="8" creationId="{758991D1-46A6-384E-85E3-3DAD60B9170B}"/>
          </ac:spMkLst>
        </pc:spChg>
        <pc:spChg chg="mod">
          <ac:chgData name="Schjold, Hanne Røvig" userId="72e82339-bab0-442f-8ca6-e6f386a713ee" providerId="ADAL" clId="{5633FD63-69B2-41DC-A8DB-6848874D8C42}" dt="2023-03-15T13:13:06.483" v="1478" actId="207"/>
          <ac:spMkLst>
            <pc:docMk/>
            <pc:sldMk cId="2567434684" sldId="671"/>
            <ac:spMk id="9" creationId="{0B204A7C-85BB-8640-B7C7-DDD687BF5BD9}"/>
          </ac:spMkLst>
        </pc:spChg>
        <pc:spChg chg="mod">
          <ac:chgData name="Schjold, Hanne Røvig" userId="72e82339-bab0-442f-8ca6-e6f386a713ee" providerId="ADAL" clId="{5633FD63-69B2-41DC-A8DB-6848874D8C42}" dt="2023-03-15T13:13:18.477" v="1480" actId="20577"/>
          <ac:spMkLst>
            <pc:docMk/>
            <pc:sldMk cId="2567434684" sldId="671"/>
            <ac:spMk id="10" creationId="{1A9CD8CF-42A7-1D4F-867D-C41F1AA82068}"/>
          </ac:spMkLst>
        </pc:spChg>
        <pc:spChg chg="mod">
          <ac:chgData name="Schjold, Hanne Røvig" userId="72e82339-bab0-442f-8ca6-e6f386a713ee" providerId="ADAL" clId="{5633FD63-69B2-41DC-A8DB-6848874D8C42}" dt="2023-03-15T13:13:21.717" v="1481" actId="6549"/>
          <ac:spMkLst>
            <pc:docMk/>
            <pc:sldMk cId="2567434684" sldId="671"/>
            <ac:spMk id="11" creationId="{917B08FC-F2DD-AC4F-8725-7ADCE5AEB3C6}"/>
          </ac:spMkLst>
        </pc:spChg>
        <pc:spChg chg="mod">
          <ac:chgData name="Schjold, Hanne Røvig" userId="72e82339-bab0-442f-8ca6-e6f386a713ee" providerId="ADAL" clId="{5633FD63-69B2-41DC-A8DB-6848874D8C42}" dt="2023-03-15T13:13:06.483" v="1478" actId="207"/>
          <ac:spMkLst>
            <pc:docMk/>
            <pc:sldMk cId="2567434684" sldId="671"/>
            <ac:spMk id="12" creationId="{EE00F3B1-2DB1-BD48-ADE0-30C2DF3E54A7}"/>
          </ac:spMkLst>
        </pc:spChg>
        <pc:spChg chg="mod">
          <ac:chgData name="Schjold, Hanne Røvig" userId="72e82339-bab0-442f-8ca6-e6f386a713ee" providerId="ADAL" clId="{5633FD63-69B2-41DC-A8DB-6848874D8C42}" dt="2023-03-15T13:13:27.010" v="1482" actId="404"/>
          <ac:spMkLst>
            <pc:docMk/>
            <pc:sldMk cId="2567434684" sldId="671"/>
            <ac:spMk id="14" creationId="{63527F5F-DBED-4D40-B122-38CC0CF7A87F}"/>
          </ac:spMkLst>
        </pc:spChg>
        <pc:spChg chg="mod">
          <ac:chgData name="Schjold, Hanne Røvig" userId="72e82339-bab0-442f-8ca6-e6f386a713ee" providerId="ADAL" clId="{5633FD63-69B2-41DC-A8DB-6848874D8C42}" dt="2023-03-15T13:13:12.478" v="1479" actId="404"/>
          <ac:spMkLst>
            <pc:docMk/>
            <pc:sldMk cId="2567434684" sldId="671"/>
            <ac:spMk id="17" creationId="{CE9FD227-FB15-0242-994E-150E4A9A010F}"/>
          </ac:spMkLst>
        </pc:spChg>
      </pc:sldChg>
      <pc:sldChg chg="addSp modSp mod ord">
        <pc:chgData name="Schjold, Hanne Røvig" userId="72e82339-bab0-442f-8ca6-e6f386a713ee" providerId="ADAL" clId="{5633FD63-69B2-41DC-A8DB-6848874D8C42}" dt="2023-03-15T12:31:29.923" v="974" actId="1076"/>
        <pc:sldMkLst>
          <pc:docMk/>
          <pc:sldMk cId="2992498367" sldId="694"/>
        </pc:sldMkLst>
        <pc:spChg chg="mod">
          <ac:chgData name="Schjold, Hanne Røvig" userId="72e82339-bab0-442f-8ca6-e6f386a713ee" providerId="ADAL" clId="{5633FD63-69B2-41DC-A8DB-6848874D8C42}" dt="2023-03-15T12:30:42.537" v="966" actId="207"/>
          <ac:spMkLst>
            <pc:docMk/>
            <pc:sldMk cId="2992498367" sldId="694"/>
            <ac:spMk id="2" creationId="{BC99BCBE-B12A-FA4E-BCA9-102DDA8D16EF}"/>
          </ac:spMkLst>
        </pc:spChg>
        <pc:spChg chg="mod">
          <ac:chgData name="Schjold, Hanne Røvig" userId="72e82339-bab0-442f-8ca6-e6f386a713ee" providerId="ADAL" clId="{5633FD63-69B2-41DC-A8DB-6848874D8C42}" dt="2023-03-15T12:31:19.700" v="972" actId="14100"/>
          <ac:spMkLst>
            <pc:docMk/>
            <pc:sldMk cId="2992498367" sldId="694"/>
            <ac:spMk id="3" creationId="{91BC3C4B-001B-7040-A683-D79138179139}"/>
          </ac:spMkLst>
        </pc:spChg>
        <pc:spChg chg="add mod">
          <ac:chgData name="Schjold, Hanne Røvig" userId="72e82339-bab0-442f-8ca6-e6f386a713ee" providerId="ADAL" clId="{5633FD63-69B2-41DC-A8DB-6848874D8C42}" dt="2023-03-15T12:30:16.730" v="959"/>
          <ac:spMkLst>
            <pc:docMk/>
            <pc:sldMk cId="2992498367" sldId="694"/>
            <ac:spMk id="4" creationId="{10727937-B229-DBFC-AC52-D3A9A7472F18}"/>
          </ac:spMkLst>
        </pc:spChg>
        <pc:picChg chg="mod ord">
          <ac:chgData name="Schjold, Hanne Røvig" userId="72e82339-bab0-442f-8ca6-e6f386a713ee" providerId="ADAL" clId="{5633FD63-69B2-41DC-A8DB-6848874D8C42}" dt="2023-03-15T12:31:29.923" v="974" actId="1076"/>
          <ac:picMkLst>
            <pc:docMk/>
            <pc:sldMk cId="2992498367" sldId="694"/>
            <ac:picMk id="5" creationId="{1A16A207-554C-A3DE-AD99-DD3153D95C7C}"/>
          </ac:picMkLst>
        </pc:picChg>
        <pc:picChg chg="mod ord">
          <ac:chgData name="Schjold, Hanne Røvig" userId="72e82339-bab0-442f-8ca6-e6f386a713ee" providerId="ADAL" clId="{5633FD63-69B2-41DC-A8DB-6848874D8C42}" dt="2023-03-15T12:31:27.607" v="973" actId="1076"/>
          <ac:picMkLst>
            <pc:docMk/>
            <pc:sldMk cId="2992498367" sldId="694"/>
            <ac:picMk id="8" creationId="{598D9D3B-7A70-47A4-BEB1-A6FA85354E12}"/>
          </ac:picMkLst>
        </pc:picChg>
      </pc:sldChg>
      <pc:sldChg chg="addSp delSp modSp mod ord">
        <pc:chgData name="Schjold, Hanne Røvig" userId="72e82339-bab0-442f-8ca6-e6f386a713ee" providerId="ADAL" clId="{5633FD63-69B2-41DC-A8DB-6848874D8C42}" dt="2023-03-15T12:29:39.438" v="955" actId="1076"/>
        <pc:sldMkLst>
          <pc:docMk/>
          <pc:sldMk cId="2011306900" sldId="712"/>
        </pc:sldMkLst>
        <pc:spChg chg="mod">
          <ac:chgData name="Schjold, Hanne Røvig" userId="72e82339-bab0-442f-8ca6-e6f386a713ee" providerId="ADAL" clId="{5633FD63-69B2-41DC-A8DB-6848874D8C42}" dt="2023-03-15T12:26:23.328" v="928" actId="122"/>
          <ac:spMkLst>
            <pc:docMk/>
            <pc:sldMk cId="2011306900" sldId="712"/>
            <ac:spMk id="2" creationId="{2B8B00E3-D17B-DB2D-D4A7-EF905F045C3C}"/>
          </ac:spMkLst>
        </pc:spChg>
        <pc:spChg chg="add mod">
          <ac:chgData name="Schjold, Hanne Røvig" userId="72e82339-bab0-442f-8ca6-e6f386a713ee" providerId="ADAL" clId="{5633FD63-69B2-41DC-A8DB-6848874D8C42}" dt="2023-03-15T12:25:51.875" v="920" actId="1076"/>
          <ac:spMkLst>
            <pc:docMk/>
            <pc:sldMk cId="2011306900" sldId="712"/>
            <ac:spMk id="3" creationId="{B482C66E-6FFB-4EA8-D2F5-9C98E290A557}"/>
          </ac:spMkLst>
        </pc:spChg>
        <pc:spChg chg="add mod">
          <ac:chgData name="Schjold, Hanne Røvig" userId="72e82339-bab0-442f-8ca6-e6f386a713ee" providerId="ADAL" clId="{5633FD63-69B2-41DC-A8DB-6848874D8C42}" dt="2023-03-15T12:25:53.961" v="921" actId="1076"/>
          <ac:spMkLst>
            <pc:docMk/>
            <pc:sldMk cId="2011306900" sldId="712"/>
            <ac:spMk id="4" creationId="{3B3978CB-4EC9-035E-C583-261E8F4608AE}"/>
          </ac:spMkLst>
        </pc:spChg>
        <pc:spChg chg="mod">
          <ac:chgData name="Schjold, Hanne Røvig" userId="72e82339-bab0-442f-8ca6-e6f386a713ee" providerId="ADAL" clId="{5633FD63-69B2-41DC-A8DB-6848874D8C42}" dt="2023-03-15T12:26:04.772" v="925" actId="14100"/>
          <ac:spMkLst>
            <pc:docMk/>
            <pc:sldMk cId="2011306900" sldId="712"/>
            <ac:spMk id="5" creationId="{FAF55260-460C-6B01-2315-D40C3D2CE222}"/>
          </ac:spMkLst>
        </pc:spChg>
        <pc:spChg chg="add mod">
          <ac:chgData name="Schjold, Hanne Røvig" userId="72e82339-bab0-442f-8ca6-e6f386a713ee" providerId="ADAL" clId="{5633FD63-69B2-41DC-A8DB-6848874D8C42}" dt="2023-03-15T12:25:40.106" v="917" actId="1076"/>
          <ac:spMkLst>
            <pc:docMk/>
            <pc:sldMk cId="2011306900" sldId="712"/>
            <ac:spMk id="6" creationId="{87E70511-2276-955E-506A-B67CFE6D23A9}"/>
          </ac:spMkLst>
        </pc:spChg>
        <pc:spChg chg="mod">
          <ac:chgData name="Schjold, Hanne Røvig" userId="72e82339-bab0-442f-8ca6-e6f386a713ee" providerId="ADAL" clId="{5633FD63-69B2-41DC-A8DB-6848874D8C42}" dt="2023-03-15T12:27:12.909" v="929" actId="20577"/>
          <ac:spMkLst>
            <pc:docMk/>
            <pc:sldMk cId="2011306900" sldId="712"/>
            <ac:spMk id="7" creationId="{9DEC2969-F95B-D106-5F03-CFA22AFDDAFD}"/>
          </ac:spMkLst>
        </pc:spChg>
        <pc:spChg chg="mod">
          <ac:chgData name="Schjold, Hanne Røvig" userId="72e82339-bab0-442f-8ca6-e6f386a713ee" providerId="ADAL" clId="{5633FD63-69B2-41DC-A8DB-6848874D8C42}" dt="2023-03-15T12:25:59.983" v="923" actId="14100"/>
          <ac:spMkLst>
            <pc:docMk/>
            <pc:sldMk cId="2011306900" sldId="712"/>
            <ac:spMk id="10" creationId="{11BB3FE5-9ACF-C4DC-C96B-7C9AB58D8685}"/>
          </ac:spMkLst>
        </pc:spChg>
        <pc:picChg chg="add mod">
          <ac:chgData name="Schjold, Hanne Røvig" userId="72e82339-bab0-442f-8ca6-e6f386a713ee" providerId="ADAL" clId="{5633FD63-69B2-41DC-A8DB-6848874D8C42}" dt="2023-03-15T12:28:08.255" v="943" actId="1038"/>
          <ac:picMkLst>
            <pc:docMk/>
            <pc:sldMk cId="2011306900" sldId="712"/>
            <ac:picMk id="9" creationId="{0C71897B-7CD3-77EC-D22B-91A80833A7D5}"/>
          </ac:picMkLst>
        </pc:picChg>
        <pc:picChg chg="add mod">
          <ac:chgData name="Schjold, Hanne Røvig" userId="72e82339-bab0-442f-8ca6-e6f386a713ee" providerId="ADAL" clId="{5633FD63-69B2-41DC-A8DB-6848874D8C42}" dt="2023-03-15T12:29:04.887" v="951" actId="1076"/>
          <ac:picMkLst>
            <pc:docMk/>
            <pc:sldMk cId="2011306900" sldId="712"/>
            <ac:picMk id="11" creationId="{F32AFC45-7551-E0CB-DA1C-747309E7582C}"/>
          </ac:picMkLst>
        </pc:picChg>
        <pc:picChg chg="del">
          <ac:chgData name="Schjold, Hanne Røvig" userId="72e82339-bab0-442f-8ca6-e6f386a713ee" providerId="ADAL" clId="{5633FD63-69B2-41DC-A8DB-6848874D8C42}" dt="2023-03-15T12:25:08.881" v="906" actId="478"/>
          <ac:picMkLst>
            <pc:docMk/>
            <pc:sldMk cId="2011306900" sldId="712"/>
            <ac:picMk id="12" creationId="{E1CEEF1D-BB40-2056-8C29-D286BFCD0C8E}"/>
          </ac:picMkLst>
        </pc:picChg>
        <pc:picChg chg="add del mod">
          <ac:chgData name="Schjold, Hanne Røvig" userId="72e82339-bab0-442f-8ca6-e6f386a713ee" providerId="ADAL" clId="{5633FD63-69B2-41DC-A8DB-6848874D8C42}" dt="2023-03-15T12:29:00.501" v="949" actId="478"/>
          <ac:picMkLst>
            <pc:docMk/>
            <pc:sldMk cId="2011306900" sldId="712"/>
            <ac:picMk id="13" creationId="{D270C004-8C6A-FFB9-FCEC-ADC179707E1B}"/>
          </ac:picMkLst>
        </pc:picChg>
        <pc:picChg chg="add mod">
          <ac:chgData name="Schjold, Hanne Røvig" userId="72e82339-bab0-442f-8ca6-e6f386a713ee" providerId="ADAL" clId="{5633FD63-69B2-41DC-A8DB-6848874D8C42}" dt="2023-03-15T12:29:39.438" v="955" actId="1076"/>
          <ac:picMkLst>
            <pc:docMk/>
            <pc:sldMk cId="2011306900" sldId="712"/>
            <ac:picMk id="14" creationId="{72E962DE-FA96-16B2-9A00-A7E82C3B73BE}"/>
          </ac:picMkLst>
        </pc:picChg>
        <pc:picChg chg="del">
          <ac:chgData name="Schjold, Hanne Røvig" userId="72e82339-bab0-442f-8ca6-e6f386a713ee" providerId="ADAL" clId="{5633FD63-69B2-41DC-A8DB-6848874D8C42}" dt="2023-03-15T12:25:09.656" v="907" actId="478"/>
          <ac:picMkLst>
            <pc:docMk/>
            <pc:sldMk cId="2011306900" sldId="712"/>
            <ac:picMk id="15" creationId="{5DC415CB-B9F9-B83C-9283-88D48D986C7D}"/>
          </ac:picMkLst>
        </pc:picChg>
        <pc:picChg chg="del">
          <ac:chgData name="Schjold, Hanne Røvig" userId="72e82339-bab0-442f-8ca6-e6f386a713ee" providerId="ADAL" clId="{5633FD63-69B2-41DC-A8DB-6848874D8C42}" dt="2023-03-15T12:25:11.024" v="908" actId="478"/>
          <ac:picMkLst>
            <pc:docMk/>
            <pc:sldMk cId="2011306900" sldId="712"/>
            <ac:picMk id="23" creationId="{B9496B3B-C4F1-5D23-C3EC-DE013192F951}"/>
          </ac:picMkLst>
        </pc:picChg>
      </pc:sldChg>
      <pc:sldChg chg="addSp delSp modAnim">
        <pc:chgData name="Schjold, Hanne Røvig" userId="72e82339-bab0-442f-8ca6-e6f386a713ee" providerId="ADAL" clId="{5633FD63-69B2-41DC-A8DB-6848874D8C42}" dt="2023-03-15T12:24:42.907" v="903" actId="478"/>
        <pc:sldMkLst>
          <pc:docMk/>
          <pc:sldMk cId="2278995086" sldId="729"/>
        </pc:sldMkLst>
        <pc:spChg chg="add del">
          <ac:chgData name="Schjold, Hanne Røvig" userId="72e82339-bab0-442f-8ca6-e6f386a713ee" providerId="ADAL" clId="{5633FD63-69B2-41DC-A8DB-6848874D8C42}" dt="2023-03-15T12:24:42.907" v="903" actId="478"/>
          <ac:spMkLst>
            <pc:docMk/>
            <pc:sldMk cId="2278995086" sldId="729"/>
            <ac:spMk id="17" creationId="{CCC28839-40E9-3F2B-8A09-D074232A2A0C}"/>
          </ac:spMkLst>
        </pc:spChg>
      </pc:sldChg>
      <pc:sldChg chg="del">
        <pc:chgData name="Schjold, Hanne Røvig" userId="72e82339-bab0-442f-8ca6-e6f386a713ee" providerId="ADAL" clId="{5633FD63-69B2-41DC-A8DB-6848874D8C42}" dt="2023-03-15T12:54:05.092" v="1338" actId="47"/>
        <pc:sldMkLst>
          <pc:docMk/>
          <pc:sldMk cId="3250957754" sldId="742"/>
        </pc:sldMkLst>
      </pc:sldChg>
      <pc:sldChg chg="addSp delSp modSp mod">
        <pc:chgData name="Schjold, Hanne Røvig" userId="72e82339-bab0-442f-8ca6-e6f386a713ee" providerId="ADAL" clId="{5633FD63-69B2-41DC-A8DB-6848874D8C42}" dt="2023-03-15T11:38:07.463" v="339" actId="20577"/>
        <pc:sldMkLst>
          <pc:docMk/>
          <pc:sldMk cId="2931966506" sldId="748"/>
        </pc:sldMkLst>
        <pc:spChg chg="mod">
          <ac:chgData name="Schjold, Hanne Røvig" userId="72e82339-bab0-442f-8ca6-e6f386a713ee" providerId="ADAL" clId="{5633FD63-69B2-41DC-A8DB-6848874D8C42}" dt="2023-03-15T11:37:48.787" v="335" actId="692"/>
          <ac:spMkLst>
            <pc:docMk/>
            <pc:sldMk cId="2931966506" sldId="748"/>
            <ac:spMk id="2" creationId="{CDE99F9A-6019-AF0C-C752-F0F9AC802DCE}"/>
          </ac:spMkLst>
        </pc:spChg>
        <pc:spChg chg="mod">
          <ac:chgData name="Schjold, Hanne Røvig" userId="72e82339-bab0-442f-8ca6-e6f386a713ee" providerId="ADAL" clId="{5633FD63-69B2-41DC-A8DB-6848874D8C42}" dt="2023-03-15T11:36:28.598" v="311" actId="207"/>
          <ac:spMkLst>
            <pc:docMk/>
            <pc:sldMk cId="2931966506" sldId="748"/>
            <ac:spMk id="5" creationId="{3E5D43E1-3233-814B-91CB-3E108DFF8216}"/>
          </ac:spMkLst>
        </pc:spChg>
        <pc:spChg chg="add del mod">
          <ac:chgData name="Schjold, Hanne Røvig" userId="72e82339-bab0-442f-8ca6-e6f386a713ee" providerId="ADAL" clId="{5633FD63-69B2-41DC-A8DB-6848874D8C42}" dt="2023-03-15T11:37:42.902" v="334" actId="207"/>
          <ac:spMkLst>
            <pc:docMk/>
            <pc:sldMk cId="2931966506" sldId="748"/>
            <ac:spMk id="7" creationId="{F8FE29AC-4DDD-1E46-BB18-BCCB91B40B7B}"/>
          </ac:spMkLst>
        </pc:spChg>
        <pc:spChg chg="mod">
          <ac:chgData name="Schjold, Hanne Røvig" userId="72e82339-bab0-442f-8ca6-e6f386a713ee" providerId="ADAL" clId="{5633FD63-69B2-41DC-A8DB-6848874D8C42}" dt="2023-03-15T11:37:06.061" v="319" actId="20577"/>
          <ac:spMkLst>
            <pc:docMk/>
            <pc:sldMk cId="2931966506" sldId="748"/>
            <ac:spMk id="12" creationId="{EB3A7294-2CD0-4E48-BD39-998F60C42606}"/>
          </ac:spMkLst>
        </pc:spChg>
        <pc:spChg chg="mod">
          <ac:chgData name="Schjold, Hanne Røvig" userId="72e82339-bab0-442f-8ca6-e6f386a713ee" providerId="ADAL" clId="{5633FD63-69B2-41DC-A8DB-6848874D8C42}" dt="2023-03-15T11:36:58.227" v="316" actId="14100"/>
          <ac:spMkLst>
            <pc:docMk/>
            <pc:sldMk cId="2931966506" sldId="748"/>
            <ac:spMk id="13" creationId="{B5983949-8F97-FB42-9D6C-A4694B83047E}"/>
          </ac:spMkLst>
        </pc:spChg>
        <pc:spChg chg="mod">
          <ac:chgData name="Schjold, Hanne Røvig" userId="72e82339-bab0-442f-8ca6-e6f386a713ee" providerId="ADAL" clId="{5633FD63-69B2-41DC-A8DB-6848874D8C42}" dt="2023-03-15T11:36:42.554" v="314" actId="6549"/>
          <ac:spMkLst>
            <pc:docMk/>
            <pc:sldMk cId="2931966506" sldId="748"/>
            <ac:spMk id="14" creationId="{EC8AE87B-A22D-D54C-9DA4-194DDEAFB745}"/>
          </ac:spMkLst>
        </pc:spChg>
        <pc:spChg chg="mod ord">
          <ac:chgData name="Schjold, Hanne Røvig" userId="72e82339-bab0-442f-8ca6-e6f386a713ee" providerId="ADAL" clId="{5633FD63-69B2-41DC-A8DB-6848874D8C42}" dt="2023-03-15T11:38:07.463" v="339" actId="20577"/>
          <ac:spMkLst>
            <pc:docMk/>
            <pc:sldMk cId="2931966506" sldId="748"/>
            <ac:spMk id="19" creationId="{38019699-7636-D641-959E-0B01D4430B5B}"/>
          </ac:spMkLst>
        </pc:spChg>
        <pc:spChg chg="mod">
          <ac:chgData name="Schjold, Hanne Røvig" userId="72e82339-bab0-442f-8ca6-e6f386a713ee" providerId="ADAL" clId="{5633FD63-69B2-41DC-A8DB-6848874D8C42}" dt="2023-03-15T11:37:23.107" v="331" actId="1036"/>
          <ac:spMkLst>
            <pc:docMk/>
            <pc:sldMk cId="2931966506" sldId="748"/>
            <ac:spMk id="20" creationId="{89D3E22F-0AB2-9B48-88B8-046228D1D6A0}"/>
          </ac:spMkLst>
        </pc:spChg>
        <pc:spChg chg="mod">
          <ac:chgData name="Schjold, Hanne Røvig" userId="72e82339-bab0-442f-8ca6-e6f386a713ee" providerId="ADAL" clId="{5633FD63-69B2-41DC-A8DB-6848874D8C42}" dt="2023-03-15T11:37:23.107" v="331" actId="1036"/>
          <ac:spMkLst>
            <pc:docMk/>
            <pc:sldMk cId="2931966506" sldId="748"/>
            <ac:spMk id="22" creationId="{1468A28C-0578-664C-B877-81651DE1A7F7}"/>
          </ac:spMkLst>
        </pc:spChg>
        <pc:spChg chg="mod">
          <ac:chgData name="Schjold, Hanne Røvig" userId="72e82339-bab0-442f-8ca6-e6f386a713ee" providerId="ADAL" clId="{5633FD63-69B2-41DC-A8DB-6848874D8C42}" dt="2023-03-15T11:37:23.107" v="331" actId="1036"/>
          <ac:spMkLst>
            <pc:docMk/>
            <pc:sldMk cId="2931966506" sldId="748"/>
            <ac:spMk id="24" creationId="{83155C1D-6ADF-A34B-A86F-1AB0A82AB48D}"/>
          </ac:spMkLst>
        </pc:spChg>
      </pc:sldChg>
      <pc:sldChg chg="addSp delSp modSp mod ord">
        <pc:chgData name="Schjold, Hanne Røvig" userId="72e82339-bab0-442f-8ca6-e6f386a713ee" providerId="ADAL" clId="{5633FD63-69B2-41DC-A8DB-6848874D8C42}" dt="2023-03-15T13:35:57.073" v="2163" actId="14100"/>
        <pc:sldMkLst>
          <pc:docMk/>
          <pc:sldMk cId="3250492731" sldId="3125"/>
        </pc:sldMkLst>
        <pc:spChg chg="add mod">
          <ac:chgData name="Schjold, Hanne Røvig" userId="72e82339-bab0-442f-8ca6-e6f386a713ee" providerId="ADAL" clId="{5633FD63-69B2-41DC-A8DB-6848874D8C42}" dt="2023-03-15T13:35:38.168" v="2147" actId="1076"/>
          <ac:spMkLst>
            <pc:docMk/>
            <pc:sldMk cId="3250492731" sldId="3125"/>
            <ac:spMk id="6" creationId="{26C59954-341B-C54E-4C87-38ED6CDD7D9F}"/>
          </ac:spMkLst>
        </pc:spChg>
        <pc:spChg chg="add mod">
          <ac:chgData name="Schjold, Hanne Røvig" userId="72e82339-bab0-442f-8ca6-e6f386a713ee" providerId="ADAL" clId="{5633FD63-69B2-41DC-A8DB-6848874D8C42}" dt="2023-03-15T13:35:57.073" v="2163" actId="14100"/>
          <ac:spMkLst>
            <pc:docMk/>
            <pc:sldMk cId="3250492731" sldId="3125"/>
            <ac:spMk id="7" creationId="{2BCBBF15-755B-FF32-970E-EC53D129A38A}"/>
          </ac:spMkLst>
        </pc:spChg>
        <pc:picChg chg="add mod">
          <ac:chgData name="Schjold, Hanne Røvig" userId="72e82339-bab0-442f-8ca6-e6f386a713ee" providerId="ADAL" clId="{5633FD63-69B2-41DC-A8DB-6848874D8C42}" dt="2023-03-15T13:35:29.310" v="2146" actId="14100"/>
          <ac:picMkLst>
            <pc:docMk/>
            <pc:sldMk cId="3250492731" sldId="3125"/>
            <ac:picMk id="3" creationId="{2459CC14-A567-6FD3-5E93-241BD7A5A13E}"/>
          </ac:picMkLst>
        </pc:picChg>
        <pc:picChg chg="del">
          <ac:chgData name="Schjold, Hanne Røvig" userId="72e82339-bab0-442f-8ca6-e6f386a713ee" providerId="ADAL" clId="{5633FD63-69B2-41DC-A8DB-6848874D8C42}" dt="2023-03-15T13:35:03.879" v="2142" actId="478"/>
          <ac:picMkLst>
            <pc:docMk/>
            <pc:sldMk cId="3250492731" sldId="3125"/>
            <ac:picMk id="4" creationId="{AFD28111-05DE-C94A-9B1C-1D9A35AF3899}"/>
          </ac:picMkLst>
        </pc:picChg>
      </pc:sldChg>
      <pc:sldChg chg="addSp delSp modSp mod ord modNotesTx">
        <pc:chgData name="Schjold, Hanne Røvig" userId="72e82339-bab0-442f-8ca6-e6f386a713ee" providerId="ADAL" clId="{5633FD63-69B2-41DC-A8DB-6848874D8C42}" dt="2023-03-15T11:39:44.423" v="342" actId="21"/>
        <pc:sldMkLst>
          <pc:docMk/>
          <pc:sldMk cId="3122365071" sldId="2147197691"/>
        </pc:sldMkLst>
        <pc:spChg chg="mod">
          <ac:chgData name="Schjold, Hanne Røvig" userId="72e82339-bab0-442f-8ca6-e6f386a713ee" providerId="ADAL" clId="{5633FD63-69B2-41DC-A8DB-6848874D8C42}" dt="2023-03-15T10:29:44.620" v="172" actId="20577"/>
          <ac:spMkLst>
            <pc:docMk/>
            <pc:sldMk cId="3122365071" sldId="2147197691"/>
            <ac:spMk id="2" creationId="{901D35DC-7ADA-48A9-A27E-918769EDE1DB}"/>
          </ac:spMkLst>
        </pc:spChg>
        <pc:spChg chg="mod ord">
          <ac:chgData name="Schjold, Hanne Røvig" userId="72e82339-bab0-442f-8ca6-e6f386a713ee" providerId="ADAL" clId="{5633FD63-69B2-41DC-A8DB-6848874D8C42}" dt="2023-03-15T10:39:10.066" v="227" actId="207"/>
          <ac:spMkLst>
            <pc:docMk/>
            <pc:sldMk cId="3122365071" sldId="2147197691"/>
            <ac:spMk id="3" creationId="{780EC850-DD2E-4B77-8F6A-BD932065C062}"/>
          </ac:spMkLst>
        </pc:spChg>
        <pc:spChg chg="add mod">
          <ac:chgData name="Schjold, Hanne Røvig" userId="72e82339-bab0-442f-8ca6-e6f386a713ee" providerId="ADAL" clId="{5633FD63-69B2-41DC-A8DB-6848874D8C42}" dt="2023-03-15T10:39:10.066" v="227" actId="207"/>
          <ac:spMkLst>
            <pc:docMk/>
            <pc:sldMk cId="3122365071" sldId="2147197691"/>
            <ac:spMk id="4" creationId="{258ACBBD-752B-24B8-7F08-C831FA2AFA01}"/>
          </ac:spMkLst>
        </pc:spChg>
        <pc:spChg chg="del">
          <ac:chgData name="Schjold, Hanne Røvig" userId="72e82339-bab0-442f-8ca6-e6f386a713ee" providerId="ADAL" clId="{5633FD63-69B2-41DC-A8DB-6848874D8C42}" dt="2023-03-15T10:27:01.869" v="108" actId="478"/>
          <ac:spMkLst>
            <pc:docMk/>
            <pc:sldMk cId="3122365071" sldId="2147197691"/>
            <ac:spMk id="6" creationId="{23C9310F-6958-4B4B-93E1-A4A18574C8C8}"/>
          </ac:spMkLst>
        </pc:spChg>
        <pc:spChg chg="add mod">
          <ac:chgData name="Schjold, Hanne Røvig" userId="72e82339-bab0-442f-8ca6-e6f386a713ee" providerId="ADAL" clId="{5633FD63-69B2-41DC-A8DB-6848874D8C42}" dt="2023-03-15T10:39:10.066" v="227" actId="207"/>
          <ac:spMkLst>
            <pc:docMk/>
            <pc:sldMk cId="3122365071" sldId="2147197691"/>
            <ac:spMk id="7" creationId="{C717309A-6B8B-798D-8F4E-76483469EA82}"/>
          </ac:spMkLst>
        </pc:spChg>
        <pc:spChg chg="add mod ord">
          <ac:chgData name="Schjold, Hanne Røvig" userId="72e82339-bab0-442f-8ca6-e6f386a713ee" providerId="ADAL" clId="{5633FD63-69B2-41DC-A8DB-6848874D8C42}" dt="2023-03-15T10:39:10.066" v="227" actId="207"/>
          <ac:spMkLst>
            <pc:docMk/>
            <pc:sldMk cId="3122365071" sldId="2147197691"/>
            <ac:spMk id="8" creationId="{695EFC29-B74D-C61C-667A-0AB97930F8A9}"/>
          </ac:spMkLst>
        </pc:spChg>
        <pc:spChg chg="del">
          <ac:chgData name="Schjold, Hanne Røvig" userId="72e82339-bab0-442f-8ca6-e6f386a713ee" providerId="ADAL" clId="{5633FD63-69B2-41DC-A8DB-6848874D8C42}" dt="2023-03-15T10:27:01.869" v="108" actId="478"/>
          <ac:spMkLst>
            <pc:docMk/>
            <pc:sldMk cId="3122365071" sldId="2147197691"/>
            <ac:spMk id="9" creationId="{692E5206-C386-4C0A-952C-D2A8E65CE07E}"/>
          </ac:spMkLst>
        </pc:spChg>
        <pc:spChg chg="del">
          <ac:chgData name="Schjold, Hanne Røvig" userId="72e82339-bab0-442f-8ca6-e6f386a713ee" providerId="ADAL" clId="{5633FD63-69B2-41DC-A8DB-6848874D8C42}" dt="2023-03-15T10:27:01.869" v="108" actId="478"/>
          <ac:spMkLst>
            <pc:docMk/>
            <pc:sldMk cId="3122365071" sldId="2147197691"/>
            <ac:spMk id="10" creationId="{E80EE12B-B1D3-445E-9E0F-E0710FCD7F07}"/>
          </ac:spMkLst>
        </pc:spChg>
        <pc:spChg chg="add mod">
          <ac:chgData name="Schjold, Hanne Røvig" userId="72e82339-bab0-442f-8ca6-e6f386a713ee" providerId="ADAL" clId="{5633FD63-69B2-41DC-A8DB-6848874D8C42}" dt="2023-03-15T10:37:28.538" v="224" actId="1037"/>
          <ac:spMkLst>
            <pc:docMk/>
            <pc:sldMk cId="3122365071" sldId="2147197691"/>
            <ac:spMk id="12" creationId="{E370EBE4-1574-8C2E-1C60-4F5B46158CAC}"/>
          </ac:spMkLst>
        </pc:spChg>
        <pc:spChg chg="add mod">
          <ac:chgData name="Schjold, Hanne Røvig" userId="72e82339-bab0-442f-8ca6-e6f386a713ee" providerId="ADAL" clId="{5633FD63-69B2-41DC-A8DB-6848874D8C42}" dt="2023-03-15T10:37:28.538" v="224" actId="1037"/>
          <ac:spMkLst>
            <pc:docMk/>
            <pc:sldMk cId="3122365071" sldId="2147197691"/>
            <ac:spMk id="13" creationId="{8924DB79-20BC-4188-1306-1FEBE149C468}"/>
          </ac:spMkLst>
        </pc:spChg>
        <pc:spChg chg="mod">
          <ac:chgData name="Schjold, Hanne Røvig" userId="72e82339-bab0-442f-8ca6-e6f386a713ee" providerId="ADAL" clId="{5633FD63-69B2-41DC-A8DB-6848874D8C42}" dt="2023-03-15T10:36:23.890" v="197" actId="20577"/>
          <ac:spMkLst>
            <pc:docMk/>
            <pc:sldMk cId="3122365071" sldId="2147197691"/>
            <ac:spMk id="20" creationId="{2E0DCD3F-FE49-42BB-AAA7-63BA0C6DF212}"/>
          </ac:spMkLst>
        </pc:spChg>
        <pc:spChg chg="del">
          <ac:chgData name="Schjold, Hanne Røvig" userId="72e82339-bab0-442f-8ca6-e6f386a713ee" providerId="ADAL" clId="{5633FD63-69B2-41DC-A8DB-6848874D8C42}" dt="2023-03-15T10:27:57.166" v="120" actId="478"/>
          <ac:spMkLst>
            <pc:docMk/>
            <pc:sldMk cId="3122365071" sldId="2147197691"/>
            <ac:spMk id="50" creationId="{39A79A9B-AE83-4B51-91E3-CB290B442CDC}"/>
          </ac:spMkLst>
        </pc:spChg>
        <pc:spChg chg="mod">
          <ac:chgData name="Schjold, Hanne Røvig" userId="72e82339-bab0-442f-8ca6-e6f386a713ee" providerId="ADAL" clId="{5633FD63-69B2-41DC-A8DB-6848874D8C42}" dt="2023-03-15T10:36:26.426" v="198" actId="20577"/>
          <ac:spMkLst>
            <pc:docMk/>
            <pc:sldMk cId="3122365071" sldId="2147197691"/>
            <ac:spMk id="53" creationId="{9D1178B3-E649-495B-B0E3-E8DD91A3DE54}"/>
          </ac:spMkLst>
        </pc:spChg>
        <pc:spChg chg="del">
          <ac:chgData name="Schjold, Hanne Røvig" userId="72e82339-bab0-442f-8ca6-e6f386a713ee" providerId="ADAL" clId="{5633FD63-69B2-41DC-A8DB-6848874D8C42}" dt="2023-03-15T10:27:01.869" v="108" actId="478"/>
          <ac:spMkLst>
            <pc:docMk/>
            <pc:sldMk cId="3122365071" sldId="2147197691"/>
            <ac:spMk id="59" creationId="{3C6F978D-D2C2-4562-8B4D-FD04684B9B19}"/>
          </ac:spMkLst>
        </pc:spChg>
        <pc:picChg chg="del">
          <ac:chgData name="Schjold, Hanne Røvig" userId="72e82339-bab0-442f-8ca6-e6f386a713ee" providerId="ADAL" clId="{5633FD63-69B2-41DC-A8DB-6848874D8C42}" dt="2023-03-15T10:27:54.214" v="118" actId="478"/>
          <ac:picMkLst>
            <pc:docMk/>
            <pc:sldMk cId="3122365071" sldId="2147197691"/>
            <ac:picMk id="5" creationId="{8AA4CE11-7F60-432E-A4A4-06136522A2C3}"/>
          </ac:picMkLst>
        </pc:picChg>
        <pc:picChg chg="add mod">
          <ac:chgData name="Schjold, Hanne Røvig" userId="72e82339-bab0-442f-8ca6-e6f386a713ee" providerId="ADAL" clId="{5633FD63-69B2-41DC-A8DB-6848874D8C42}" dt="2023-03-15T10:33:02.628" v="186" actId="1076"/>
          <ac:picMkLst>
            <pc:docMk/>
            <pc:sldMk cId="3122365071" sldId="2147197691"/>
            <ac:picMk id="15" creationId="{D6C7B324-5E4F-774E-2484-3D4C7BA20F5F}"/>
          </ac:picMkLst>
        </pc:picChg>
        <pc:picChg chg="add mod">
          <ac:chgData name="Schjold, Hanne Røvig" userId="72e82339-bab0-442f-8ca6-e6f386a713ee" providerId="ADAL" clId="{5633FD63-69B2-41DC-A8DB-6848874D8C42}" dt="2023-03-15T10:33:26.814" v="188" actId="1076"/>
          <ac:picMkLst>
            <pc:docMk/>
            <pc:sldMk cId="3122365071" sldId="2147197691"/>
            <ac:picMk id="17" creationId="{B57AA32D-F08F-F922-EF27-29FFCF1D7E23}"/>
          </ac:picMkLst>
        </pc:picChg>
        <pc:picChg chg="add mod">
          <ac:chgData name="Schjold, Hanne Røvig" userId="72e82339-bab0-442f-8ca6-e6f386a713ee" providerId="ADAL" clId="{5633FD63-69B2-41DC-A8DB-6848874D8C42}" dt="2023-03-15T10:37:28.538" v="224" actId="1037"/>
          <ac:picMkLst>
            <pc:docMk/>
            <pc:sldMk cId="3122365071" sldId="2147197691"/>
            <ac:picMk id="19" creationId="{12C5F873-B6AC-83BF-6C32-FC2985EF758C}"/>
          </ac:picMkLst>
        </pc:picChg>
        <pc:picChg chg="del">
          <ac:chgData name="Schjold, Hanne Røvig" userId="72e82339-bab0-442f-8ca6-e6f386a713ee" providerId="ADAL" clId="{5633FD63-69B2-41DC-A8DB-6848874D8C42}" dt="2023-03-15T10:27:01.869" v="108" actId="478"/>
          <ac:picMkLst>
            <pc:docMk/>
            <pc:sldMk cId="3122365071" sldId="2147197691"/>
            <ac:picMk id="21" creationId="{6D6ADF59-4DBA-421F-A95D-818E5295B924}"/>
          </ac:picMkLst>
        </pc:picChg>
        <pc:picChg chg="del">
          <ac:chgData name="Schjold, Hanne Røvig" userId="72e82339-bab0-442f-8ca6-e6f386a713ee" providerId="ADAL" clId="{5633FD63-69B2-41DC-A8DB-6848874D8C42}" dt="2023-03-15T10:27:56.471" v="119" actId="478"/>
          <ac:picMkLst>
            <pc:docMk/>
            <pc:sldMk cId="3122365071" sldId="2147197691"/>
            <ac:picMk id="22" creationId="{CF4308D5-AD7A-429C-AD99-E7121DAB959C}"/>
          </ac:picMkLst>
        </pc:picChg>
        <pc:picChg chg="del">
          <ac:chgData name="Schjold, Hanne Røvig" userId="72e82339-bab0-442f-8ca6-e6f386a713ee" providerId="ADAL" clId="{5633FD63-69B2-41DC-A8DB-6848874D8C42}" dt="2023-03-15T10:27:01.869" v="108" actId="478"/>
          <ac:picMkLst>
            <pc:docMk/>
            <pc:sldMk cId="3122365071" sldId="2147197691"/>
            <ac:picMk id="23" creationId="{5C5371C5-424B-43D6-9430-DB38AD8CA6A3}"/>
          </ac:picMkLst>
        </pc:picChg>
        <pc:picChg chg="add mod">
          <ac:chgData name="Schjold, Hanne Røvig" userId="72e82339-bab0-442f-8ca6-e6f386a713ee" providerId="ADAL" clId="{5633FD63-69B2-41DC-A8DB-6848874D8C42}" dt="2023-03-15T10:37:28.538" v="224" actId="1037"/>
          <ac:picMkLst>
            <pc:docMk/>
            <pc:sldMk cId="3122365071" sldId="2147197691"/>
            <ac:picMk id="25" creationId="{350C35FA-3D40-89A0-D9EB-69654A82F4FC}"/>
          </ac:picMkLst>
        </pc:picChg>
        <pc:picChg chg="add del mod">
          <ac:chgData name="Schjold, Hanne Røvig" userId="72e82339-bab0-442f-8ca6-e6f386a713ee" providerId="ADAL" clId="{5633FD63-69B2-41DC-A8DB-6848874D8C42}" dt="2023-03-15T11:39:44.423" v="342" actId="21"/>
          <ac:picMkLst>
            <pc:docMk/>
            <pc:sldMk cId="3122365071" sldId="2147197691"/>
            <ac:picMk id="26" creationId="{C0AA6B64-2D2A-42D8-A5F5-42FC8B6BE85D}"/>
          </ac:picMkLst>
        </pc:picChg>
      </pc:sldChg>
      <pc:sldChg chg="addSp delSp modSp mod modNotesTx">
        <pc:chgData name="Schjold, Hanne Røvig" userId="72e82339-bab0-442f-8ca6-e6f386a713ee" providerId="ADAL" clId="{5633FD63-69B2-41DC-A8DB-6848874D8C42}" dt="2023-03-15T11:59:39.588" v="589"/>
        <pc:sldMkLst>
          <pc:docMk/>
          <pc:sldMk cId="3606504357" sldId="2147197786"/>
        </pc:sldMkLst>
        <pc:spChg chg="mod">
          <ac:chgData name="Schjold, Hanne Røvig" userId="72e82339-bab0-442f-8ca6-e6f386a713ee" providerId="ADAL" clId="{5633FD63-69B2-41DC-A8DB-6848874D8C42}" dt="2023-03-15T11:42:42.406" v="471" actId="1038"/>
          <ac:spMkLst>
            <pc:docMk/>
            <pc:sldMk cId="3606504357" sldId="2147197786"/>
            <ac:spMk id="3" creationId="{00000000-0000-0000-0000-000000000000}"/>
          </ac:spMkLst>
        </pc:spChg>
        <pc:spChg chg="add mod">
          <ac:chgData name="Schjold, Hanne Røvig" userId="72e82339-bab0-442f-8ca6-e6f386a713ee" providerId="ADAL" clId="{5633FD63-69B2-41DC-A8DB-6848874D8C42}" dt="2023-03-15T11:44:11.272" v="519" actId="1076"/>
          <ac:spMkLst>
            <pc:docMk/>
            <pc:sldMk cId="3606504357" sldId="2147197786"/>
            <ac:spMk id="4" creationId="{C587A292-9BC2-3391-3AF6-3EE55225EBDD}"/>
          </ac:spMkLst>
        </pc:spChg>
        <pc:spChg chg="add mod">
          <ac:chgData name="Schjold, Hanne Røvig" userId="72e82339-bab0-442f-8ca6-e6f386a713ee" providerId="ADAL" clId="{5633FD63-69B2-41DC-A8DB-6848874D8C42}" dt="2023-03-15T11:59:27.218" v="588" actId="1036"/>
          <ac:spMkLst>
            <pc:docMk/>
            <pc:sldMk cId="3606504357" sldId="2147197786"/>
            <ac:spMk id="5" creationId="{080D0388-F0F7-1B28-2D9A-A6DB431C4EF7}"/>
          </ac:spMkLst>
        </pc:spChg>
        <pc:spChg chg="mod">
          <ac:chgData name="Schjold, Hanne Røvig" userId="72e82339-bab0-442f-8ca6-e6f386a713ee" providerId="ADAL" clId="{5633FD63-69B2-41DC-A8DB-6848874D8C42}" dt="2023-03-15T11:42:50.156" v="493" actId="1038"/>
          <ac:spMkLst>
            <pc:docMk/>
            <pc:sldMk cId="3606504357" sldId="2147197786"/>
            <ac:spMk id="8" creationId="{00000000-0000-0000-0000-000000000000}"/>
          </ac:spMkLst>
        </pc:spChg>
        <pc:spChg chg="mod">
          <ac:chgData name="Schjold, Hanne Røvig" userId="72e82339-bab0-442f-8ca6-e6f386a713ee" providerId="ADAL" clId="{5633FD63-69B2-41DC-A8DB-6848874D8C42}" dt="2023-03-15T11:42:45.656" v="483" actId="1037"/>
          <ac:spMkLst>
            <pc:docMk/>
            <pc:sldMk cId="3606504357" sldId="2147197786"/>
            <ac:spMk id="9" creationId="{00000000-0000-0000-0000-000000000000}"/>
          </ac:spMkLst>
        </pc:spChg>
        <pc:spChg chg="mod">
          <ac:chgData name="Schjold, Hanne Røvig" userId="72e82339-bab0-442f-8ca6-e6f386a713ee" providerId="ADAL" clId="{5633FD63-69B2-41DC-A8DB-6848874D8C42}" dt="2023-03-15T11:42:56.329" v="501" actId="1076"/>
          <ac:spMkLst>
            <pc:docMk/>
            <pc:sldMk cId="3606504357" sldId="2147197786"/>
            <ac:spMk id="12" creationId="{00000000-0000-0000-0000-000000000000}"/>
          </ac:spMkLst>
        </pc:spChg>
        <pc:spChg chg="mod">
          <ac:chgData name="Schjold, Hanne Røvig" userId="72e82339-bab0-442f-8ca6-e6f386a713ee" providerId="ADAL" clId="{5633FD63-69B2-41DC-A8DB-6848874D8C42}" dt="2023-03-15T11:42:53.319" v="500" actId="1038"/>
          <ac:spMkLst>
            <pc:docMk/>
            <pc:sldMk cId="3606504357" sldId="2147197786"/>
            <ac:spMk id="13" creationId="{00000000-0000-0000-0000-000000000000}"/>
          </ac:spMkLst>
        </pc:spChg>
        <pc:spChg chg="mod">
          <ac:chgData name="Schjold, Hanne Røvig" userId="72e82339-bab0-442f-8ca6-e6f386a713ee" providerId="ADAL" clId="{5633FD63-69B2-41DC-A8DB-6848874D8C42}" dt="2023-03-15T11:42:58.039" v="502" actId="1076"/>
          <ac:spMkLst>
            <pc:docMk/>
            <pc:sldMk cId="3606504357" sldId="2147197786"/>
            <ac:spMk id="15" creationId="{00000000-0000-0000-0000-000000000000}"/>
          </ac:spMkLst>
        </pc:spChg>
        <pc:spChg chg="mod">
          <ac:chgData name="Schjold, Hanne Røvig" userId="72e82339-bab0-442f-8ca6-e6f386a713ee" providerId="ADAL" clId="{5633FD63-69B2-41DC-A8DB-6848874D8C42}" dt="2023-03-15T11:40:01.870" v="345" actId="207"/>
          <ac:spMkLst>
            <pc:docMk/>
            <pc:sldMk cId="3606504357" sldId="2147197786"/>
            <ac:spMk id="17" creationId="{7E77B6E7-F185-402F-9170-540DD7FC284D}"/>
          </ac:spMkLst>
        </pc:spChg>
        <pc:spChg chg="mod">
          <ac:chgData name="Schjold, Hanne Røvig" userId="72e82339-bab0-442f-8ca6-e6f386a713ee" providerId="ADAL" clId="{5633FD63-69B2-41DC-A8DB-6848874D8C42}" dt="2023-03-15T11:59:21.684" v="577" actId="1036"/>
          <ac:spMkLst>
            <pc:docMk/>
            <pc:sldMk cId="3606504357" sldId="2147197786"/>
            <ac:spMk id="21" creationId="{B9F25560-FE61-4C03-8F5A-40316F98145C}"/>
          </ac:spMkLst>
        </pc:spChg>
        <pc:spChg chg="mod">
          <ac:chgData name="Schjold, Hanne Røvig" userId="72e82339-bab0-442f-8ca6-e6f386a713ee" providerId="ADAL" clId="{5633FD63-69B2-41DC-A8DB-6848874D8C42}" dt="2023-03-15T11:45:38.342" v="554" actId="1035"/>
          <ac:spMkLst>
            <pc:docMk/>
            <pc:sldMk cId="3606504357" sldId="2147197786"/>
            <ac:spMk id="22" creationId="{C73AD9CA-E330-4768-A9A5-63386CB7F662}"/>
          </ac:spMkLst>
        </pc:spChg>
        <pc:spChg chg="mod">
          <ac:chgData name="Schjold, Hanne Røvig" userId="72e82339-bab0-442f-8ca6-e6f386a713ee" providerId="ADAL" clId="{5633FD63-69B2-41DC-A8DB-6848874D8C42}" dt="2023-03-15T11:45:38.342" v="554" actId="1035"/>
          <ac:spMkLst>
            <pc:docMk/>
            <pc:sldMk cId="3606504357" sldId="2147197786"/>
            <ac:spMk id="24" creationId="{FE432514-F7EA-49A8-A070-1C703AAAE12F}"/>
          </ac:spMkLst>
        </pc:spChg>
        <pc:spChg chg="mod">
          <ac:chgData name="Schjold, Hanne Røvig" userId="72e82339-bab0-442f-8ca6-e6f386a713ee" providerId="ADAL" clId="{5633FD63-69B2-41DC-A8DB-6848874D8C42}" dt="2023-03-15T11:45:38.342" v="554" actId="1035"/>
          <ac:spMkLst>
            <pc:docMk/>
            <pc:sldMk cId="3606504357" sldId="2147197786"/>
            <ac:spMk id="27" creationId="{B18BC72B-7537-4C31-80B1-4C58C8992DAD}"/>
          </ac:spMkLst>
        </pc:spChg>
        <pc:spChg chg="mod">
          <ac:chgData name="Schjold, Hanne Røvig" userId="72e82339-bab0-442f-8ca6-e6f386a713ee" providerId="ADAL" clId="{5633FD63-69B2-41DC-A8DB-6848874D8C42}" dt="2023-03-15T11:59:21.684" v="577" actId="1036"/>
          <ac:spMkLst>
            <pc:docMk/>
            <pc:sldMk cId="3606504357" sldId="2147197786"/>
            <ac:spMk id="31" creationId="{87F0AD1B-A2F1-49DD-BFCD-7CD84AFB3F95}"/>
          </ac:spMkLst>
        </pc:spChg>
        <pc:spChg chg="mod">
          <ac:chgData name="Schjold, Hanne Røvig" userId="72e82339-bab0-442f-8ca6-e6f386a713ee" providerId="ADAL" clId="{5633FD63-69B2-41DC-A8DB-6848874D8C42}" dt="2023-03-15T11:59:21.684" v="577" actId="1036"/>
          <ac:spMkLst>
            <pc:docMk/>
            <pc:sldMk cId="3606504357" sldId="2147197786"/>
            <ac:spMk id="35" creationId="{3F10FF2E-4FE8-4DF8-9D73-3A292D0703E1}"/>
          </ac:spMkLst>
        </pc:spChg>
        <pc:picChg chg="add del mod">
          <ac:chgData name="Schjold, Hanne Røvig" userId="72e82339-bab0-442f-8ca6-e6f386a713ee" providerId="ADAL" clId="{5633FD63-69B2-41DC-A8DB-6848874D8C42}" dt="2023-03-15T11:42:12.759" v="416" actId="1076"/>
          <ac:picMkLst>
            <pc:docMk/>
            <pc:sldMk cId="3606504357" sldId="2147197786"/>
            <ac:picMk id="2" creationId="{4A9E8173-CED8-1BF4-B2FD-29AE1187FB2E}"/>
          </ac:picMkLst>
        </pc:picChg>
        <pc:picChg chg="add mod">
          <ac:chgData name="Schjold, Hanne Røvig" userId="72e82339-bab0-442f-8ca6-e6f386a713ee" providerId="ADAL" clId="{5633FD63-69B2-41DC-A8DB-6848874D8C42}" dt="2023-03-15T11:57:32.682" v="565" actId="14826"/>
          <ac:picMkLst>
            <pc:docMk/>
            <pc:sldMk cId="3606504357" sldId="2147197786"/>
            <ac:picMk id="6" creationId="{1945E089-9F97-86C4-B58A-2C86F92642E8}"/>
          </ac:picMkLst>
        </pc:picChg>
        <pc:picChg chg="mod">
          <ac:chgData name="Schjold, Hanne Røvig" userId="72e82339-bab0-442f-8ca6-e6f386a713ee" providerId="ADAL" clId="{5633FD63-69B2-41DC-A8DB-6848874D8C42}" dt="2023-03-15T11:56:32.241" v="560" actId="1076"/>
          <ac:picMkLst>
            <pc:docMk/>
            <pc:sldMk cId="3606504357" sldId="2147197786"/>
            <ac:picMk id="25" creationId="{A2CC1AB8-7612-4FFB-9553-7FA08C9C7088}"/>
          </ac:picMkLst>
        </pc:picChg>
        <pc:picChg chg="mod">
          <ac:chgData name="Schjold, Hanne Røvig" userId="72e82339-bab0-442f-8ca6-e6f386a713ee" providerId="ADAL" clId="{5633FD63-69B2-41DC-A8DB-6848874D8C42}" dt="2023-03-15T11:56:30.048" v="559" actId="1076"/>
          <ac:picMkLst>
            <pc:docMk/>
            <pc:sldMk cId="3606504357" sldId="2147197786"/>
            <ac:picMk id="26" creationId="{13C5FCC3-8FE1-4BA9-8704-33F5BBC8FE3A}"/>
          </ac:picMkLst>
        </pc:picChg>
        <pc:picChg chg="mod">
          <ac:chgData name="Schjold, Hanne Røvig" userId="72e82339-bab0-442f-8ca6-e6f386a713ee" providerId="ADAL" clId="{5633FD63-69B2-41DC-A8DB-6848874D8C42}" dt="2023-03-15T11:56:23.244" v="558" actId="14100"/>
          <ac:picMkLst>
            <pc:docMk/>
            <pc:sldMk cId="3606504357" sldId="2147197786"/>
            <ac:picMk id="32" creationId="{7710732F-06BA-4EB3-AC67-E703F07B88DC}"/>
          </ac:picMkLst>
        </pc:picChg>
        <pc:picChg chg="mod">
          <ac:chgData name="Schjold, Hanne Røvig" userId="72e82339-bab0-442f-8ca6-e6f386a713ee" providerId="ADAL" clId="{5633FD63-69B2-41DC-A8DB-6848874D8C42}" dt="2023-03-15T11:56:38.502" v="563" actId="1076"/>
          <ac:picMkLst>
            <pc:docMk/>
            <pc:sldMk cId="3606504357" sldId="2147197786"/>
            <ac:picMk id="33" creationId="{9867032B-F6C7-4817-9943-F386FADD78F3}"/>
          </ac:picMkLst>
        </pc:picChg>
        <pc:picChg chg="mod">
          <ac:chgData name="Schjold, Hanne Røvig" userId="72e82339-bab0-442f-8ca6-e6f386a713ee" providerId="ADAL" clId="{5633FD63-69B2-41DC-A8DB-6848874D8C42}" dt="2023-03-15T11:58:58.934" v="566" actId="14826"/>
          <ac:picMkLst>
            <pc:docMk/>
            <pc:sldMk cId="3606504357" sldId="2147197786"/>
            <ac:picMk id="34" creationId="{CC79040F-B185-4980-9649-97C2429CD535}"/>
          </ac:picMkLst>
        </pc:picChg>
        <pc:picChg chg="mod">
          <ac:chgData name="Schjold, Hanne Røvig" userId="72e82339-bab0-442f-8ca6-e6f386a713ee" providerId="ADAL" clId="{5633FD63-69B2-41DC-A8DB-6848874D8C42}" dt="2023-03-15T11:59:11.884" v="567" actId="14826"/>
          <ac:picMkLst>
            <pc:docMk/>
            <pc:sldMk cId="3606504357" sldId="2147197786"/>
            <ac:picMk id="36" creationId="{509FBF9E-CB9F-40F8-9CBB-FD884A667ED7}"/>
          </ac:picMkLst>
        </pc:picChg>
      </pc:sldChg>
      <pc:sldChg chg="ord">
        <pc:chgData name="Schjold, Hanne Røvig" userId="72e82339-bab0-442f-8ca6-e6f386a713ee" providerId="ADAL" clId="{5633FD63-69B2-41DC-A8DB-6848874D8C42}" dt="2023-03-15T13:37:51.006" v="2176"/>
        <pc:sldMkLst>
          <pc:docMk/>
          <pc:sldMk cId="382517694" sldId="2147199155"/>
        </pc:sldMkLst>
      </pc:sldChg>
      <pc:sldChg chg="modSp mod ord">
        <pc:chgData name="Schjold, Hanne Røvig" userId="72e82339-bab0-442f-8ca6-e6f386a713ee" providerId="ADAL" clId="{5633FD63-69B2-41DC-A8DB-6848874D8C42}" dt="2023-03-15T13:29:17.486" v="2064" actId="113"/>
        <pc:sldMkLst>
          <pc:docMk/>
          <pc:sldMk cId="311781684" sldId="2147199626"/>
        </pc:sldMkLst>
        <pc:spChg chg="mod">
          <ac:chgData name="Schjold, Hanne Røvig" userId="72e82339-bab0-442f-8ca6-e6f386a713ee" providerId="ADAL" clId="{5633FD63-69B2-41DC-A8DB-6848874D8C42}" dt="2023-03-15T13:28:40.753" v="2052" actId="122"/>
          <ac:spMkLst>
            <pc:docMk/>
            <pc:sldMk cId="311781684" sldId="2147199626"/>
            <ac:spMk id="2" creationId="{7162690D-24A1-8844-7CD1-0150EF7C0573}"/>
          </ac:spMkLst>
        </pc:spChg>
        <pc:spChg chg="mod">
          <ac:chgData name="Schjold, Hanne Røvig" userId="72e82339-bab0-442f-8ca6-e6f386a713ee" providerId="ADAL" clId="{5633FD63-69B2-41DC-A8DB-6848874D8C42}" dt="2023-03-15T13:29:15.923" v="2063" actId="113"/>
          <ac:spMkLst>
            <pc:docMk/>
            <pc:sldMk cId="311781684" sldId="2147199626"/>
            <ac:spMk id="6" creationId="{3D90203F-4BF8-89B9-2E7B-0E3F530FB9C1}"/>
          </ac:spMkLst>
        </pc:spChg>
        <pc:spChg chg="mod">
          <ac:chgData name="Schjold, Hanne Røvig" userId="72e82339-bab0-442f-8ca6-e6f386a713ee" providerId="ADAL" clId="{5633FD63-69B2-41DC-A8DB-6848874D8C42}" dt="2023-03-15T13:29:17.486" v="2064" actId="113"/>
          <ac:spMkLst>
            <pc:docMk/>
            <pc:sldMk cId="311781684" sldId="2147199626"/>
            <ac:spMk id="7" creationId="{A14F37E8-F947-D8F6-6B28-544E3B22BEE6}"/>
          </ac:spMkLst>
        </pc:spChg>
        <pc:spChg chg="mod">
          <ac:chgData name="Schjold, Hanne Røvig" userId="72e82339-bab0-442f-8ca6-e6f386a713ee" providerId="ADAL" clId="{5633FD63-69B2-41DC-A8DB-6848874D8C42}" dt="2023-03-15T13:29:14.135" v="2062" actId="113"/>
          <ac:spMkLst>
            <pc:docMk/>
            <pc:sldMk cId="311781684" sldId="2147199626"/>
            <ac:spMk id="8" creationId="{3271F0B4-5CCF-C495-D089-497F26529AE8}"/>
          </ac:spMkLst>
        </pc:spChg>
        <pc:picChg chg="mod">
          <ac:chgData name="Schjold, Hanne Røvig" userId="72e82339-bab0-442f-8ca6-e6f386a713ee" providerId="ADAL" clId="{5633FD63-69B2-41DC-A8DB-6848874D8C42}" dt="2023-03-15T13:28:35.508" v="2050" actId="1076"/>
          <ac:picMkLst>
            <pc:docMk/>
            <pc:sldMk cId="311781684" sldId="2147199626"/>
            <ac:picMk id="10" creationId="{E68C39DF-4641-840D-F2A3-1E278E8E1E99}"/>
          </ac:picMkLst>
        </pc:picChg>
        <pc:picChg chg="mod">
          <ac:chgData name="Schjold, Hanne Røvig" userId="72e82339-bab0-442f-8ca6-e6f386a713ee" providerId="ADAL" clId="{5633FD63-69B2-41DC-A8DB-6848874D8C42}" dt="2023-03-15T13:28:35.508" v="2050" actId="1076"/>
          <ac:picMkLst>
            <pc:docMk/>
            <pc:sldMk cId="311781684" sldId="2147199626"/>
            <ac:picMk id="14" creationId="{971CCBD5-3934-31E8-E783-42D15CCA13CD}"/>
          </ac:picMkLst>
        </pc:picChg>
        <pc:picChg chg="mod">
          <ac:chgData name="Schjold, Hanne Røvig" userId="72e82339-bab0-442f-8ca6-e6f386a713ee" providerId="ADAL" clId="{5633FD63-69B2-41DC-A8DB-6848874D8C42}" dt="2023-03-15T13:28:35.508" v="2050" actId="1076"/>
          <ac:picMkLst>
            <pc:docMk/>
            <pc:sldMk cId="311781684" sldId="2147199626"/>
            <ac:picMk id="18" creationId="{D34BD9DE-E926-6625-F70C-7904CA8DF0DB}"/>
          </ac:picMkLst>
        </pc:picChg>
      </pc:sldChg>
      <pc:sldChg chg="modSp mod ord">
        <pc:chgData name="Schjold, Hanne Røvig" userId="72e82339-bab0-442f-8ca6-e6f386a713ee" providerId="ADAL" clId="{5633FD63-69B2-41DC-A8DB-6848874D8C42}" dt="2023-03-15T14:10:35.299" v="2389"/>
        <pc:sldMkLst>
          <pc:docMk/>
          <pc:sldMk cId="1177185325" sldId="2147199641"/>
        </pc:sldMkLst>
        <pc:spChg chg="mod">
          <ac:chgData name="Schjold, Hanne Røvig" userId="72e82339-bab0-442f-8ca6-e6f386a713ee" providerId="ADAL" clId="{5633FD63-69B2-41DC-A8DB-6848874D8C42}" dt="2023-03-15T13:26:18.101" v="2036" actId="207"/>
          <ac:spMkLst>
            <pc:docMk/>
            <pc:sldMk cId="1177185325" sldId="2147199641"/>
            <ac:spMk id="19" creationId="{17EEBBEB-F393-7E4E-98F6-881D3DA536BC}"/>
          </ac:spMkLst>
        </pc:spChg>
        <pc:spChg chg="mod">
          <ac:chgData name="Schjold, Hanne Røvig" userId="72e82339-bab0-442f-8ca6-e6f386a713ee" providerId="ADAL" clId="{5633FD63-69B2-41DC-A8DB-6848874D8C42}" dt="2023-03-15T13:26:22.057" v="2037" actId="207"/>
          <ac:spMkLst>
            <pc:docMk/>
            <pc:sldMk cId="1177185325" sldId="2147199641"/>
            <ac:spMk id="20" creationId="{6CBDF1D0-0B89-524A-8563-98E90F7182E9}"/>
          </ac:spMkLst>
        </pc:spChg>
        <pc:spChg chg="mod">
          <ac:chgData name="Schjold, Hanne Røvig" userId="72e82339-bab0-442f-8ca6-e6f386a713ee" providerId="ADAL" clId="{5633FD63-69B2-41DC-A8DB-6848874D8C42}" dt="2023-03-15T13:26:25.197" v="2038" actId="207"/>
          <ac:spMkLst>
            <pc:docMk/>
            <pc:sldMk cId="1177185325" sldId="2147199641"/>
            <ac:spMk id="21" creationId="{2AF1438F-135E-2648-8DA4-FDCEEFF12C99}"/>
          </ac:spMkLst>
        </pc:spChg>
        <pc:spChg chg="mod">
          <ac:chgData name="Schjold, Hanne Røvig" userId="72e82339-bab0-442f-8ca6-e6f386a713ee" providerId="ADAL" clId="{5633FD63-69B2-41DC-A8DB-6848874D8C42}" dt="2023-03-15T13:26:33.489" v="2041" actId="207"/>
          <ac:spMkLst>
            <pc:docMk/>
            <pc:sldMk cId="1177185325" sldId="2147199641"/>
            <ac:spMk id="22" creationId="{3321F3B7-47C4-9F48-B877-DDD7C0899526}"/>
          </ac:spMkLst>
        </pc:spChg>
        <pc:picChg chg="mod">
          <ac:chgData name="Schjold, Hanne Røvig" userId="72e82339-bab0-442f-8ca6-e6f386a713ee" providerId="ADAL" clId="{5633FD63-69B2-41DC-A8DB-6848874D8C42}" dt="2023-03-15T13:26:54.126" v="2043" actId="1582"/>
          <ac:picMkLst>
            <pc:docMk/>
            <pc:sldMk cId="1177185325" sldId="2147199641"/>
            <ac:picMk id="10" creationId="{D0724A7B-A309-944A-8276-454FE4230BAB}"/>
          </ac:picMkLst>
        </pc:picChg>
        <pc:picChg chg="mod">
          <ac:chgData name="Schjold, Hanne Røvig" userId="72e82339-bab0-442f-8ca6-e6f386a713ee" providerId="ADAL" clId="{5633FD63-69B2-41DC-A8DB-6848874D8C42}" dt="2023-03-15T13:26:54.126" v="2043" actId="1582"/>
          <ac:picMkLst>
            <pc:docMk/>
            <pc:sldMk cId="1177185325" sldId="2147199641"/>
            <ac:picMk id="17" creationId="{33C06A63-4EE6-714E-AB5E-70DD0817854B}"/>
          </ac:picMkLst>
        </pc:picChg>
        <pc:picChg chg="mod">
          <ac:chgData name="Schjold, Hanne Røvig" userId="72e82339-bab0-442f-8ca6-e6f386a713ee" providerId="ADAL" clId="{5633FD63-69B2-41DC-A8DB-6848874D8C42}" dt="2023-03-15T13:26:54.126" v="2043" actId="1582"/>
          <ac:picMkLst>
            <pc:docMk/>
            <pc:sldMk cId="1177185325" sldId="2147199641"/>
            <ac:picMk id="24" creationId="{EBB6638D-08A8-7D4B-B30E-2F7EB06FF7B1}"/>
          </ac:picMkLst>
        </pc:picChg>
      </pc:sldChg>
      <pc:sldChg chg="addSp modSp mod ord">
        <pc:chgData name="Schjold, Hanne Røvig" userId="72e82339-bab0-442f-8ca6-e6f386a713ee" providerId="ADAL" clId="{5633FD63-69B2-41DC-A8DB-6848874D8C42}" dt="2023-03-15T12:24:03.582" v="896" actId="6549"/>
        <pc:sldMkLst>
          <pc:docMk/>
          <pc:sldMk cId="967738493" sldId="2147199659"/>
        </pc:sldMkLst>
        <pc:spChg chg="mod">
          <ac:chgData name="Schjold, Hanne Røvig" userId="72e82339-bab0-442f-8ca6-e6f386a713ee" providerId="ADAL" clId="{5633FD63-69B2-41DC-A8DB-6848874D8C42}" dt="2023-03-15T12:24:03.582" v="896" actId="6549"/>
          <ac:spMkLst>
            <pc:docMk/>
            <pc:sldMk cId="967738493" sldId="2147199659"/>
            <ac:spMk id="2" creationId="{6A9C9B0F-55DA-8129-88DC-03B40AF8417F}"/>
          </ac:spMkLst>
        </pc:spChg>
        <pc:spChg chg="add mod">
          <ac:chgData name="Schjold, Hanne Røvig" userId="72e82339-bab0-442f-8ca6-e6f386a713ee" providerId="ADAL" clId="{5633FD63-69B2-41DC-A8DB-6848874D8C42}" dt="2023-03-15T12:22:58.109" v="882"/>
          <ac:spMkLst>
            <pc:docMk/>
            <pc:sldMk cId="967738493" sldId="2147199659"/>
            <ac:spMk id="3" creationId="{F4574A2A-C06A-A296-43AC-6131F022F488}"/>
          </ac:spMkLst>
        </pc:spChg>
        <pc:spChg chg="mod">
          <ac:chgData name="Schjold, Hanne Røvig" userId="72e82339-bab0-442f-8ca6-e6f386a713ee" providerId="ADAL" clId="{5633FD63-69B2-41DC-A8DB-6848874D8C42}" dt="2023-03-15T12:23:07.486" v="885" actId="207"/>
          <ac:spMkLst>
            <pc:docMk/>
            <pc:sldMk cId="967738493" sldId="2147199659"/>
            <ac:spMk id="4" creationId="{51A267D6-5357-32C9-D4C1-19BF5DD641EF}"/>
          </ac:spMkLst>
        </pc:spChg>
        <pc:picChg chg="mod ord">
          <ac:chgData name="Schjold, Hanne Røvig" userId="72e82339-bab0-442f-8ca6-e6f386a713ee" providerId="ADAL" clId="{5633FD63-69B2-41DC-A8DB-6848874D8C42}" dt="2023-03-15T12:23:03.498" v="884" actId="1076"/>
          <ac:picMkLst>
            <pc:docMk/>
            <pc:sldMk cId="967738493" sldId="2147199659"/>
            <ac:picMk id="6" creationId="{19B0CE3A-2303-EA61-002C-CA762EFC8D70}"/>
          </ac:picMkLst>
        </pc:picChg>
      </pc:sldChg>
      <pc:sldChg chg="modSp mod ord">
        <pc:chgData name="Schjold, Hanne Røvig" userId="72e82339-bab0-442f-8ca6-e6f386a713ee" providerId="ADAL" clId="{5633FD63-69B2-41DC-A8DB-6848874D8C42}" dt="2023-03-15T13:36:58.451" v="2174"/>
        <pc:sldMkLst>
          <pc:docMk/>
          <pc:sldMk cId="2463229187" sldId="2147199675"/>
        </pc:sldMkLst>
        <pc:spChg chg="mod">
          <ac:chgData name="Schjold, Hanne Røvig" userId="72e82339-bab0-442f-8ca6-e6f386a713ee" providerId="ADAL" clId="{5633FD63-69B2-41DC-A8DB-6848874D8C42}" dt="2023-03-15T13:36:17.925" v="2164" actId="207"/>
          <ac:spMkLst>
            <pc:docMk/>
            <pc:sldMk cId="2463229187" sldId="2147199675"/>
            <ac:spMk id="4" creationId="{0E5765D7-7FCD-614A-B025-4CC03904B46D}"/>
          </ac:spMkLst>
        </pc:spChg>
        <pc:spChg chg="mod">
          <ac:chgData name="Schjold, Hanne Røvig" userId="72e82339-bab0-442f-8ca6-e6f386a713ee" providerId="ADAL" clId="{5633FD63-69B2-41DC-A8DB-6848874D8C42}" dt="2023-03-15T13:36:48.162" v="2172" actId="27636"/>
          <ac:spMkLst>
            <pc:docMk/>
            <pc:sldMk cId="2463229187" sldId="2147199675"/>
            <ac:spMk id="5" creationId="{A9E1B165-CD61-5545-B3A3-F9EAA80CC4EF}"/>
          </ac:spMkLst>
        </pc:spChg>
      </pc:sldChg>
      <pc:sldChg chg="del ord">
        <pc:chgData name="Schjold, Hanne Røvig" userId="72e82339-bab0-442f-8ca6-e6f386a713ee" providerId="ADAL" clId="{5633FD63-69B2-41DC-A8DB-6848874D8C42}" dt="2023-03-15T14:03:56.821" v="2327" actId="47"/>
        <pc:sldMkLst>
          <pc:docMk/>
          <pc:sldMk cId="71513058" sldId="2147199676"/>
        </pc:sldMkLst>
      </pc:sldChg>
      <pc:sldChg chg="del">
        <pc:chgData name="Schjold, Hanne Røvig" userId="72e82339-bab0-442f-8ca6-e6f386a713ee" providerId="ADAL" clId="{5633FD63-69B2-41DC-A8DB-6848874D8C42}" dt="2023-03-15T11:35:24.685" v="303" actId="47"/>
        <pc:sldMkLst>
          <pc:docMk/>
          <pc:sldMk cId="276237294" sldId="2147199677"/>
        </pc:sldMkLst>
      </pc:sldChg>
      <pc:sldChg chg="del">
        <pc:chgData name="Schjold, Hanne Røvig" userId="72e82339-bab0-442f-8ca6-e6f386a713ee" providerId="ADAL" clId="{5633FD63-69B2-41DC-A8DB-6848874D8C42}" dt="2023-03-15T11:26:37.347" v="264" actId="47"/>
        <pc:sldMkLst>
          <pc:docMk/>
          <pc:sldMk cId="990635429" sldId="2147199678"/>
        </pc:sldMkLst>
      </pc:sldChg>
      <pc:sldChg chg="del ord">
        <pc:chgData name="Schjold, Hanne Røvig" userId="72e82339-bab0-442f-8ca6-e6f386a713ee" providerId="ADAL" clId="{5633FD63-69B2-41DC-A8DB-6848874D8C42}" dt="2023-03-15T12:20:06.148" v="856" actId="47"/>
        <pc:sldMkLst>
          <pc:docMk/>
          <pc:sldMk cId="2033069578" sldId="2147199679"/>
        </pc:sldMkLst>
      </pc:sldChg>
      <pc:sldChg chg="delSp del modAnim">
        <pc:chgData name="Schjold, Hanne Røvig" userId="72e82339-bab0-442f-8ca6-e6f386a713ee" providerId="ADAL" clId="{5633FD63-69B2-41DC-A8DB-6848874D8C42}" dt="2023-03-15T10:36:15.662" v="196" actId="47"/>
        <pc:sldMkLst>
          <pc:docMk/>
          <pc:sldMk cId="42819203" sldId="2147199680"/>
        </pc:sldMkLst>
        <pc:spChg chg="del">
          <ac:chgData name="Schjold, Hanne Røvig" userId="72e82339-bab0-442f-8ca6-e6f386a713ee" providerId="ADAL" clId="{5633FD63-69B2-41DC-A8DB-6848874D8C42}" dt="2023-03-15T10:22:08.977" v="0"/>
          <ac:spMkLst>
            <pc:docMk/>
            <pc:sldMk cId="42819203" sldId="2147199680"/>
            <ac:spMk id="17" creationId="{E9225715-D351-9B64-B35D-0E64ED770E61}"/>
          </ac:spMkLst>
        </pc:spChg>
        <pc:spChg chg="del">
          <ac:chgData name="Schjold, Hanne Røvig" userId="72e82339-bab0-442f-8ca6-e6f386a713ee" providerId="ADAL" clId="{5633FD63-69B2-41DC-A8DB-6848874D8C42}" dt="2023-03-15T10:22:08.977" v="0"/>
          <ac:spMkLst>
            <pc:docMk/>
            <pc:sldMk cId="42819203" sldId="2147199680"/>
            <ac:spMk id="18" creationId="{59F6F6FC-9570-78F6-9744-943C4E63C79E}"/>
          </ac:spMkLst>
        </pc:spChg>
        <pc:spChg chg="del">
          <ac:chgData name="Schjold, Hanne Røvig" userId="72e82339-bab0-442f-8ca6-e6f386a713ee" providerId="ADAL" clId="{5633FD63-69B2-41DC-A8DB-6848874D8C42}" dt="2023-03-15T10:22:08.977" v="0"/>
          <ac:spMkLst>
            <pc:docMk/>
            <pc:sldMk cId="42819203" sldId="2147199680"/>
            <ac:spMk id="19" creationId="{7E4C9DA6-B5A7-A66B-1B13-2FAC0C01F4D7}"/>
          </ac:spMkLst>
        </pc:spChg>
        <pc:spChg chg="del">
          <ac:chgData name="Schjold, Hanne Røvig" userId="72e82339-bab0-442f-8ca6-e6f386a713ee" providerId="ADAL" clId="{5633FD63-69B2-41DC-A8DB-6848874D8C42}" dt="2023-03-15T10:22:08.977" v="0"/>
          <ac:spMkLst>
            <pc:docMk/>
            <pc:sldMk cId="42819203" sldId="2147199680"/>
            <ac:spMk id="20" creationId="{DD9ED8D4-606B-C7FD-217E-602CF8198B22}"/>
          </ac:spMkLst>
        </pc:spChg>
        <pc:spChg chg="del">
          <ac:chgData name="Schjold, Hanne Røvig" userId="72e82339-bab0-442f-8ca6-e6f386a713ee" providerId="ADAL" clId="{5633FD63-69B2-41DC-A8DB-6848874D8C42}" dt="2023-03-15T10:22:08.977" v="0"/>
          <ac:spMkLst>
            <pc:docMk/>
            <pc:sldMk cId="42819203" sldId="2147199680"/>
            <ac:spMk id="27" creationId="{368CA39C-47B2-BF57-49DF-4D3F0F57F609}"/>
          </ac:spMkLst>
        </pc:spChg>
        <pc:spChg chg="del">
          <ac:chgData name="Schjold, Hanne Røvig" userId="72e82339-bab0-442f-8ca6-e6f386a713ee" providerId="ADAL" clId="{5633FD63-69B2-41DC-A8DB-6848874D8C42}" dt="2023-03-15T10:22:08.977" v="0"/>
          <ac:spMkLst>
            <pc:docMk/>
            <pc:sldMk cId="42819203" sldId="2147199680"/>
            <ac:spMk id="28" creationId="{D5ED11A6-5280-C6F8-B86D-2F2666DCFCA1}"/>
          </ac:spMkLst>
        </pc:spChg>
        <pc:spChg chg="del">
          <ac:chgData name="Schjold, Hanne Røvig" userId="72e82339-bab0-442f-8ca6-e6f386a713ee" providerId="ADAL" clId="{5633FD63-69B2-41DC-A8DB-6848874D8C42}" dt="2023-03-15T10:22:08.977" v="0"/>
          <ac:spMkLst>
            <pc:docMk/>
            <pc:sldMk cId="42819203" sldId="2147199680"/>
            <ac:spMk id="29" creationId="{7AA9CC09-CF3A-60F0-1872-D5CA6369C451}"/>
          </ac:spMkLst>
        </pc:spChg>
        <pc:spChg chg="del">
          <ac:chgData name="Schjold, Hanne Røvig" userId="72e82339-bab0-442f-8ca6-e6f386a713ee" providerId="ADAL" clId="{5633FD63-69B2-41DC-A8DB-6848874D8C42}" dt="2023-03-15T10:22:08.977" v="0"/>
          <ac:spMkLst>
            <pc:docMk/>
            <pc:sldMk cId="42819203" sldId="2147199680"/>
            <ac:spMk id="30" creationId="{B6BAB27B-4E10-1C6F-2C22-863439DEC548}"/>
          </ac:spMkLst>
        </pc:spChg>
        <pc:spChg chg="del">
          <ac:chgData name="Schjold, Hanne Røvig" userId="72e82339-bab0-442f-8ca6-e6f386a713ee" providerId="ADAL" clId="{5633FD63-69B2-41DC-A8DB-6848874D8C42}" dt="2023-03-15T10:22:08.977" v="0"/>
          <ac:spMkLst>
            <pc:docMk/>
            <pc:sldMk cId="42819203" sldId="2147199680"/>
            <ac:spMk id="31" creationId="{A3AB75BE-ED25-E6DF-9443-8BFAAEF3A87F}"/>
          </ac:spMkLst>
        </pc:spChg>
        <pc:spChg chg="del">
          <ac:chgData name="Schjold, Hanne Røvig" userId="72e82339-bab0-442f-8ca6-e6f386a713ee" providerId="ADAL" clId="{5633FD63-69B2-41DC-A8DB-6848874D8C42}" dt="2023-03-15T10:22:08.977" v="0"/>
          <ac:spMkLst>
            <pc:docMk/>
            <pc:sldMk cId="42819203" sldId="2147199680"/>
            <ac:spMk id="32" creationId="{7D9DFA75-B109-7230-246C-3E496F249B65}"/>
          </ac:spMkLst>
        </pc:spChg>
        <pc:spChg chg="del">
          <ac:chgData name="Schjold, Hanne Røvig" userId="72e82339-bab0-442f-8ca6-e6f386a713ee" providerId="ADAL" clId="{5633FD63-69B2-41DC-A8DB-6848874D8C42}" dt="2023-03-15T10:22:08.977" v="0"/>
          <ac:spMkLst>
            <pc:docMk/>
            <pc:sldMk cId="42819203" sldId="2147199680"/>
            <ac:spMk id="33" creationId="{2EA39319-01B4-96F4-DF85-4DDF619F9370}"/>
          </ac:spMkLst>
        </pc:spChg>
        <pc:spChg chg="del">
          <ac:chgData name="Schjold, Hanne Røvig" userId="72e82339-bab0-442f-8ca6-e6f386a713ee" providerId="ADAL" clId="{5633FD63-69B2-41DC-A8DB-6848874D8C42}" dt="2023-03-15T10:22:08.977" v="0"/>
          <ac:spMkLst>
            <pc:docMk/>
            <pc:sldMk cId="42819203" sldId="2147199680"/>
            <ac:spMk id="34" creationId="{F33083C8-4BC8-7806-F5EF-3E0BED2D30B9}"/>
          </ac:spMkLst>
        </pc:spChg>
        <pc:spChg chg="del">
          <ac:chgData name="Schjold, Hanne Røvig" userId="72e82339-bab0-442f-8ca6-e6f386a713ee" providerId="ADAL" clId="{5633FD63-69B2-41DC-A8DB-6848874D8C42}" dt="2023-03-15T10:22:08.977" v="0"/>
          <ac:spMkLst>
            <pc:docMk/>
            <pc:sldMk cId="42819203" sldId="2147199680"/>
            <ac:spMk id="35" creationId="{ED506777-B7D8-9BE6-4E2F-C36F6AA4839A}"/>
          </ac:spMkLst>
        </pc:spChg>
        <pc:spChg chg="del">
          <ac:chgData name="Schjold, Hanne Røvig" userId="72e82339-bab0-442f-8ca6-e6f386a713ee" providerId="ADAL" clId="{5633FD63-69B2-41DC-A8DB-6848874D8C42}" dt="2023-03-15T10:22:08.977" v="0"/>
          <ac:spMkLst>
            <pc:docMk/>
            <pc:sldMk cId="42819203" sldId="2147199680"/>
            <ac:spMk id="36" creationId="{8C9A0685-8C09-C59C-AD35-16FA00568166}"/>
          </ac:spMkLst>
        </pc:spChg>
        <pc:picChg chg="del">
          <ac:chgData name="Schjold, Hanne Røvig" userId="72e82339-bab0-442f-8ca6-e6f386a713ee" providerId="ADAL" clId="{5633FD63-69B2-41DC-A8DB-6848874D8C42}" dt="2023-03-15T10:22:08.977" v="0"/>
          <ac:picMkLst>
            <pc:docMk/>
            <pc:sldMk cId="42819203" sldId="2147199680"/>
            <ac:picMk id="22" creationId="{84AC2BB3-3953-B5F2-CA67-15CA5F8127BE}"/>
          </ac:picMkLst>
        </pc:picChg>
        <pc:picChg chg="del">
          <ac:chgData name="Schjold, Hanne Røvig" userId="72e82339-bab0-442f-8ca6-e6f386a713ee" providerId="ADAL" clId="{5633FD63-69B2-41DC-A8DB-6848874D8C42}" dt="2023-03-15T10:22:08.977" v="0"/>
          <ac:picMkLst>
            <pc:docMk/>
            <pc:sldMk cId="42819203" sldId="2147199680"/>
            <ac:picMk id="23" creationId="{2FBBD65C-83BC-AB40-8195-DFB938A442C6}"/>
          </ac:picMkLst>
        </pc:picChg>
        <pc:picChg chg="del">
          <ac:chgData name="Schjold, Hanne Røvig" userId="72e82339-bab0-442f-8ca6-e6f386a713ee" providerId="ADAL" clId="{5633FD63-69B2-41DC-A8DB-6848874D8C42}" dt="2023-03-15T10:22:08.977" v="0"/>
          <ac:picMkLst>
            <pc:docMk/>
            <pc:sldMk cId="42819203" sldId="2147199680"/>
            <ac:picMk id="24" creationId="{D5BF9EB4-816A-0D69-47EB-98648A4F031C}"/>
          </ac:picMkLst>
        </pc:picChg>
        <pc:picChg chg="del">
          <ac:chgData name="Schjold, Hanne Røvig" userId="72e82339-bab0-442f-8ca6-e6f386a713ee" providerId="ADAL" clId="{5633FD63-69B2-41DC-A8DB-6848874D8C42}" dt="2023-03-15T10:22:08.977" v="0"/>
          <ac:picMkLst>
            <pc:docMk/>
            <pc:sldMk cId="42819203" sldId="2147199680"/>
            <ac:picMk id="25" creationId="{520084A5-3278-4E8A-9704-6A40FC19F785}"/>
          </ac:picMkLst>
        </pc:picChg>
        <pc:picChg chg="del">
          <ac:chgData name="Schjold, Hanne Røvig" userId="72e82339-bab0-442f-8ca6-e6f386a713ee" providerId="ADAL" clId="{5633FD63-69B2-41DC-A8DB-6848874D8C42}" dt="2023-03-15T10:22:08.977" v="0"/>
          <ac:picMkLst>
            <pc:docMk/>
            <pc:sldMk cId="42819203" sldId="2147199680"/>
            <ac:picMk id="26" creationId="{BB76DF88-6EDE-162E-1315-1310329406D6}"/>
          </ac:picMkLst>
        </pc:picChg>
        <pc:cxnChg chg="del">
          <ac:chgData name="Schjold, Hanne Røvig" userId="72e82339-bab0-442f-8ca6-e6f386a713ee" providerId="ADAL" clId="{5633FD63-69B2-41DC-A8DB-6848874D8C42}" dt="2023-03-15T10:22:08.977" v="0"/>
          <ac:cxnSpMkLst>
            <pc:docMk/>
            <pc:sldMk cId="42819203" sldId="2147199680"/>
            <ac:cxnSpMk id="7" creationId="{6E526D09-CEE4-8C81-7824-29D5D9483876}"/>
          </ac:cxnSpMkLst>
        </pc:cxnChg>
        <pc:cxnChg chg="del">
          <ac:chgData name="Schjold, Hanne Røvig" userId="72e82339-bab0-442f-8ca6-e6f386a713ee" providerId="ADAL" clId="{5633FD63-69B2-41DC-A8DB-6848874D8C42}" dt="2023-03-15T10:22:08.977" v="0"/>
          <ac:cxnSpMkLst>
            <pc:docMk/>
            <pc:sldMk cId="42819203" sldId="2147199680"/>
            <ac:cxnSpMk id="11" creationId="{FCA8B9F6-940D-CEE8-5DF0-DBC78824E364}"/>
          </ac:cxnSpMkLst>
        </pc:cxnChg>
        <pc:cxnChg chg="del">
          <ac:chgData name="Schjold, Hanne Røvig" userId="72e82339-bab0-442f-8ca6-e6f386a713ee" providerId="ADAL" clId="{5633FD63-69B2-41DC-A8DB-6848874D8C42}" dt="2023-03-15T10:22:08.977" v="0"/>
          <ac:cxnSpMkLst>
            <pc:docMk/>
            <pc:sldMk cId="42819203" sldId="2147199680"/>
            <ac:cxnSpMk id="13" creationId="{2A448BE1-91E0-1410-434D-4ACE386EF4EE}"/>
          </ac:cxnSpMkLst>
        </pc:cxnChg>
        <pc:cxnChg chg="del">
          <ac:chgData name="Schjold, Hanne Røvig" userId="72e82339-bab0-442f-8ca6-e6f386a713ee" providerId="ADAL" clId="{5633FD63-69B2-41DC-A8DB-6848874D8C42}" dt="2023-03-15T10:22:08.977" v="0"/>
          <ac:cxnSpMkLst>
            <pc:docMk/>
            <pc:sldMk cId="42819203" sldId="2147199680"/>
            <ac:cxnSpMk id="15" creationId="{B0E7CA90-A33F-9094-824E-EFCE1F499065}"/>
          </ac:cxnSpMkLst>
        </pc:cxnChg>
        <pc:cxnChg chg="del">
          <ac:chgData name="Schjold, Hanne Røvig" userId="72e82339-bab0-442f-8ca6-e6f386a713ee" providerId="ADAL" clId="{5633FD63-69B2-41DC-A8DB-6848874D8C42}" dt="2023-03-15T10:22:08.977" v="0"/>
          <ac:cxnSpMkLst>
            <pc:docMk/>
            <pc:sldMk cId="42819203" sldId="2147199680"/>
            <ac:cxnSpMk id="21" creationId="{02E59495-BA69-AEB3-5CFF-BC32C88FF605}"/>
          </ac:cxnSpMkLst>
        </pc:cxnChg>
      </pc:sldChg>
      <pc:sldChg chg="del">
        <pc:chgData name="Schjold, Hanne Røvig" userId="72e82339-bab0-442f-8ca6-e6f386a713ee" providerId="ADAL" clId="{5633FD63-69B2-41DC-A8DB-6848874D8C42}" dt="2023-03-15T11:59:41.753" v="590" actId="47"/>
        <pc:sldMkLst>
          <pc:docMk/>
          <pc:sldMk cId="542456879" sldId="2147199681"/>
        </pc:sldMkLst>
      </pc:sldChg>
      <pc:sldChg chg="del">
        <pc:chgData name="Schjold, Hanne Røvig" userId="72e82339-bab0-442f-8ca6-e6f386a713ee" providerId="ADAL" clId="{5633FD63-69B2-41DC-A8DB-6848874D8C42}" dt="2023-03-15T12:22:29.186" v="875" actId="47"/>
        <pc:sldMkLst>
          <pc:docMk/>
          <pc:sldMk cId="2134540153" sldId="2147199682"/>
        </pc:sldMkLst>
      </pc:sldChg>
      <pc:sldChg chg="addSp modSp mod ord">
        <pc:chgData name="Schjold, Hanne Røvig" userId="72e82339-bab0-442f-8ca6-e6f386a713ee" providerId="ADAL" clId="{5633FD63-69B2-41DC-A8DB-6848874D8C42}" dt="2023-03-15T12:14:41.037" v="728" actId="1076"/>
        <pc:sldMkLst>
          <pc:docMk/>
          <pc:sldMk cId="3460481158" sldId="2147199683"/>
        </pc:sldMkLst>
        <pc:spChg chg="add mod">
          <ac:chgData name="Schjold, Hanne Røvig" userId="72e82339-bab0-442f-8ca6-e6f386a713ee" providerId="ADAL" clId="{5633FD63-69B2-41DC-A8DB-6848874D8C42}" dt="2023-03-15T12:13:18.418" v="713" actId="2085"/>
          <ac:spMkLst>
            <pc:docMk/>
            <pc:sldMk cId="3460481158" sldId="2147199683"/>
            <ac:spMk id="3" creationId="{7734E38C-D98D-E465-8849-BE5D5286585E}"/>
          </ac:spMkLst>
        </pc:spChg>
        <pc:spChg chg="mod">
          <ac:chgData name="Schjold, Hanne Røvig" userId="72e82339-bab0-442f-8ca6-e6f386a713ee" providerId="ADAL" clId="{5633FD63-69B2-41DC-A8DB-6848874D8C42}" dt="2023-03-15T12:13:24.670" v="714" actId="207"/>
          <ac:spMkLst>
            <pc:docMk/>
            <pc:sldMk cId="3460481158" sldId="2147199683"/>
            <ac:spMk id="4" creationId="{AF8FECE3-BFAF-184C-9845-D038BF8CCFD0}"/>
          </ac:spMkLst>
        </pc:spChg>
        <pc:spChg chg="mod">
          <ac:chgData name="Schjold, Hanne Røvig" userId="72e82339-bab0-442f-8ca6-e6f386a713ee" providerId="ADAL" clId="{5633FD63-69B2-41DC-A8DB-6848874D8C42}" dt="2023-03-15T12:14:17.787" v="723" actId="27636"/>
          <ac:spMkLst>
            <pc:docMk/>
            <pc:sldMk cId="3460481158" sldId="2147199683"/>
            <ac:spMk id="5" creationId="{65DC75E4-3269-B54C-A6DE-60AFB65C8393}"/>
          </ac:spMkLst>
        </pc:spChg>
        <pc:picChg chg="mod ord">
          <ac:chgData name="Schjold, Hanne Røvig" userId="72e82339-bab0-442f-8ca6-e6f386a713ee" providerId="ADAL" clId="{5633FD63-69B2-41DC-A8DB-6848874D8C42}" dt="2023-03-15T12:14:41.037" v="728" actId="1076"/>
          <ac:picMkLst>
            <pc:docMk/>
            <pc:sldMk cId="3460481158" sldId="2147199683"/>
            <ac:picMk id="10" creationId="{BE5D8116-3A25-46A5-AA87-8079AB217DB0}"/>
          </ac:picMkLst>
        </pc:picChg>
      </pc:sldChg>
      <pc:sldChg chg="addSp modSp mod ord">
        <pc:chgData name="Schjold, Hanne Røvig" userId="72e82339-bab0-442f-8ca6-e6f386a713ee" providerId="ADAL" clId="{5633FD63-69B2-41DC-A8DB-6848874D8C42}" dt="2023-03-15T12:22:10.427" v="873" actId="255"/>
        <pc:sldMkLst>
          <pc:docMk/>
          <pc:sldMk cId="2664133486" sldId="2147199684"/>
        </pc:sldMkLst>
        <pc:spChg chg="mod">
          <ac:chgData name="Schjold, Hanne Røvig" userId="72e82339-bab0-442f-8ca6-e6f386a713ee" providerId="ADAL" clId="{5633FD63-69B2-41DC-A8DB-6848874D8C42}" dt="2023-03-15T12:22:10.427" v="873" actId="255"/>
          <ac:spMkLst>
            <pc:docMk/>
            <pc:sldMk cId="2664133486" sldId="2147199684"/>
            <ac:spMk id="2" creationId="{B28EC001-4C7E-DC5B-B081-A6335CB69320}"/>
          </ac:spMkLst>
        </pc:spChg>
        <pc:spChg chg="mod">
          <ac:chgData name="Schjold, Hanne Røvig" userId="72e82339-bab0-442f-8ca6-e6f386a713ee" providerId="ADAL" clId="{5633FD63-69B2-41DC-A8DB-6848874D8C42}" dt="2023-03-15T12:22:03.407" v="871" actId="14100"/>
          <ac:spMkLst>
            <pc:docMk/>
            <pc:sldMk cId="2664133486" sldId="2147199684"/>
            <ac:spMk id="3" creationId="{284E060A-849A-4D66-602A-63463C8D3B57}"/>
          </ac:spMkLst>
        </pc:spChg>
        <pc:spChg chg="add mod">
          <ac:chgData name="Schjold, Hanne Røvig" userId="72e82339-bab0-442f-8ca6-e6f386a713ee" providerId="ADAL" clId="{5633FD63-69B2-41DC-A8DB-6848874D8C42}" dt="2023-03-15T12:20:54.277" v="860"/>
          <ac:spMkLst>
            <pc:docMk/>
            <pc:sldMk cId="2664133486" sldId="2147199684"/>
            <ac:spMk id="4" creationId="{DC8FEE1F-828F-2CF5-2A32-F7FCDEE2AD90}"/>
          </ac:spMkLst>
        </pc:spChg>
        <pc:picChg chg="mod ord">
          <ac:chgData name="Schjold, Hanne Røvig" userId="72e82339-bab0-442f-8ca6-e6f386a713ee" providerId="ADAL" clId="{5633FD63-69B2-41DC-A8DB-6848874D8C42}" dt="2023-03-15T12:21:09.070" v="866" actId="1076"/>
          <ac:picMkLst>
            <pc:docMk/>
            <pc:sldMk cId="2664133486" sldId="2147199684"/>
            <ac:picMk id="6" creationId="{1EDF148F-9CAA-56AA-EFC0-3AD666118387}"/>
          </ac:picMkLst>
        </pc:picChg>
      </pc:sldChg>
      <pc:sldChg chg="del">
        <pc:chgData name="Schjold, Hanne Røvig" userId="72e82339-bab0-442f-8ca6-e6f386a713ee" providerId="ADAL" clId="{5633FD63-69B2-41DC-A8DB-6848874D8C42}" dt="2023-03-15T12:24:26.997" v="901" actId="47"/>
        <pc:sldMkLst>
          <pc:docMk/>
          <pc:sldMk cId="970899646" sldId="2147199686"/>
        </pc:sldMkLst>
      </pc:sldChg>
      <pc:sldChg chg="addSp delSp modSp mod ord">
        <pc:chgData name="Schjold, Hanne Røvig" userId="72e82339-bab0-442f-8ca6-e6f386a713ee" providerId="ADAL" clId="{5633FD63-69B2-41DC-A8DB-6848874D8C42}" dt="2023-03-15T12:16:52.158" v="798" actId="207"/>
        <pc:sldMkLst>
          <pc:docMk/>
          <pc:sldMk cId="613675044" sldId="2147199689"/>
        </pc:sldMkLst>
        <pc:spChg chg="add mod">
          <ac:chgData name="Schjold, Hanne Røvig" userId="72e82339-bab0-442f-8ca6-e6f386a713ee" providerId="ADAL" clId="{5633FD63-69B2-41DC-A8DB-6848874D8C42}" dt="2023-03-15T12:16:47.271" v="797" actId="207"/>
          <ac:spMkLst>
            <pc:docMk/>
            <pc:sldMk cId="613675044" sldId="2147199689"/>
            <ac:spMk id="2" creationId="{3A0D7993-F149-87CD-BB20-078C0D6E3520}"/>
          </ac:spMkLst>
        </pc:spChg>
        <pc:spChg chg="add mod">
          <ac:chgData name="Schjold, Hanne Røvig" userId="72e82339-bab0-442f-8ca6-e6f386a713ee" providerId="ADAL" clId="{5633FD63-69B2-41DC-A8DB-6848874D8C42}" dt="2023-03-15T12:16:52.158" v="798" actId="207"/>
          <ac:spMkLst>
            <pc:docMk/>
            <pc:sldMk cId="613675044" sldId="2147199689"/>
            <ac:spMk id="3" creationId="{D8497EF9-4ADB-9096-D01E-5AAC23F2AEA7}"/>
          </ac:spMkLst>
        </pc:spChg>
        <pc:spChg chg="del">
          <ac:chgData name="Schjold, Hanne Røvig" userId="72e82339-bab0-442f-8ca6-e6f386a713ee" providerId="ADAL" clId="{5633FD63-69B2-41DC-A8DB-6848874D8C42}" dt="2023-03-15T12:15:39.896" v="732" actId="478"/>
          <ac:spMkLst>
            <pc:docMk/>
            <pc:sldMk cId="613675044" sldId="2147199689"/>
            <ac:spMk id="4" creationId="{60DB91C7-D0BE-4945-AC47-07353A48F65C}"/>
          </ac:spMkLst>
        </pc:spChg>
        <pc:spChg chg="del">
          <ac:chgData name="Schjold, Hanne Røvig" userId="72e82339-bab0-442f-8ca6-e6f386a713ee" providerId="ADAL" clId="{5633FD63-69B2-41DC-A8DB-6848874D8C42}" dt="2023-03-15T12:15:35.644" v="731" actId="478"/>
          <ac:spMkLst>
            <pc:docMk/>
            <pc:sldMk cId="613675044" sldId="2147199689"/>
            <ac:spMk id="8" creationId="{56539549-F2FF-4DCA-90D0-A0FBE2503E7E}"/>
          </ac:spMkLst>
        </pc:spChg>
        <pc:picChg chg="add mod">
          <ac:chgData name="Schjold, Hanne Røvig" userId="72e82339-bab0-442f-8ca6-e6f386a713ee" providerId="ADAL" clId="{5633FD63-69B2-41DC-A8DB-6848874D8C42}" dt="2023-03-15T12:16:38.713" v="796" actId="14100"/>
          <ac:picMkLst>
            <pc:docMk/>
            <pc:sldMk cId="613675044" sldId="2147199689"/>
            <ac:picMk id="5" creationId="{6970BDE4-4E6B-9D90-38A4-A18E7BB99299}"/>
          </ac:picMkLst>
        </pc:picChg>
      </pc:sldChg>
      <pc:sldChg chg="addSp delSp modSp mod ord modNotesTx">
        <pc:chgData name="Schjold, Hanne Røvig" userId="72e82339-bab0-442f-8ca6-e6f386a713ee" providerId="ADAL" clId="{5633FD63-69B2-41DC-A8DB-6848874D8C42}" dt="2023-03-15T13:11:56.386" v="1457" actId="1037"/>
        <pc:sldMkLst>
          <pc:docMk/>
          <pc:sldMk cId="3828192015" sldId="2147199690"/>
        </pc:sldMkLst>
        <pc:spChg chg="add mod">
          <ac:chgData name="Schjold, Hanne Røvig" userId="72e82339-bab0-442f-8ca6-e6f386a713ee" providerId="ADAL" clId="{5633FD63-69B2-41DC-A8DB-6848874D8C42}" dt="2023-03-15T13:11:38.590" v="1439"/>
          <ac:spMkLst>
            <pc:docMk/>
            <pc:sldMk cId="3828192015" sldId="2147199690"/>
            <ac:spMk id="2" creationId="{18A0BA95-1DF1-4CF9-DA11-D989A7033311}"/>
          </ac:spMkLst>
        </pc:spChg>
        <pc:spChg chg="add mod">
          <ac:chgData name="Schjold, Hanne Røvig" userId="72e82339-bab0-442f-8ca6-e6f386a713ee" providerId="ADAL" clId="{5633FD63-69B2-41DC-A8DB-6848874D8C42}" dt="2023-03-15T13:11:56.386" v="1457" actId="1037"/>
          <ac:spMkLst>
            <pc:docMk/>
            <pc:sldMk cId="3828192015" sldId="2147199690"/>
            <ac:spMk id="3" creationId="{7425ED42-33CE-522A-B35E-5456E3947C53}"/>
          </ac:spMkLst>
        </pc:spChg>
        <pc:spChg chg="del mod">
          <ac:chgData name="Schjold, Hanne Røvig" userId="72e82339-bab0-442f-8ca6-e6f386a713ee" providerId="ADAL" clId="{5633FD63-69B2-41DC-A8DB-6848874D8C42}" dt="2023-03-15T13:11:27.214" v="1436" actId="478"/>
          <ac:spMkLst>
            <pc:docMk/>
            <pc:sldMk cId="3828192015" sldId="2147199690"/>
            <ac:spMk id="5" creationId="{839F508D-9D63-9F4C-9693-BF497EEFD82A}"/>
          </ac:spMkLst>
        </pc:spChg>
      </pc:sldChg>
      <pc:sldChg chg="addSp delSp modSp mod ord modNotesTx">
        <pc:chgData name="Schjold, Hanne Røvig" userId="72e82339-bab0-442f-8ca6-e6f386a713ee" providerId="ADAL" clId="{5633FD63-69B2-41DC-A8DB-6848874D8C42}" dt="2023-03-15T13:32:03.276" v="2117" actId="1076"/>
        <pc:sldMkLst>
          <pc:docMk/>
          <pc:sldMk cId="2293250089" sldId="2147199691"/>
        </pc:sldMkLst>
        <pc:spChg chg="add mod">
          <ac:chgData name="Schjold, Hanne Røvig" userId="72e82339-bab0-442f-8ca6-e6f386a713ee" providerId="ADAL" clId="{5633FD63-69B2-41DC-A8DB-6848874D8C42}" dt="2023-03-15T13:31:45.538" v="2112" actId="1076"/>
          <ac:spMkLst>
            <pc:docMk/>
            <pc:sldMk cId="2293250089" sldId="2147199691"/>
            <ac:spMk id="2" creationId="{010DE18F-CC4F-FC25-D72C-B526E5CD49EE}"/>
          </ac:spMkLst>
        </pc:spChg>
        <pc:spChg chg="mod ord">
          <ac:chgData name="Schjold, Hanne Røvig" userId="72e82339-bab0-442f-8ca6-e6f386a713ee" providerId="ADAL" clId="{5633FD63-69B2-41DC-A8DB-6848874D8C42}" dt="2023-03-15T13:32:03.276" v="2117" actId="1076"/>
          <ac:spMkLst>
            <pc:docMk/>
            <pc:sldMk cId="2293250089" sldId="2147199691"/>
            <ac:spMk id="12" creationId="{78CACF4D-9D62-8D47-9FA7-C3ADDDE07316}"/>
          </ac:spMkLst>
        </pc:spChg>
        <pc:spChg chg="del mod">
          <ac:chgData name="Schjold, Hanne Røvig" userId="72e82339-bab0-442f-8ca6-e6f386a713ee" providerId="ADAL" clId="{5633FD63-69B2-41DC-A8DB-6848874D8C42}" dt="2023-03-15T13:31:36.900" v="2110"/>
          <ac:spMkLst>
            <pc:docMk/>
            <pc:sldMk cId="2293250089" sldId="2147199691"/>
            <ac:spMk id="13" creationId="{6BC5FA5C-BE7A-D841-8017-C97C29C1C005}"/>
          </ac:spMkLst>
        </pc:spChg>
      </pc:sldChg>
      <pc:sldChg chg="addSp delSp modSp mod ord modNotesTx">
        <pc:chgData name="Schjold, Hanne Røvig" userId="72e82339-bab0-442f-8ca6-e6f386a713ee" providerId="ADAL" clId="{5633FD63-69B2-41DC-A8DB-6848874D8C42}" dt="2023-03-15T13:34:12.232" v="2141" actId="14100"/>
        <pc:sldMkLst>
          <pc:docMk/>
          <pc:sldMk cId="457178272" sldId="2147199693"/>
        </pc:sldMkLst>
        <pc:spChg chg="mod ord">
          <ac:chgData name="Schjold, Hanne Røvig" userId="72e82339-bab0-442f-8ca6-e6f386a713ee" providerId="ADAL" clId="{5633FD63-69B2-41DC-A8DB-6848874D8C42}" dt="2023-03-15T13:32:43.462" v="2133" actId="1076"/>
          <ac:spMkLst>
            <pc:docMk/>
            <pc:sldMk cId="457178272" sldId="2147199693"/>
            <ac:spMk id="2" creationId="{DF73711E-FECE-0C40-85D5-01BB8BE771B0}"/>
          </ac:spMkLst>
        </pc:spChg>
        <pc:spChg chg="add mod">
          <ac:chgData name="Schjold, Hanne Røvig" userId="72e82339-bab0-442f-8ca6-e6f386a713ee" providerId="ADAL" clId="{5633FD63-69B2-41DC-A8DB-6848874D8C42}" dt="2023-03-15T13:32:21.808" v="2123"/>
          <ac:spMkLst>
            <pc:docMk/>
            <pc:sldMk cId="457178272" sldId="2147199693"/>
            <ac:spMk id="3" creationId="{34BBAA55-6502-30BC-807C-2F1C83E737AB}"/>
          </ac:spMkLst>
        </pc:spChg>
        <pc:spChg chg="del mod">
          <ac:chgData name="Schjold, Hanne Røvig" userId="72e82339-bab0-442f-8ca6-e6f386a713ee" providerId="ADAL" clId="{5633FD63-69B2-41DC-A8DB-6848874D8C42}" dt="2023-03-15T13:32:17.687" v="2122"/>
          <ac:spMkLst>
            <pc:docMk/>
            <pc:sldMk cId="457178272" sldId="2147199693"/>
            <ac:spMk id="7" creationId="{23B8415D-B2A0-3B43-8080-0C116E6CE45F}"/>
          </ac:spMkLst>
        </pc:spChg>
        <pc:grpChg chg="del">
          <ac:chgData name="Schjold, Hanne Røvig" userId="72e82339-bab0-442f-8ca6-e6f386a713ee" providerId="ADAL" clId="{5633FD63-69B2-41DC-A8DB-6848874D8C42}" dt="2023-03-15T13:33:49.338" v="2134" actId="478"/>
          <ac:grpSpMkLst>
            <pc:docMk/>
            <pc:sldMk cId="457178272" sldId="2147199693"/>
            <ac:grpSpMk id="13" creationId="{AF5FCEEA-451A-4EF6-A4BE-B934FB9FBBA6}"/>
          </ac:grpSpMkLst>
        </pc:grpChg>
        <pc:grpChg chg="del">
          <ac:chgData name="Schjold, Hanne Røvig" userId="72e82339-bab0-442f-8ca6-e6f386a713ee" providerId="ADAL" clId="{5633FD63-69B2-41DC-A8DB-6848874D8C42}" dt="2023-03-15T13:33:51.990" v="2135" actId="478"/>
          <ac:grpSpMkLst>
            <pc:docMk/>
            <pc:sldMk cId="457178272" sldId="2147199693"/>
            <ac:grpSpMk id="14" creationId="{90529053-B6A9-4CB1-B86C-0FA580C34C25}"/>
          </ac:grpSpMkLst>
        </pc:grpChg>
        <pc:picChg chg="add mod ord">
          <ac:chgData name="Schjold, Hanne Røvig" userId="72e82339-bab0-442f-8ca6-e6f386a713ee" providerId="ADAL" clId="{5633FD63-69B2-41DC-A8DB-6848874D8C42}" dt="2023-03-15T13:34:12.232" v="2141" actId="14100"/>
          <ac:picMkLst>
            <pc:docMk/>
            <pc:sldMk cId="457178272" sldId="2147199693"/>
            <ac:picMk id="9" creationId="{2A91B1C1-3BBA-2DDC-3030-6758A9E20218}"/>
          </ac:picMkLst>
        </pc:picChg>
      </pc:sldChg>
      <pc:sldChg chg="addSp modSp new del mod modAnim">
        <pc:chgData name="Schjold, Hanne Røvig" userId="72e82339-bab0-442f-8ca6-e6f386a713ee" providerId="ADAL" clId="{5633FD63-69B2-41DC-A8DB-6848874D8C42}" dt="2023-03-15T10:24:04.732" v="107" actId="47"/>
        <pc:sldMkLst>
          <pc:docMk/>
          <pc:sldMk cId="2767996589" sldId="2147199696"/>
        </pc:sldMkLst>
        <pc:spChg chg="mod">
          <ac:chgData name="Schjold, Hanne Røvig" userId="72e82339-bab0-442f-8ca6-e6f386a713ee" providerId="ADAL" clId="{5633FD63-69B2-41DC-A8DB-6848874D8C42}" dt="2023-03-15T10:22:21.370" v="16" actId="1037"/>
          <ac:spMkLst>
            <pc:docMk/>
            <pc:sldMk cId="2767996589" sldId="2147199696"/>
            <ac:spMk id="2" creationId="{D22CDCFD-454F-4695-27D1-C6A3CA3442DC}"/>
          </ac:spMkLst>
        </pc:spChg>
        <pc:spChg chg="add mod">
          <ac:chgData name="Schjold, Hanne Røvig" userId="72e82339-bab0-442f-8ca6-e6f386a713ee" providerId="ADAL" clId="{5633FD63-69B2-41DC-A8DB-6848874D8C42}" dt="2023-03-15T10:24:02.541" v="106" actId="692"/>
          <ac:spMkLst>
            <pc:docMk/>
            <pc:sldMk cId="2767996589" sldId="2147199696"/>
            <ac:spMk id="7" creationId="{84974FF6-21AC-CD0E-C943-BBE22A3466B2}"/>
          </ac:spMkLst>
        </pc:spChg>
        <pc:spChg chg="add mod">
          <ac:chgData name="Schjold, Hanne Røvig" userId="72e82339-bab0-442f-8ca6-e6f386a713ee" providerId="ADAL" clId="{5633FD63-69B2-41DC-A8DB-6848874D8C42}" dt="2023-03-15T10:24:02.541" v="106" actId="692"/>
          <ac:spMkLst>
            <pc:docMk/>
            <pc:sldMk cId="2767996589" sldId="2147199696"/>
            <ac:spMk id="8" creationId="{DEF588CA-1BE4-1685-30BD-D7622E78E328}"/>
          </ac:spMkLst>
        </pc:spChg>
        <pc:spChg chg="add mod">
          <ac:chgData name="Schjold, Hanne Røvig" userId="72e82339-bab0-442f-8ca6-e6f386a713ee" providerId="ADAL" clId="{5633FD63-69B2-41DC-A8DB-6848874D8C42}" dt="2023-03-15T10:24:02.541" v="106" actId="692"/>
          <ac:spMkLst>
            <pc:docMk/>
            <pc:sldMk cId="2767996589" sldId="2147199696"/>
            <ac:spMk id="9" creationId="{7A98FE58-A65B-DC77-88F5-BCA199566220}"/>
          </ac:spMkLst>
        </pc:spChg>
        <pc:spChg chg="add mod">
          <ac:chgData name="Schjold, Hanne Røvig" userId="72e82339-bab0-442f-8ca6-e6f386a713ee" providerId="ADAL" clId="{5633FD63-69B2-41DC-A8DB-6848874D8C42}" dt="2023-03-15T10:24:02.541" v="106" actId="692"/>
          <ac:spMkLst>
            <pc:docMk/>
            <pc:sldMk cId="2767996589" sldId="2147199696"/>
            <ac:spMk id="10" creationId="{BA9549F2-C6AF-B333-0C5A-DC26889858E0}"/>
          </ac:spMkLst>
        </pc:spChg>
        <pc:spChg chg="add mod">
          <ac:chgData name="Schjold, Hanne Røvig" userId="72e82339-bab0-442f-8ca6-e6f386a713ee" providerId="ADAL" clId="{5633FD63-69B2-41DC-A8DB-6848874D8C42}" dt="2023-03-15T10:23:34" v="103" actId="1038"/>
          <ac:spMkLst>
            <pc:docMk/>
            <pc:sldMk cId="2767996589" sldId="2147199696"/>
            <ac:spMk id="17" creationId="{2F348236-861C-F1AA-305A-0F870E4A446C}"/>
          </ac:spMkLst>
        </pc:spChg>
        <pc:spChg chg="add mod">
          <ac:chgData name="Schjold, Hanne Røvig" userId="72e82339-bab0-442f-8ca6-e6f386a713ee" providerId="ADAL" clId="{5633FD63-69B2-41DC-A8DB-6848874D8C42}" dt="2023-03-15T10:23:34" v="103" actId="1038"/>
          <ac:spMkLst>
            <pc:docMk/>
            <pc:sldMk cId="2767996589" sldId="2147199696"/>
            <ac:spMk id="18" creationId="{6858F8A1-7452-B6B7-479A-3F91E4D91154}"/>
          </ac:spMkLst>
        </pc:spChg>
        <pc:spChg chg="add mod">
          <ac:chgData name="Schjold, Hanne Røvig" userId="72e82339-bab0-442f-8ca6-e6f386a713ee" providerId="ADAL" clId="{5633FD63-69B2-41DC-A8DB-6848874D8C42}" dt="2023-03-15T10:23:34" v="103" actId="1038"/>
          <ac:spMkLst>
            <pc:docMk/>
            <pc:sldMk cId="2767996589" sldId="2147199696"/>
            <ac:spMk id="19" creationId="{15B7CE08-7678-B621-0FC2-CDA321B56588}"/>
          </ac:spMkLst>
        </pc:spChg>
        <pc:spChg chg="add mod">
          <ac:chgData name="Schjold, Hanne Røvig" userId="72e82339-bab0-442f-8ca6-e6f386a713ee" providerId="ADAL" clId="{5633FD63-69B2-41DC-A8DB-6848874D8C42}" dt="2023-03-15T10:23:34" v="103" actId="1038"/>
          <ac:spMkLst>
            <pc:docMk/>
            <pc:sldMk cId="2767996589" sldId="2147199696"/>
            <ac:spMk id="20" creationId="{8AF0E8D6-E201-7035-22F1-471B5E5D24F0}"/>
          </ac:spMkLst>
        </pc:spChg>
        <pc:spChg chg="add mod">
          <ac:chgData name="Schjold, Hanne Røvig" userId="72e82339-bab0-442f-8ca6-e6f386a713ee" providerId="ADAL" clId="{5633FD63-69B2-41DC-A8DB-6848874D8C42}" dt="2023-03-15T10:23:34" v="103" actId="1038"/>
          <ac:spMkLst>
            <pc:docMk/>
            <pc:sldMk cId="2767996589" sldId="2147199696"/>
            <ac:spMk id="21" creationId="{6B2657A3-363A-95A8-30C6-AC221104D2CB}"/>
          </ac:spMkLst>
        </pc:spChg>
        <pc:spChg chg="add mod">
          <ac:chgData name="Schjold, Hanne Røvig" userId="72e82339-bab0-442f-8ca6-e6f386a713ee" providerId="ADAL" clId="{5633FD63-69B2-41DC-A8DB-6848874D8C42}" dt="2023-03-15T10:23:34" v="103" actId="1038"/>
          <ac:spMkLst>
            <pc:docMk/>
            <pc:sldMk cId="2767996589" sldId="2147199696"/>
            <ac:spMk id="22" creationId="{BC47F2EA-3D71-ECFF-367F-B15609F14349}"/>
          </ac:spMkLst>
        </pc:spChg>
        <pc:spChg chg="add mod">
          <ac:chgData name="Schjold, Hanne Røvig" userId="72e82339-bab0-442f-8ca6-e6f386a713ee" providerId="ADAL" clId="{5633FD63-69B2-41DC-A8DB-6848874D8C42}" dt="2023-03-15T10:23:34" v="103" actId="1038"/>
          <ac:spMkLst>
            <pc:docMk/>
            <pc:sldMk cId="2767996589" sldId="2147199696"/>
            <ac:spMk id="23" creationId="{5C1952CA-0D55-C68E-8EF4-D3E2E5A0C3DD}"/>
          </ac:spMkLst>
        </pc:spChg>
        <pc:spChg chg="add mod">
          <ac:chgData name="Schjold, Hanne Røvig" userId="72e82339-bab0-442f-8ca6-e6f386a713ee" providerId="ADAL" clId="{5633FD63-69B2-41DC-A8DB-6848874D8C42}" dt="2023-03-15T10:23:34" v="103" actId="1038"/>
          <ac:spMkLst>
            <pc:docMk/>
            <pc:sldMk cId="2767996589" sldId="2147199696"/>
            <ac:spMk id="24" creationId="{17329D45-6B77-D571-13CE-E2109E5D233B}"/>
          </ac:spMkLst>
        </pc:spChg>
        <pc:spChg chg="add mod">
          <ac:chgData name="Schjold, Hanne Røvig" userId="72e82339-bab0-442f-8ca6-e6f386a713ee" providerId="ADAL" clId="{5633FD63-69B2-41DC-A8DB-6848874D8C42}" dt="2023-03-15T10:23:34" v="103" actId="1038"/>
          <ac:spMkLst>
            <pc:docMk/>
            <pc:sldMk cId="2767996589" sldId="2147199696"/>
            <ac:spMk id="25" creationId="{4D2AAE99-14AD-973D-79FF-4E26DB103264}"/>
          </ac:spMkLst>
        </pc:spChg>
        <pc:spChg chg="add mod">
          <ac:chgData name="Schjold, Hanne Røvig" userId="72e82339-bab0-442f-8ca6-e6f386a713ee" providerId="ADAL" clId="{5633FD63-69B2-41DC-A8DB-6848874D8C42}" dt="2023-03-15T10:23:34" v="103" actId="1038"/>
          <ac:spMkLst>
            <pc:docMk/>
            <pc:sldMk cId="2767996589" sldId="2147199696"/>
            <ac:spMk id="26" creationId="{54B1F252-F5D8-C43C-33BF-8491983273C1}"/>
          </ac:spMkLst>
        </pc:spChg>
        <pc:spChg chg="add mod">
          <ac:chgData name="Schjold, Hanne Røvig" userId="72e82339-bab0-442f-8ca6-e6f386a713ee" providerId="ADAL" clId="{5633FD63-69B2-41DC-A8DB-6848874D8C42}" dt="2023-03-15T10:24:02.541" v="106" actId="692"/>
          <ac:spMkLst>
            <pc:docMk/>
            <pc:sldMk cId="2767996589" sldId="2147199696"/>
            <ac:spMk id="27" creationId="{9214DD0F-BB0E-3954-B6AA-0036311F074D}"/>
          </ac:spMkLst>
        </pc:spChg>
        <pc:picChg chg="add mod">
          <ac:chgData name="Schjold, Hanne Røvig" userId="72e82339-bab0-442f-8ca6-e6f386a713ee" providerId="ADAL" clId="{5633FD63-69B2-41DC-A8DB-6848874D8C42}" dt="2023-03-15T10:24:02.541" v="106" actId="692"/>
          <ac:picMkLst>
            <pc:docMk/>
            <pc:sldMk cId="2767996589" sldId="2147199696"/>
            <ac:picMk id="12" creationId="{B757F89F-A7AA-179E-2353-AE00B07EB951}"/>
          </ac:picMkLst>
        </pc:picChg>
        <pc:picChg chg="add mod">
          <ac:chgData name="Schjold, Hanne Røvig" userId="72e82339-bab0-442f-8ca6-e6f386a713ee" providerId="ADAL" clId="{5633FD63-69B2-41DC-A8DB-6848874D8C42}" dt="2023-03-15T10:24:02.541" v="106" actId="692"/>
          <ac:picMkLst>
            <pc:docMk/>
            <pc:sldMk cId="2767996589" sldId="2147199696"/>
            <ac:picMk id="13" creationId="{F9630B43-7233-A17D-149A-7CFC82476578}"/>
          </ac:picMkLst>
        </pc:picChg>
        <pc:picChg chg="add mod">
          <ac:chgData name="Schjold, Hanne Røvig" userId="72e82339-bab0-442f-8ca6-e6f386a713ee" providerId="ADAL" clId="{5633FD63-69B2-41DC-A8DB-6848874D8C42}" dt="2023-03-15T10:24:02.541" v="106" actId="692"/>
          <ac:picMkLst>
            <pc:docMk/>
            <pc:sldMk cId="2767996589" sldId="2147199696"/>
            <ac:picMk id="14" creationId="{FEBFB095-0129-C75F-8802-8441F1B46B07}"/>
          </ac:picMkLst>
        </pc:picChg>
        <pc:picChg chg="add mod">
          <ac:chgData name="Schjold, Hanne Røvig" userId="72e82339-bab0-442f-8ca6-e6f386a713ee" providerId="ADAL" clId="{5633FD63-69B2-41DC-A8DB-6848874D8C42}" dt="2023-03-15T10:24:02.541" v="106" actId="692"/>
          <ac:picMkLst>
            <pc:docMk/>
            <pc:sldMk cId="2767996589" sldId="2147199696"/>
            <ac:picMk id="15" creationId="{31583A58-158D-E237-2D9F-6CD91477D4FA}"/>
          </ac:picMkLst>
        </pc:picChg>
        <pc:picChg chg="add mod">
          <ac:chgData name="Schjold, Hanne Røvig" userId="72e82339-bab0-442f-8ca6-e6f386a713ee" providerId="ADAL" clId="{5633FD63-69B2-41DC-A8DB-6848874D8C42}" dt="2023-03-15T10:24:02.541" v="106" actId="692"/>
          <ac:picMkLst>
            <pc:docMk/>
            <pc:sldMk cId="2767996589" sldId="2147199696"/>
            <ac:picMk id="16" creationId="{E82D3961-0BBB-0DB6-229D-525E585954F6}"/>
          </ac:picMkLst>
        </pc:picChg>
        <pc:cxnChg chg="add mod">
          <ac:chgData name="Schjold, Hanne Røvig" userId="72e82339-bab0-442f-8ca6-e6f386a713ee" providerId="ADAL" clId="{5633FD63-69B2-41DC-A8DB-6848874D8C42}" dt="2023-03-15T10:23:34" v="103" actId="1038"/>
          <ac:cxnSpMkLst>
            <pc:docMk/>
            <pc:sldMk cId="2767996589" sldId="2147199696"/>
            <ac:cxnSpMk id="3" creationId="{0044A4DA-DDA4-2722-F48E-4B4CAA40F12A}"/>
          </ac:cxnSpMkLst>
        </pc:cxnChg>
        <pc:cxnChg chg="add mod">
          <ac:chgData name="Schjold, Hanne Røvig" userId="72e82339-bab0-442f-8ca6-e6f386a713ee" providerId="ADAL" clId="{5633FD63-69B2-41DC-A8DB-6848874D8C42}" dt="2023-03-15T10:23:34" v="103" actId="1038"/>
          <ac:cxnSpMkLst>
            <pc:docMk/>
            <pc:sldMk cId="2767996589" sldId="2147199696"/>
            <ac:cxnSpMk id="4" creationId="{A360A659-31CE-5D03-F24E-5184192A8E78}"/>
          </ac:cxnSpMkLst>
        </pc:cxnChg>
        <pc:cxnChg chg="add mod">
          <ac:chgData name="Schjold, Hanne Røvig" userId="72e82339-bab0-442f-8ca6-e6f386a713ee" providerId="ADAL" clId="{5633FD63-69B2-41DC-A8DB-6848874D8C42}" dt="2023-03-15T10:23:34" v="103" actId="1038"/>
          <ac:cxnSpMkLst>
            <pc:docMk/>
            <pc:sldMk cId="2767996589" sldId="2147199696"/>
            <ac:cxnSpMk id="5" creationId="{AAB8E752-8B9B-C685-8B07-25F49CF33DA4}"/>
          </ac:cxnSpMkLst>
        </pc:cxnChg>
        <pc:cxnChg chg="add mod">
          <ac:chgData name="Schjold, Hanne Røvig" userId="72e82339-bab0-442f-8ca6-e6f386a713ee" providerId="ADAL" clId="{5633FD63-69B2-41DC-A8DB-6848874D8C42}" dt="2023-03-15T10:23:34" v="103" actId="1038"/>
          <ac:cxnSpMkLst>
            <pc:docMk/>
            <pc:sldMk cId="2767996589" sldId="2147199696"/>
            <ac:cxnSpMk id="6" creationId="{1A300900-A80C-055E-47C1-8445CD0F71C7}"/>
          </ac:cxnSpMkLst>
        </pc:cxnChg>
        <pc:cxnChg chg="add mod">
          <ac:chgData name="Schjold, Hanne Røvig" userId="72e82339-bab0-442f-8ca6-e6f386a713ee" providerId="ADAL" clId="{5633FD63-69B2-41DC-A8DB-6848874D8C42}" dt="2023-03-15T10:23:34" v="103" actId="1038"/>
          <ac:cxnSpMkLst>
            <pc:docMk/>
            <pc:sldMk cId="2767996589" sldId="2147199696"/>
            <ac:cxnSpMk id="11" creationId="{74BF59F9-ABDF-B4BA-397D-C75B290C9F56}"/>
          </ac:cxnSpMkLst>
        </pc:cxnChg>
      </pc:sldChg>
      <pc:sldChg chg="addSp delSp modSp new mod modNotesTx">
        <pc:chgData name="Schjold, Hanne Røvig" userId="72e82339-bab0-442f-8ca6-e6f386a713ee" providerId="ADAL" clId="{5633FD63-69B2-41DC-A8DB-6848874D8C42}" dt="2023-03-15T11:26:35.232" v="263"/>
        <pc:sldMkLst>
          <pc:docMk/>
          <pc:sldMk cId="3566806490" sldId="2147199696"/>
        </pc:sldMkLst>
        <pc:spChg chg="mod">
          <ac:chgData name="Schjold, Hanne Røvig" userId="72e82339-bab0-442f-8ca6-e6f386a713ee" providerId="ADAL" clId="{5633FD63-69B2-41DC-A8DB-6848874D8C42}" dt="2023-03-15T11:26:27.008" v="262" actId="27636"/>
          <ac:spMkLst>
            <pc:docMk/>
            <pc:sldMk cId="3566806490" sldId="2147199696"/>
            <ac:spMk id="2" creationId="{8CAB8E88-5C61-19C1-E2C7-92B5A161A9C7}"/>
          </ac:spMkLst>
        </pc:spChg>
        <pc:spChg chg="del">
          <ac:chgData name="Schjold, Hanne Røvig" userId="72e82339-bab0-442f-8ca6-e6f386a713ee" providerId="ADAL" clId="{5633FD63-69B2-41DC-A8DB-6848874D8C42}" dt="2023-03-15T11:24:46.937" v="233" actId="931"/>
          <ac:spMkLst>
            <pc:docMk/>
            <pc:sldMk cId="3566806490" sldId="2147199696"/>
            <ac:spMk id="3" creationId="{79EE7F03-5DD1-708F-6283-214163FA4BF8}"/>
          </ac:spMkLst>
        </pc:spChg>
        <pc:spChg chg="mod">
          <ac:chgData name="Schjold, Hanne Røvig" userId="72e82339-bab0-442f-8ca6-e6f386a713ee" providerId="ADAL" clId="{5633FD63-69B2-41DC-A8DB-6848874D8C42}" dt="2023-03-15T11:24:30.654" v="232" actId="207"/>
          <ac:spMkLst>
            <pc:docMk/>
            <pc:sldMk cId="3566806490" sldId="2147199696"/>
            <ac:spMk id="4" creationId="{18B6F4AE-E3B4-0721-7E81-5B932246DA7F}"/>
          </ac:spMkLst>
        </pc:spChg>
        <pc:picChg chg="add mod">
          <ac:chgData name="Schjold, Hanne Røvig" userId="72e82339-bab0-442f-8ca6-e6f386a713ee" providerId="ADAL" clId="{5633FD63-69B2-41DC-A8DB-6848874D8C42}" dt="2023-03-15T11:24:48.522" v="235" actId="962"/>
          <ac:picMkLst>
            <pc:docMk/>
            <pc:sldMk cId="3566806490" sldId="2147199696"/>
            <ac:picMk id="6" creationId="{1B87620B-EBB2-253E-70EF-CDDC936267C3}"/>
          </ac:picMkLst>
        </pc:picChg>
      </pc:sldChg>
      <pc:sldChg chg="addSp delSp modSp new mod modNotesTx">
        <pc:chgData name="Schjold, Hanne Røvig" userId="72e82339-bab0-442f-8ca6-e6f386a713ee" providerId="ADAL" clId="{5633FD63-69B2-41DC-A8DB-6848874D8C42}" dt="2023-03-15T11:36:02.095" v="310" actId="1076"/>
        <pc:sldMkLst>
          <pc:docMk/>
          <pc:sldMk cId="3383914499" sldId="2147199697"/>
        </pc:sldMkLst>
        <pc:spChg chg="add mod ord">
          <ac:chgData name="Schjold, Hanne Røvig" userId="72e82339-bab0-442f-8ca6-e6f386a713ee" providerId="ADAL" clId="{5633FD63-69B2-41DC-A8DB-6848874D8C42}" dt="2023-03-15T11:35:08.240" v="301" actId="166"/>
          <ac:spMkLst>
            <pc:docMk/>
            <pc:sldMk cId="3383914499" sldId="2147199697"/>
            <ac:spMk id="4" creationId="{E4B0C42C-2B1F-0DFB-4DDE-443992BAFF4C}"/>
          </ac:spMkLst>
        </pc:spChg>
        <pc:spChg chg="add mod ord">
          <ac:chgData name="Schjold, Hanne Røvig" userId="72e82339-bab0-442f-8ca6-e6f386a713ee" providerId="ADAL" clId="{5633FD63-69B2-41DC-A8DB-6848874D8C42}" dt="2023-03-15T11:30:19.069" v="281" actId="167"/>
          <ac:spMkLst>
            <pc:docMk/>
            <pc:sldMk cId="3383914499" sldId="2147199697"/>
            <ac:spMk id="5" creationId="{4F98A15C-4E76-A838-B12C-5C77D7C9331B}"/>
          </ac:spMkLst>
        </pc:spChg>
        <pc:spChg chg="add mod">
          <ac:chgData name="Schjold, Hanne Røvig" userId="72e82339-bab0-442f-8ca6-e6f386a713ee" providerId="ADAL" clId="{5633FD63-69B2-41DC-A8DB-6848874D8C42}" dt="2023-03-15T11:34:13.132" v="293" actId="14100"/>
          <ac:spMkLst>
            <pc:docMk/>
            <pc:sldMk cId="3383914499" sldId="2147199697"/>
            <ac:spMk id="6" creationId="{56E7B2D1-09DE-2D50-A859-B72F9EC8463E}"/>
          </ac:spMkLst>
        </pc:spChg>
        <pc:spChg chg="add mod ord">
          <ac:chgData name="Schjold, Hanne Røvig" userId="72e82339-bab0-442f-8ca6-e6f386a713ee" providerId="ADAL" clId="{5633FD63-69B2-41DC-A8DB-6848874D8C42}" dt="2023-03-15T11:35:02.677" v="300" actId="171"/>
          <ac:spMkLst>
            <pc:docMk/>
            <pc:sldMk cId="3383914499" sldId="2147199697"/>
            <ac:spMk id="7" creationId="{B5B3ED2B-3E41-F5EF-4F12-278ED481E9D2}"/>
          </ac:spMkLst>
        </pc:spChg>
        <pc:picChg chg="add mod modCrop">
          <ac:chgData name="Schjold, Hanne Røvig" userId="72e82339-bab0-442f-8ca6-e6f386a713ee" providerId="ADAL" clId="{5633FD63-69B2-41DC-A8DB-6848874D8C42}" dt="2023-03-15T11:34:18.950" v="295" actId="1076"/>
          <ac:picMkLst>
            <pc:docMk/>
            <pc:sldMk cId="3383914499" sldId="2147199697"/>
            <ac:picMk id="3" creationId="{D479D3B9-64F0-49F5-5F1A-CBD4233FEBCA}"/>
          </ac:picMkLst>
        </pc:picChg>
        <pc:picChg chg="add del mod">
          <ac:chgData name="Schjold, Hanne Røvig" userId="72e82339-bab0-442f-8ca6-e6f386a713ee" providerId="ADAL" clId="{5633FD63-69B2-41DC-A8DB-6848874D8C42}" dt="2023-03-15T11:35:47.763" v="305" actId="931"/>
          <ac:picMkLst>
            <pc:docMk/>
            <pc:sldMk cId="3383914499" sldId="2147199697"/>
            <ac:picMk id="9" creationId="{5B1432AC-688A-E242-508D-820E4CB7A3A7}"/>
          </ac:picMkLst>
        </pc:picChg>
        <pc:picChg chg="add mod">
          <ac:chgData name="Schjold, Hanne Røvig" userId="72e82339-bab0-442f-8ca6-e6f386a713ee" providerId="ADAL" clId="{5633FD63-69B2-41DC-A8DB-6848874D8C42}" dt="2023-03-15T11:36:02.095" v="310" actId="1076"/>
          <ac:picMkLst>
            <pc:docMk/>
            <pc:sldMk cId="3383914499" sldId="2147199697"/>
            <ac:picMk id="11" creationId="{4F8F05C9-0305-C8E8-5B47-8F7342DC2E5A}"/>
          </ac:picMkLst>
        </pc:picChg>
      </pc:sldChg>
      <pc:sldChg chg="addSp delSp modSp new del mod">
        <pc:chgData name="Schjold, Hanne Røvig" userId="72e82339-bab0-442f-8ca6-e6f386a713ee" providerId="ADAL" clId="{5633FD63-69B2-41DC-A8DB-6848874D8C42}" dt="2023-03-15T12:02:46.413" v="599" actId="680"/>
        <pc:sldMkLst>
          <pc:docMk/>
          <pc:sldMk cId="3034495778" sldId="2147199698"/>
        </pc:sldMkLst>
        <pc:spChg chg="add del">
          <ac:chgData name="Schjold, Hanne Røvig" userId="72e82339-bab0-442f-8ca6-e6f386a713ee" providerId="ADAL" clId="{5633FD63-69B2-41DC-A8DB-6848874D8C42}" dt="2023-03-15T12:02:44.152" v="597" actId="931"/>
          <ac:spMkLst>
            <pc:docMk/>
            <pc:sldMk cId="3034495778" sldId="2147199698"/>
            <ac:spMk id="2" creationId="{75214684-11F7-1736-7F07-680F08BEF110}"/>
          </ac:spMkLst>
        </pc:spChg>
        <pc:spChg chg="mod">
          <ac:chgData name="Schjold, Hanne Røvig" userId="72e82339-bab0-442f-8ca6-e6f386a713ee" providerId="ADAL" clId="{5633FD63-69B2-41DC-A8DB-6848874D8C42}" dt="2023-03-15T12:02:45.482" v="598" actId="1076"/>
          <ac:spMkLst>
            <pc:docMk/>
            <pc:sldMk cId="3034495778" sldId="2147199698"/>
            <ac:spMk id="3" creationId="{8F816C18-DE72-7E23-957B-1CE90CC041AA}"/>
          </ac:spMkLst>
        </pc:spChg>
        <pc:picChg chg="add del mod">
          <ac:chgData name="Schjold, Hanne Røvig" userId="72e82339-bab0-442f-8ca6-e6f386a713ee" providerId="ADAL" clId="{5633FD63-69B2-41DC-A8DB-6848874D8C42}" dt="2023-03-15T12:02:44.152" v="597" actId="931"/>
          <ac:picMkLst>
            <pc:docMk/>
            <pc:sldMk cId="3034495778" sldId="2147199698"/>
            <ac:picMk id="6" creationId="{3FF00799-28A9-8F9D-D82B-A1A97E623AB5}"/>
          </ac:picMkLst>
        </pc:picChg>
      </pc:sldChg>
      <pc:sldChg chg="new del">
        <pc:chgData name="Schjold, Hanne Røvig" userId="72e82339-bab0-442f-8ca6-e6f386a713ee" providerId="ADAL" clId="{5633FD63-69B2-41DC-A8DB-6848874D8C42}" dt="2023-03-15T11:39:37.290" v="341" actId="47"/>
        <pc:sldMkLst>
          <pc:docMk/>
          <pc:sldMk cId="3178734701" sldId="2147199698"/>
        </pc:sldMkLst>
      </pc:sldChg>
      <pc:sldChg chg="addSp delSp modSp new mod modNotesTx">
        <pc:chgData name="Schjold, Hanne Røvig" userId="72e82339-bab0-442f-8ca6-e6f386a713ee" providerId="ADAL" clId="{5633FD63-69B2-41DC-A8DB-6848874D8C42}" dt="2023-03-15T12:24:22.273" v="900"/>
        <pc:sldMkLst>
          <pc:docMk/>
          <pc:sldMk cId="3231242404" sldId="2147199698"/>
        </pc:sldMkLst>
        <pc:spChg chg="add mod ord">
          <ac:chgData name="Schjold, Hanne Røvig" userId="72e82339-bab0-442f-8ca6-e6f386a713ee" providerId="ADAL" clId="{5633FD63-69B2-41DC-A8DB-6848874D8C42}" dt="2023-03-15T12:04:23.990" v="641" actId="207"/>
          <ac:spMkLst>
            <pc:docMk/>
            <pc:sldMk cId="3231242404" sldId="2147199698"/>
            <ac:spMk id="2" creationId="{A3D91D93-C46B-EB73-2813-CEEB875C48CA}"/>
          </ac:spMkLst>
        </pc:spChg>
        <pc:spChg chg="add del mod">
          <ac:chgData name="Schjold, Hanne Røvig" userId="72e82339-bab0-442f-8ca6-e6f386a713ee" providerId="ADAL" clId="{5633FD63-69B2-41DC-A8DB-6848874D8C42}" dt="2023-03-15T12:05:38.136" v="686"/>
          <ac:spMkLst>
            <pc:docMk/>
            <pc:sldMk cId="3231242404" sldId="2147199698"/>
            <ac:spMk id="6" creationId="{30487A21-0668-AA07-379A-D7685E6B34AF}"/>
          </ac:spMkLst>
        </pc:spChg>
        <pc:spChg chg="add mod">
          <ac:chgData name="Schjold, Hanne Røvig" userId="72e82339-bab0-442f-8ca6-e6f386a713ee" providerId="ADAL" clId="{5633FD63-69B2-41DC-A8DB-6848874D8C42}" dt="2023-03-15T12:05:36.535" v="684" actId="1038"/>
          <ac:spMkLst>
            <pc:docMk/>
            <pc:sldMk cId="3231242404" sldId="2147199698"/>
            <ac:spMk id="7" creationId="{1674067F-C975-922D-7329-6B5EB4A89FFD}"/>
          </ac:spMkLst>
        </pc:spChg>
        <pc:picChg chg="add mod">
          <ac:chgData name="Schjold, Hanne Røvig" userId="72e82339-bab0-442f-8ca6-e6f386a713ee" providerId="ADAL" clId="{5633FD63-69B2-41DC-A8DB-6848874D8C42}" dt="2023-03-15T12:03:56.551" v="607" actId="14100"/>
          <ac:picMkLst>
            <pc:docMk/>
            <pc:sldMk cId="3231242404" sldId="2147199698"/>
            <ac:picMk id="4" creationId="{BF128BB2-FB3B-FD1C-38C1-35DC7FD36336}"/>
          </ac:picMkLst>
        </pc:picChg>
      </pc:sldChg>
      <pc:sldChg chg="modSp mod modNotesTx">
        <pc:chgData name="Schjold, Hanne Røvig" userId="72e82339-bab0-442f-8ca6-e6f386a713ee" providerId="ADAL" clId="{5633FD63-69B2-41DC-A8DB-6848874D8C42}" dt="2023-03-15T12:22:24.703" v="874"/>
        <pc:sldMkLst>
          <pc:docMk/>
          <pc:sldMk cId="2665262395" sldId="2147199699"/>
        </pc:sldMkLst>
        <pc:spChg chg="mod">
          <ac:chgData name="Schjold, Hanne Røvig" userId="72e82339-bab0-442f-8ca6-e6f386a713ee" providerId="ADAL" clId="{5633FD63-69B2-41DC-A8DB-6848874D8C42}" dt="2023-03-15T12:12:12.373" v="703" actId="1076"/>
          <ac:spMkLst>
            <pc:docMk/>
            <pc:sldMk cId="2665262395" sldId="2147199699"/>
            <ac:spMk id="7" creationId="{1674067F-C975-922D-7329-6B5EB4A89FFD}"/>
          </ac:spMkLst>
        </pc:spChg>
        <pc:picChg chg="mod">
          <ac:chgData name="Schjold, Hanne Røvig" userId="72e82339-bab0-442f-8ca6-e6f386a713ee" providerId="ADAL" clId="{5633FD63-69B2-41DC-A8DB-6848874D8C42}" dt="2023-03-15T12:12:24.512" v="705" actId="14100"/>
          <ac:picMkLst>
            <pc:docMk/>
            <pc:sldMk cId="2665262395" sldId="2147199699"/>
            <ac:picMk id="4" creationId="{BF128BB2-FB3B-FD1C-38C1-35DC7FD36336}"/>
          </ac:picMkLst>
        </pc:picChg>
      </pc:sldChg>
      <pc:sldChg chg="addSp modSp new mod setBg modNotesTx">
        <pc:chgData name="Schjold, Hanne Røvig" userId="72e82339-bab0-442f-8ca6-e6f386a713ee" providerId="ADAL" clId="{5633FD63-69B2-41DC-A8DB-6848874D8C42}" dt="2023-03-15T12:19:51.465" v="855" actId="14861"/>
        <pc:sldMkLst>
          <pc:docMk/>
          <pc:sldMk cId="1103566599" sldId="2147199700"/>
        </pc:sldMkLst>
        <pc:spChg chg="mod">
          <ac:chgData name="Schjold, Hanne Røvig" userId="72e82339-bab0-442f-8ca6-e6f386a713ee" providerId="ADAL" clId="{5633FD63-69B2-41DC-A8DB-6848874D8C42}" dt="2023-03-15T12:19:21.601" v="850" actId="14100"/>
          <ac:spMkLst>
            <pc:docMk/>
            <pc:sldMk cId="1103566599" sldId="2147199700"/>
            <ac:spMk id="2" creationId="{7403D55B-652F-9869-E2E1-13483CFD6287}"/>
          </ac:spMkLst>
        </pc:spChg>
        <pc:picChg chg="add mod">
          <ac:chgData name="Schjold, Hanne Røvig" userId="72e82339-bab0-442f-8ca6-e6f386a713ee" providerId="ADAL" clId="{5633FD63-69B2-41DC-A8DB-6848874D8C42}" dt="2023-03-15T12:19:51.465" v="855" actId="14861"/>
          <ac:picMkLst>
            <pc:docMk/>
            <pc:sldMk cId="1103566599" sldId="2147199700"/>
            <ac:picMk id="3" creationId="{63AC73ED-4510-E419-1603-1DAA04A287DD}"/>
          </ac:picMkLst>
        </pc:picChg>
        <pc:picChg chg="add mod">
          <ac:chgData name="Schjold, Hanne Røvig" userId="72e82339-bab0-442f-8ca6-e6f386a713ee" providerId="ADAL" clId="{5633FD63-69B2-41DC-A8DB-6848874D8C42}" dt="2023-03-15T12:19:27.353" v="853" actId="1076"/>
          <ac:picMkLst>
            <pc:docMk/>
            <pc:sldMk cId="1103566599" sldId="2147199700"/>
            <ac:picMk id="5" creationId="{19C428FF-E241-8A77-EC91-C4D7FCF875A8}"/>
          </ac:picMkLst>
        </pc:picChg>
      </pc:sldChg>
      <pc:sldChg chg="modSp new mod">
        <pc:chgData name="Schjold, Hanne Røvig" userId="72e82339-bab0-442f-8ca6-e6f386a713ee" providerId="ADAL" clId="{5633FD63-69B2-41DC-A8DB-6848874D8C42}" dt="2023-03-15T12:43:27.246" v="1001" actId="20577"/>
        <pc:sldMkLst>
          <pc:docMk/>
          <pc:sldMk cId="143830795" sldId="2147199701"/>
        </pc:sldMkLst>
        <pc:spChg chg="mod">
          <ac:chgData name="Schjold, Hanne Røvig" userId="72e82339-bab0-442f-8ca6-e6f386a713ee" providerId="ADAL" clId="{5633FD63-69B2-41DC-A8DB-6848874D8C42}" dt="2023-03-15T12:43:27.246" v="1001" actId="20577"/>
          <ac:spMkLst>
            <pc:docMk/>
            <pc:sldMk cId="143830795" sldId="2147199701"/>
            <ac:spMk id="2" creationId="{2BC50123-571E-EADC-49EB-1B077490F82D}"/>
          </ac:spMkLst>
        </pc:spChg>
      </pc:sldChg>
      <pc:sldChg chg="addSp delSp modSp new mod ord delAnim modAnim modNotesTx">
        <pc:chgData name="Schjold, Hanne Røvig" userId="72e82339-bab0-442f-8ca6-e6f386a713ee" providerId="ADAL" clId="{5633FD63-69B2-41DC-A8DB-6848874D8C42}" dt="2023-03-15T14:10:00.771" v="2383"/>
        <pc:sldMkLst>
          <pc:docMk/>
          <pc:sldMk cId="2824427931" sldId="2147199702"/>
        </pc:sldMkLst>
        <pc:spChg chg="mod">
          <ac:chgData name="Schjold, Hanne Røvig" userId="72e82339-bab0-442f-8ca6-e6f386a713ee" providerId="ADAL" clId="{5633FD63-69B2-41DC-A8DB-6848874D8C42}" dt="2023-03-15T12:51:45.714" v="1296" actId="122"/>
          <ac:spMkLst>
            <pc:docMk/>
            <pc:sldMk cId="2824427931" sldId="2147199702"/>
            <ac:spMk id="2" creationId="{46C91869-FC6E-F9F7-26BE-A7828F05E822}"/>
          </ac:spMkLst>
        </pc:spChg>
        <pc:spChg chg="add mod ord">
          <ac:chgData name="Schjold, Hanne Røvig" userId="72e82339-bab0-442f-8ca6-e6f386a713ee" providerId="ADAL" clId="{5633FD63-69B2-41DC-A8DB-6848874D8C42}" dt="2023-03-15T14:05:55.555" v="2341" actId="167"/>
          <ac:spMkLst>
            <pc:docMk/>
            <pc:sldMk cId="2824427931" sldId="2147199702"/>
            <ac:spMk id="3" creationId="{ED65D229-94F5-BEB0-3913-48308309B41F}"/>
          </ac:spMkLst>
        </pc:spChg>
        <pc:spChg chg="add mod ord">
          <ac:chgData name="Schjold, Hanne Røvig" userId="72e82339-bab0-442f-8ca6-e6f386a713ee" providerId="ADAL" clId="{5633FD63-69B2-41DC-A8DB-6848874D8C42}" dt="2023-03-15T14:08:46.221" v="2370" actId="1076"/>
          <ac:spMkLst>
            <pc:docMk/>
            <pc:sldMk cId="2824427931" sldId="2147199702"/>
            <ac:spMk id="7" creationId="{1BC03A9C-EDCF-2C2B-A5AA-460CE20819EB}"/>
          </ac:spMkLst>
        </pc:spChg>
        <pc:spChg chg="add mod">
          <ac:chgData name="Schjold, Hanne Røvig" userId="72e82339-bab0-442f-8ca6-e6f386a713ee" providerId="ADAL" clId="{5633FD63-69B2-41DC-A8DB-6848874D8C42}" dt="2023-03-15T12:52:16.453" v="1315" actId="6549"/>
          <ac:spMkLst>
            <pc:docMk/>
            <pc:sldMk cId="2824427931" sldId="2147199702"/>
            <ac:spMk id="8" creationId="{A27C869E-3A71-320A-710D-A3E3A9603F57}"/>
          </ac:spMkLst>
        </pc:spChg>
        <pc:spChg chg="add mod ord">
          <ac:chgData name="Schjold, Hanne Røvig" userId="72e82339-bab0-442f-8ca6-e6f386a713ee" providerId="ADAL" clId="{5633FD63-69B2-41DC-A8DB-6848874D8C42}" dt="2023-03-15T14:06:04.941" v="2344" actId="1076"/>
          <ac:spMkLst>
            <pc:docMk/>
            <pc:sldMk cId="2824427931" sldId="2147199702"/>
            <ac:spMk id="9" creationId="{91083EBB-5D0C-0981-A1A1-2D65B89165DE}"/>
          </ac:spMkLst>
        </pc:spChg>
        <pc:spChg chg="add del mod">
          <ac:chgData name="Schjold, Hanne Røvig" userId="72e82339-bab0-442f-8ca6-e6f386a713ee" providerId="ADAL" clId="{5633FD63-69B2-41DC-A8DB-6848874D8C42}" dt="2023-03-15T12:49:14.711" v="1159" actId="478"/>
          <ac:spMkLst>
            <pc:docMk/>
            <pc:sldMk cId="2824427931" sldId="2147199702"/>
            <ac:spMk id="9" creationId="{F8409E9D-7338-98FA-21EE-220C32B02023}"/>
          </ac:spMkLst>
        </pc:spChg>
        <pc:spChg chg="add mod">
          <ac:chgData name="Schjold, Hanne Røvig" userId="72e82339-bab0-442f-8ca6-e6f386a713ee" providerId="ADAL" clId="{5633FD63-69B2-41DC-A8DB-6848874D8C42}" dt="2023-03-15T12:50:58.067" v="1289" actId="20577"/>
          <ac:spMkLst>
            <pc:docMk/>
            <pc:sldMk cId="2824427931" sldId="2147199702"/>
            <ac:spMk id="10" creationId="{F1B23065-C507-637D-E604-B796DA28BEC5}"/>
          </ac:spMkLst>
        </pc:spChg>
        <pc:spChg chg="add del mod">
          <ac:chgData name="Schjold, Hanne Røvig" userId="72e82339-bab0-442f-8ca6-e6f386a713ee" providerId="ADAL" clId="{5633FD63-69B2-41DC-A8DB-6848874D8C42}" dt="2023-03-15T12:49:13.087" v="1158" actId="478"/>
          <ac:spMkLst>
            <pc:docMk/>
            <pc:sldMk cId="2824427931" sldId="2147199702"/>
            <ac:spMk id="11" creationId="{39DCFB78-532C-02D5-912B-D308779F287E}"/>
          </ac:spMkLst>
        </pc:spChg>
        <pc:spChg chg="add mod ord">
          <ac:chgData name="Schjold, Hanne Røvig" userId="72e82339-bab0-442f-8ca6-e6f386a713ee" providerId="ADAL" clId="{5633FD63-69B2-41DC-A8DB-6848874D8C42}" dt="2023-03-15T14:08:31.246" v="2368" actId="1036"/>
          <ac:spMkLst>
            <pc:docMk/>
            <pc:sldMk cId="2824427931" sldId="2147199702"/>
            <ac:spMk id="11" creationId="{6DA13C84-9374-83A3-3DAF-DB4348B1633E}"/>
          </ac:spMkLst>
        </pc:spChg>
        <pc:spChg chg="add mod">
          <ac:chgData name="Schjold, Hanne Røvig" userId="72e82339-bab0-442f-8ca6-e6f386a713ee" providerId="ADAL" clId="{5633FD63-69B2-41DC-A8DB-6848874D8C42}" dt="2023-03-15T12:50:37.613" v="1284" actId="113"/>
          <ac:spMkLst>
            <pc:docMk/>
            <pc:sldMk cId="2824427931" sldId="2147199702"/>
            <ac:spMk id="12" creationId="{B59AF62A-1AEA-568F-DA03-8A3458FB8C67}"/>
          </ac:spMkLst>
        </pc:spChg>
        <pc:spChg chg="add mod">
          <ac:chgData name="Schjold, Hanne Røvig" userId="72e82339-bab0-442f-8ca6-e6f386a713ee" providerId="ADAL" clId="{5633FD63-69B2-41DC-A8DB-6848874D8C42}" dt="2023-03-15T14:08:18.368" v="2365" actId="1076"/>
          <ac:spMkLst>
            <pc:docMk/>
            <pc:sldMk cId="2824427931" sldId="2147199702"/>
            <ac:spMk id="13" creationId="{761B9B07-C4FA-5B41-7C28-19338CF06DEB}"/>
          </ac:spMkLst>
        </pc:spChg>
        <pc:spChg chg="add mod">
          <ac:chgData name="Schjold, Hanne Røvig" userId="72e82339-bab0-442f-8ca6-e6f386a713ee" providerId="ADAL" clId="{5633FD63-69B2-41DC-A8DB-6848874D8C42}" dt="2023-03-15T14:08:03.253" v="2361" actId="1076"/>
          <ac:spMkLst>
            <pc:docMk/>
            <pc:sldMk cId="2824427931" sldId="2147199702"/>
            <ac:spMk id="14" creationId="{BCCC99D0-7187-88BE-AB4F-FD3117A1D21D}"/>
          </ac:spMkLst>
        </pc:spChg>
        <pc:spChg chg="add del mod">
          <ac:chgData name="Schjold, Hanne Røvig" userId="72e82339-bab0-442f-8ca6-e6f386a713ee" providerId="ADAL" clId="{5633FD63-69B2-41DC-A8DB-6848874D8C42}" dt="2023-03-15T12:49:16.510" v="1160" actId="478"/>
          <ac:spMkLst>
            <pc:docMk/>
            <pc:sldMk cId="2824427931" sldId="2147199702"/>
            <ac:spMk id="17" creationId="{B29A0C1A-7441-2344-BC2A-19617BEEBAD3}"/>
          </ac:spMkLst>
        </pc:spChg>
        <pc:spChg chg="add mod">
          <ac:chgData name="Schjold, Hanne Røvig" userId="72e82339-bab0-442f-8ca6-e6f386a713ee" providerId="ADAL" clId="{5633FD63-69B2-41DC-A8DB-6848874D8C42}" dt="2023-03-15T12:51:09.336" v="1290" actId="14100"/>
          <ac:spMkLst>
            <pc:docMk/>
            <pc:sldMk cId="2824427931" sldId="2147199702"/>
            <ac:spMk id="18" creationId="{FF3A6B70-B518-9520-BE1E-0A2279A58ECE}"/>
          </ac:spMkLst>
        </pc:spChg>
        <pc:spChg chg="add mod ord">
          <ac:chgData name="Schjold, Hanne Røvig" userId="72e82339-bab0-442f-8ca6-e6f386a713ee" providerId="ADAL" clId="{5633FD63-69B2-41DC-A8DB-6848874D8C42}" dt="2023-03-15T14:09:00.011" v="2373" actId="1035"/>
          <ac:spMkLst>
            <pc:docMk/>
            <pc:sldMk cId="2824427931" sldId="2147199702"/>
            <ac:spMk id="19" creationId="{A7B6FB02-64EA-D9CC-0E6E-24F66F7A4FF2}"/>
          </ac:spMkLst>
        </pc:spChg>
        <pc:spChg chg="add mod ord">
          <ac:chgData name="Schjold, Hanne Røvig" userId="72e82339-bab0-442f-8ca6-e6f386a713ee" providerId="ADAL" clId="{5633FD63-69B2-41DC-A8DB-6848874D8C42}" dt="2023-03-15T14:09:07.031" v="2379" actId="1035"/>
          <ac:spMkLst>
            <pc:docMk/>
            <pc:sldMk cId="2824427931" sldId="2147199702"/>
            <ac:spMk id="20" creationId="{1BC76000-5E36-0C12-1DB0-284C8D6AF07E}"/>
          </ac:spMkLst>
        </pc:spChg>
        <pc:spChg chg="add mod ord">
          <ac:chgData name="Schjold, Hanne Røvig" userId="72e82339-bab0-442f-8ca6-e6f386a713ee" providerId="ADAL" clId="{5633FD63-69B2-41DC-A8DB-6848874D8C42}" dt="2023-03-15T14:09:17.504" v="2382" actId="14100"/>
          <ac:spMkLst>
            <pc:docMk/>
            <pc:sldMk cId="2824427931" sldId="2147199702"/>
            <ac:spMk id="21" creationId="{1177D11E-423A-73C6-5ECC-7D7C0CDFC188}"/>
          </ac:spMkLst>
        </pc:spChg>
        <pc:picChg chg="add del mod">
          <ac:chgData name="Schjold, Hanne Røvig" userId="72e82339-bab0-442f-8ca6-e6f386a713ee" providerId="ADAL" clId="{5633FD63-69B2-41DC-A8DB-6848874D8C42}" dt="2023-03-15T14:06:57.971" v="2346" actId="478"/>
          <ac:picMkLst>
            <pc:docMk/>
            <pc:sldMk cId="2824427931" sldId="2147199702"/>
            <ac:picMk id="4" creationId="{26987D34-6D94-2E37-09D9-FFEBDA6C5317}"/>
          </ac:picMkLst>
        </pc:picChg>
        <pc:picChg chg="add del mod">
          <ac:chgData name="Schjold, Hanne Røvig" userId="72e82339-bab0-442f-8ca6-e6f386a713ee" providerId="ADAL" clId="{5633FD63-69B2-41DC-A8DB-6848874D8C42}" dt="2023-03-15T14:06:59.293" v="2347" actId="478"/>
          <ac:picMkLst>
            <pc:docMk/>
            <pc:sldMk cId="2824427931" sldId="2147199702"/>
            <ac:picMk id="5" creationId="{698EB176-4D93-5F4E-260C-ACC80DC4AA4B}"/>
          </ac:picMkLst>
        </pc:picChg>
        <pc:picChg chg="add del mod">
          <ac:chgData name="Schjold, Hanne Røvig" userId="72e82339-bab0-442f-8ca6-e6f386a713ee" providerId="ADAL" clId="{5633FD63-69B2-41DC-A8DB-6848874D8C42}" dt="2023-03-15T14:07:00.100" v="2348" actId="478"/>
          <ac:picMkLst>
            <pc:docMk/>
            <pc:sldMk cId="2824427931" sldId="2147199702"/>
            <ac:picMk id="6" creationId="{863DFDA2-2FB4-F737-7714-7E5CF365A78E}"/>
          </ac:picMkLst>
        </pc:picChg>
        <pc:picChg chg="add del mod">
          <ac:chgData name="Schjold, Hanne Røvig" userId="72e82339-bab0-442f-8ca6-e6f386a713ee" providerId="ADAL" clId="{5633FD63-69B2-41DC-A8DB-6848874D8C42}" dt="2023-03-15T12:45:49.757" v="1059" actId="478"/>
          <ac:picMkLst>
            <pc:docMk/>
            <pc:sldMk cId="2824427931" sldId="2147199702"/>
            <ac:picMk id="13" creationId="{2A52C27D-5238-445B-73E1-A17D9EC3BE47}"/>
          </ac:picMkLst>
        </pc:picChg>
        <pc:picChg chg="add del mod">
          <ac:chgData name="Schjold, Hanne Røvig" userId="72e82339-bab0-442f-8ca6-e6f386a713ee" providerId="ADAL" clId="{5633FD63-69B2-41DC-A8DB-6848874D8C42}" dt="2023-03-15T12:45:50.520" v="1060" actId="478"/>
          <ac:picMkLst>
            <pc:docMk/>
            <pc:sldMk cId="2824427931" sldId="2147199702"/>
            <ac:picMk id="14" creationId="{411251A2-FF9A-529A-733E-83FDBCB35E33}"/>
          </ac:picMkLst>
        </pc:picChg>
        <pc:picChg chg="add del mod">
          <ac:chgData name="Schjold, Hanne Røvig" userId="72e82339-bab0-442f-8ca6-e6f386a713ee" providerId="ADAL" clId="{5633FD63-69B2-41DC-A8DB-6848874D8C42}" dt="2023-03-15T12:45:51.469" v="1061" actId="478"/>
          <ac:picMkLst>
            <pc:docMk/>
            <pc:sldMk cId="2824427931" sldId="2147199702"/>
            <ac:picMk id="15" creationId="{EA3E33D5-2785-8B4B-8F1D-0B2C9A318B02}"/>
          </ac:picMkLst>
        </pc:picChg>
        <pc:picChg chg="add del mod">
          <ac:chgData name="Schjold, Hanne Røvig" userId="72e82339-bab0-442f-8ca6-e6f386a713ee" providerId="ADAL" clId="{5633FD63-69B2-41DC-A8DB-6848874D8C42}" dt="2023-03-15T14:05:40.269" v="2338" actId="478"/>
          <ac:picMkLst>
            <pc:docMk/>
            <pc:sldMk cId="2824427931" sldId="2147199702"/>
            <ac:picMk id="16" creationId="{F8D286E3-0E64-28AF-B37D-FBFD453D437C}"/>
          </ac:picMkLst>
        </pc:picChg>
      </pc:sldChg>
      <pc:sldChg chg="del">
        <pc:chgData name="Schjold, Hanne Røvig" userId="72e82339-bab0-442f-8ca6-e6f386a713ee" providerId="ADAL" clId="{5633FD63-69B2-41DC-A8DB-6848874D8C42}" dt="2023-03-15T12:53:07.066" v="1316" actId="47"/>
        <pc:sldMkLst>
          <pc:docMk/>
          <pc:sldMk cId="494850982" sldId="2147199703"/>
        </pc:sldMkLst>
      </pc:sldChg>
      <pc:sldChg chg="modSp mod setBg">
        <pc:chgData name="Schjold, Hanne Røvig" userId="72e82339-bab0-442f-8ca6-e6f386a713ee" providerId="ADAL" clId="{5633FD63-69B2-41DC-A8DB-6848874D8C42}" dt="2023-03-15T12:56:25.720" v="1431" actId="1037"/>
        <pc:sldMkLst>
          <pc:docMk/>
          <pc:sldMk cId="3098349971" sldId="2147199703"/>
        </pc:sldMkLst>
        <pc:spChg chg="mod">
          <ac:chgData name="Schjold, Hanne Røvig" userId="72e82339-bab0-442f-8ca6-e6f386a713ee" providerId="ADAL" clId="{5633FD63-69B2-41DC-A8DB-6848874D8C42}" dt="2023-03-15T12:56:18.266" v="1409" actId="14100"/>
          <ac:spMkLst>
            <pc:docMk/>
            <pc:sldMk cId="3098349971" sldId="2147199703"/>
            <ac:spMk id="2" creationId="{B1A0F8A3-CC91-D945-A929-0ABD25CDE164}"/>
          </ac:spMkLst>
        </pc:spChg>
        <pc:spChg chg="mod">
          <ac:chgData name="Schjold, Hanne Røvig" userId="72e82339-bab0-442f-8ca6-e6f386a713ee" providerId="ADAL" clId="{5633FD63-69B2-41DC-A8DB-6848874D8C42}" dt="2023-03-15T12:56:25.720" v="1431" actId="1037"/>
          <ac:spMkLst>
            <pc:docMk/>
            <pc:sldMk cId="3098349971" sldId="2147199703"/>
            <ac:spMk id="4" creationId="{99B6815F-7717-442C-973F-093B42E688A0}"/>
          </ac:spMkLst>
        </pc:spChg>
      </pc:sldChg>
      <pc:sldChg chg="addSp delSp modSp new mod ord">
        <pc:chgData name="Schjold, Hanne Røvig" userId="72e82339-bab0-442f-8ca6-e6f386a713ee" providerId="ADAL" clId="{5633FD63-69B2-41DC-A8DB-6848874D8C42}" dt="2023-03-15T13:25:11.671" v="2029" actId="478"/>
        <pc:sldMkLst>
          <pc:docMk/>
          <pc:sldMk cId="3884299006" sldId="2147199704"/>
        </pc:sldMkLst>
        <pc:spChg chg="mod">
          <ac:chgData name="Schjold, Hanne Røvig" userId="72e82339-bab0-442f-8ca6-e6f386a713ee" providerId="ADAL" clId="{5633FD63-69B2-41DC-A8DB-6848874D8C42}" dt="2023-03-15T13:23:24.537" v="2003" actId="20577"/>
          <ac:spMkLst>
            <pc:docMk/>
            <pc:sldMk cId="3884299006" sldId="2147199704"/>
            <ac:spMk id="2" creationId="{C4F2055E-0A87-2278-2136-EB43747949F9}"/>
          </ac:spMkLst>
        </pc:spChg>
        <pc:spChg chg="add mod">
          <ac:chgData name="Schjold, Hanne Røvig" userId="72e82339-bab0-442f-8ca6-e6f386a713ee" providerId="ADAL" clId="{5633FD63-69B2-41DC-A8DB-6848874D8C42}" dt="2023-03-15T13:23:07.305" v="1990" actId="207"/>
          <ac:spMkLst>
            <pc:docMk/>
            <pc:sldMk cId="3884299006" sldId="2147199704"/>
            <ac:spMk id="3" creationId="{7F51C252-81AA-A99B-C977-BB53BCE3C9A7}"/>
          </ac:spMkLst>
        </pc:spChg>
        <pc:spChg chg="add mod">
          <ac:chgData name="Schjold, Hanne Røvig" userId="72e82339-bab0-442f-8ca6-e6f386a713ee" providerId="ADAL" clId="{5633FD63-69B2-41DC-A8DB-6848874D8C42}" dt="2023-03-15T13:23:07.305" v="1990" actId="207"/>
          <ac:spMkLst>
            <pc:docMk/>
            <pc:sldMk cId="3884299006" sldId="2147199704"/>
            <ac:spMk id="4" creationId="{47969060-D8AC-3902-0C6F-BC2AEFB1F2BB}"/>
          </ac:spMkLst>
        </pc:spChg>
        <pc:spChg chg="add mod">
          <ac:chgData name="Schjold, Hanne Røvig" userId="72e82339-bab0-442f-8ca6-e6f386a713ee" providerId="ADAL" clId="{5633FD63-69B2-41DC-A8DB-6848874D8C42}" dt="2023-03-15T13:23:07.305" v="1990" actId="207"/>
          <ac:spMkLst>
            <pc:docMk/>
            <pc:sldMk cId="3884299006" sldId="2147199704"/>
            <ac:spMk id="5" creationId="{214EFF52-8E0C-36F5-5500-7B8491B058CC}"/>
          </ac:spMkLst>
        </pc:spChg>
        <pc:spChg chg="add mod">
          <ac:chgData name="Schjold, Hanne Røvig" userId="72e82339-bab0-442f-8ca6-e6f386a713ee" providerId="ADAL" clId="{5633FD63-69B2-41DC-A8DB-6848874D8C42}" dt="2023-03-15T13:23:07.305" v="1990" actId="207"/>
          <ac:spMkLst>
            <pc:docMk/>
            <pc:sldMk cId="3884299006" sldId="2147199704"/>
            <ac:spMk id="6" creationId="{242FA707-17FD-D3C7-09C4-16528515255B}"/>
          </ac:spMkLst>
        </pc:spChg>
        <pc:spChg chg="add mod">
          <ac:chgData name="Schjold, Hanne Røvig" userId="72e82339-bab0-442f-8ca6-e6f386a713ee" providerId="ADAL" clId="{5633FD63-69B2-41DC-A8DB-6848874D8C42}" dt="2023-03-15T13:23:07.305" v="1990" actId="207"/>
          <ac:spMkLst>
            <pc:docMk/>
            <pc:sldMk cId="3884299006" sldId="2147199704"/>
            <ac:spMk id="7" creationId="{D2888E75-C5E0-3E84-D150-BE12B6FB8196}"/>
          </ac:spMkLst>
        </pc:spChg>
        <pc:spChg chg="add mod">
          <ac:chgData name="Schjold, Hanne Røvig" userId="72e82339-bab0-442f-8ca6-e6f386a713ee" providerId="ADAL" clId="{5633FD63-69B2-41DC-A8DB-6848874D8C42}" dt="2023-03-15T13:23:07.305" v="1990" actId="207"/>
          <ac:spMkLst>
            <pc:docMk/>
            <pc:sldMk cId="3884299006" sldId="2147199704"/>
            <ac:spMk id="8" creationId="{2217EEB2-9BC9-DD55-1646-319213099D7B}"/>
          </ac:spMkLst>
        </pc:spChg>
        <pc:spChg chg="add mod">
          <ac:chgData name="Schjold, Hanne Røvig" userId="72e82339-bab0-442f-8ca6-e6f386a713ee" providerId="ADAL" clId="{5633FD63-69B2-41DC-A8DB-6848874D8C42}" dt="2023-03-15T13:23:07.305" v="1990" actId="207"/>
          <ac:spMkLst>
            <pc:docMk/>
            <pc:sldMk cId="3884299006" sldId="2147199704"/>
            <ac:spMk id="9" creationId="{F9D73AE1-AB5C-2D31-CCFE-C7EFF052C879}"/>
          </ac:spMkLst>
        </pc:spChg>
        <pc:spChg chg="add mod">
          <ac:chgData name="Schjold, Hanne Røvig" userId="72e82339-bab0-442f-8ca6-e6f386a713ee" providerId="ADAL" clId="{5633FD63-69B2-41DC-A8DB-6848874D8C42}" dt="2023-03-15T13:23:07.305" v="1990" actId="207"/>
          <ac:spMkLst>
            <pc:docMk/>
            <pc:sldMk cId="3884299006" sldId="2147199704"/>
            <ac:spMk id="10" creationId="{8FBD8878-F9BF-18E8-9AC0-4CC68939B12D}"/>
          </ac:spMkLst>
        </pc:spChg>
        <pc:spChg chg="add del mod">
          <ac:chgData name="Schjold, Hanne Røvig" userId="72e82339-bab0-442f-8ca6-e6f386a713ee" providerId="ADAL" clId="{5633FD63-69B2-41DC-A8DB-6848874D8C42}" dt="2023-03-15T13:24:18.890" v="2013" actId="478"/>
          <ac:spMkLst>
            <pc:docMk/>
            <pc:sldMk cId="3884299006" sldId="2147199704"/>
            <ac:spMk id="11" creationId="{415A0A15-35D4-3917-ADC6-D84B89919BFF}"/>
          </ac:spMkLst>
        </pc:spChg>
        <pc:spChg chg="add mod">
          <ac:chgData name="Schjold, Hanne Røvig" userId="72e82339-bab0-442f-8ca6-e6f386a713ee" providerId="ADAL" clId="{5633FD63-69B2-41DC-A8DB-6848874D8C42}" dt="2023-03-15T13:23:07.305" v="1990" actId="207"/>
          <ac:spMkLst>
            <pc:docMk/>
            <pc:sldMk cId="3884299006" sldId="2147199704"/>
            <ac:spMk id="12" creationId="{3F41CF89-332A-5CD5-5EF3-DB154D5BA520}"/>
          </ac:spMkLst>
        </pc:spChg>
        <pc:spChg chg="add mod">
          <ac:chgData name="Schjold, Hanne Røvig" userId="72e82339-bab0-442f-8ca6-e6f386a713ee" providerId="ADAL" clId="{5633FD63-69B2-41DC-A8DB-6848874D8C42}" dt="2023-03-15T13:23:15.367" v="1992" actId="6549"/>
          <ac:spMkLst>
            <pc:docMk/>
            <pc:sldMk cId="3884299006" sldId="2147199704"/>
            <ac:spMk id="17" creationId="{C8423F91-8003-DC97-8356-1FDBC1B01E0D}"/>
          </ac:spMkLst>
        </pc:spChg>
        <pc:spChg chg="add del mod">
          <ac:chgData name="Schjold, Hanne Røvig" userId="72e82339-bab0-442f-8ca6-e6f386a713ee" providerId="ADAL" clId="{5633FD63-69B2-41DC-A8DB-6848874D8C42}" dt="2023-03-15T13:22:12.032" v="1977" actId="478"/>
          <ac:spMkLst>
            <pc:docMk/>
            <pc:sldMk cId="3884299006" sldId="2147199704"/>
            <ac:spMk id="18" creationId="{D9E5D323-82A0-F086-8ACE-E14B7A9BC194}"/>
          </ac:spMkLst>
        </pc:spChg>
        <pc:spChg chg="add del mod">
          <ac:chgData name="Schjold, Hanne Røvig" userId="72e82339-bab0-442f-8ca6-e6f386a713ee" providerId="ADAL" clId="{5633FD63-69B2-41DC-A8DB-6848874D8C42}" dt="2023-03-15T13:22:13.733" v="1978" actId="478"/>
          <ac:spMkLst>
            <pc:docMk/>
            <pc:sldMk cId="3884299006" sldId="2147199704"/>
            <ac:spMk id="19" creationId="{40107035-F0BE-EF92-5ECD-B242CAC3EDEE}"/>
          </ac:spMkLst>
        </pc:spChg>
        <pc:spChg chg="add del mod">
          <ac:chgData name="Schjold, Hanne Røvig" userId="72e82339-bab0-442f-8ca6-e6f386a713ee" providerId="ADAL" clId="{5633FD63-69B2-41DC-A8DB-6848874D8C42}" dt="2023-03-15T13:22:15.290" v="1979" actId="478"/>
          <ac:spMkLst>
            <pc:docMk/>
            <pc:sldMk cId="3884299006" sldId="2147199704"/>
            <ac:spMk id="20" creationId="{ABFA0249-3F8E-07FD-1E27-8DB63535701A}"/>
          </ac:spMkLst>
        </pc:spChg>
        <pc:spChg chg="add del mod">
          <ac:chgData name="Schjold, Hanne Røvig" userId="72e82339-bab0-442f-8ca6-e6f386a713ee" providerId="ADAL" clId="{5633FD63-69B2-41DC-A8DB-6848874D8C42}" dt="2023-03-15T13:22:17.509" v="1980" actId="478"/>
          <ac:spMkLst>
            <pc:docMk/>
            <pc:sldMk cId="3884299006" sldId="2147199704"/>
            <ac:spMk id="21" creationId="{7A17E4B1-9E9A-D218-83A8-34170295CE8C}"/>
          </ac:spMkLst>
        </pc:spChg>
        <pc:spChg chg="add del mod">
          <ac:chgData name="Schjold, Hanne Røvig" userId="72e82339-bab0-442f-8ca6-e6f386a713ee" providerId="ADAL" clId="{5633FD63-69B2-41DC-A8DB-6848874D8C42}" dt="2023-03-15T13:22:19.507" v="1981" actId="478"/>
          <ac:spMkLst>
            <pc:docMk/>
            <pc:sldMk cId="3884299006" sldId="2147199704"/>
            <ac:spMk id="22" creationId="{C50A001C-EC33-D735-EDE7-41A75E3255C9}"/>
          </ac:spMkLst>
        </pc:spChg>
        <pc:spChg chg="add mod">
          <ac:chgData name="Schjold, Hanne Røvig" userId="72e82339-bab0-442f-8ca6-e6f386a713ee" providerId="ADAL" clId="{5633FD63-69B2-41DC-A8DB-6848874D8C42}" dt="2023-03-15T13:23:07.305" v="1990" actId="207"/>
          <ac:spMkLst>
            <pc:docMk/>
            <pc:sldMk cId="3884299006" sldId="2147199704"/>
            <ac:spMk id="23" creationId="{388FF8DC-4585-0B6E-8825-5F22ED0D1882}"/>
          </ac:spMkLst>
        </pc:spChg>
        <pc:spChg chg="add mod">
          <ac:chgData name="Schjold, Hanne Røvig" userId="72e82339-bab0-442f-8ca6-e6f386a713ee" providerId="ADAL" clId="{5633FD63-69B2-41DC-A8DB-6848874D8C42}" dt="2023-03-15T13:23:07.305" v="1990" actId="207"/>
          <ac:spMkLst>
            <pc:docMk/>
            <pc:sldMk cId="3884299006" sldId="2147199704"/>
            <ac:spMk id="24" creationId="{0DC7C564-2626-4D09-A76E-CBF26495C573}"/>
          </ac:spMkLst>
        </pc:spChg>
        <pc:spChg chg="mod">
          <ac:chgData name="Schjold, Hanne Røvig" userId="72e82339-bab0-442f-8ca6-e6f386a713ee" providerId="ADAL" clId="{5633FD63-69B2-41DC-A8DB-6848874D8C42}" dt="2023-03-15T13:17:19.785" v="1686" actId="1038"/>
          <ac:spMkLst>
            <pc:docMk/>
            <pc:sldMk cId="3884299006" sldId="2147199704"/>
            <ac:spMk id="26" creationId="{15C216B6-1D95-A3B1-7348-192D72976509}"/>
          </ac:spMkLst>
        </pc:spChg>
        <pc:spChg chg="mod">
          <ac:chgData name="Schjold, Hanne Røvig" userId="72e82339-bab0-442f-8ca6-e6f386a713ee" providerId="ADAL" clId="{5633FD63-69B2-41DC-A8DB-6848874D8C42}" dt="2023-03-15T13:17:19.785" v="1686" actId="1038"/>
          <ac:spMkLst>
            <pc:docMk/>
            <pc:sldMk cId="3884299006" sldId="2147199704"/>
            <ac:spMk id="27" creationId="{97C5DD1E-ADEE-A078-BABA-788C01D97C0D}"/>
          </ac:spMkLst>
        </pc:spChg>
        <pc:spChg chg="mod">
          <ac:chgData name="Schjold, Hanne Røvig" userId="72e82339-bab0-442f-8ca6-e6f386a713ee" providerId="ADAL" clId="{5633FD63-69B2-41DC-A8DB-6848874D8C42}" dt="2023-03-15T13:17:19.785" v="1686" actId="1038"/>
          <ac:spMkLst>
            <pc:docMk/>
            <pc:sldMk cId="3884299006" sldId="2147199704"/>
            <ac:spMk id="29" creationId="{5A6A2856-5C21-9A99-58C0-EDBBF914E209}"/>
          </ac:spMkLst>
        </pc:spChg>
        <pc:spChg chg="mod">
          <ac:chgData name="Schjold, Hanne Røvig" userId="72e82339-bab0-442f-8ca6-e6f386a713ee" providerId="ADAL" clId="{5633FD63-69B2-41DC-A8DB-6848874D8C42}" dt="2023-03-15T13:17:19.785" v="1686" actId="1038"/>
          <ac:spMkLst>
            <pc:docMk/>
            <pc:sldMk cId="3884299006" sldId="2147199704"/>
            <ac:spMk id="30" creationId="{41553323-878A-84E1-B4E3-28CAC21F2EC8}"/>
          </ac:spMkLst>
        </pc:spChg>
        <pc:spChg chg="mod">
          <ac:chgData name="Schjold, Hanne Røvig" userId="72e82339-bab0-442f-8ca6-e6f386a713ee" providerId="ADAL" clId="{5633FD63-69B2-41DC-A8DB-6848874D8C42}" dt="2023-03-15T13:17:19.785" v="1686" actId="1038"/>
          <ac:spMkLst>
            <pc:docMk/>
            <pc:sldMk cId="3884299006" sldId="2147199704"/>
            <ac:spMk id="31" creationId="{A554DC6A-C92F-A7D0-969D-F29B438E0F91}"/>
          </ac:spMkLst>
        </pc:spChg>
        <pc:spChg chg="mod">
          <ac:chgData name="Schjold, Hanne Røvig" userId="72e82339-bab0-442f-8ca6-e6f386a713ee" providerId="ADAL" clId="{5633FD63-69B2-41DC-A8DB-6848874D8C42}" dt="2023-03-15T13:17:19.785" v="1686" actId="1038"/>
          <ac:spMkLst>
            <pc:docMk/>
            <pc:sldMk cId="3884299006" sldId="2147199704"/>
            <ac:spMk id="32" creationId="{DBEF2EC0-BBFA-158A-3075-6A47C74B8C7C}"/>
          </ac:spMkLst>
        </pc:spChg>
        <pc:spChg chg="mod">
          <ac:chgData name="Schjold, Hanne Røvig" userId="72e82339-bab0-442f-8ca6-e6f386a713ee" providerId="ADAL" clId="{5633FD63-69B2-41DC-A8DB-6848874D8C42}" dt="2023-03-15T13:17:19.785" v="1686" actId="1038"/>
          <ac:spMkLst>
            <pc:docMk/>
            <pc:sldMk cId="3884299006" sldId="2147199704"/>
            <ac:spMk id="34" creationId="{680760CF-4B82-5002-51C1-A41C368BA023}"/>
          </ac:spMkLst>
        </pc:spChg>
        <pc:spChg chg="mod">
          <ac:chgData name="Schjold, Hanne Røvig" userId="72e82339-bab0-442f-8ca6-e6f386a713ee" providerId="ADAL" clId="{5633FD63-69B2-41DC-A8DB-6848874D8C42}" dt="2023-03-15T13:17:19.785" v="1686" actId="1038"/>
          <ac:spMkLst>
            <pc:docMk/>
            <pc:sldMk cId="3884299006" sldId="2147199704"/>
            <ac:spMk id="35" creationId="{FF3307E2-3F9A-259A-C0AA-C8CBB9FE7B83}"/>
          </ac:spMkLst>
        </pc:spChg>
        <pc:spChg chg="mod">
          <ac:chgData name="Schjold, Hanne Røvig" userId="72e82339-bab0-442f-8ca6-e6f386a713ee" providerId="ADAL" clId="{5633FD63-69B2-41DC-A8DB-6848874D8C42}" dt="2023-03-15T13:17:19.785" v="1686" actId="1038"/>
          <ac:spMkLst>
            <pc:docMk/>
            <pc:sldMk cId="3884299006" sldId="2147199704"/>
            <ac:spMk id="36" creationId="{422568A5-E209-7C06-0BB4-F2938C8D6917}"/>
          </ac:spMkLst>
        </pc:spChg>
        <pc:spChg chg="mod">
          <ac:chgData name="Schjold, Hanne Røvig" userId="72e82339-bab0-442f-8ca6-e6f386a713ee" providerId="ADAL" clId="{5633FD63-69B2-41DC-A8DB-6848874D8C42}" dt="2023-03-15T13:17:19.785" v="1686" actId="1038"/>
          <ac:spMkLst>
            <pc:docMk/>
            <pc:sldMk cId="3884299006" sldId="2147199704"/>
            <ac:spMk id="38" creationId="{B3CABE5F-68A4-5531-AEC0-847EC0476B18}"/>
          </ac:spMkLst>
        </pc:spChg>
        <pc:spChg chg="mod">
          <ac:chgData name="Schjold, Hanne Røvig" userId="72e82339-bab0-442f-8ca6-e6f386a713ee" providerId="ADAL" clId="{5633FD63-69B2-41DC-A8DB-6848874D8C42}" dt="2023-03-15T13:17:19.785" v="1686" actId="1038"/>
          <ac:spMkLst>
            <pc:docMk/>
            <pc:sldMk cId="3884299006" sldId="2147199704"/>
            <ac:spMk id="39" creationId="{2425A776-9042-4A42-5DE7-BE496DA5C83B}"/>
          </ac:spMkLst>
        </pc:spChg>
        <pc:spChg chg="mod">
          <ac:chgData name="Schjold, Hanne Røvig" userId="72e82339-bab0-442f-8ca6-e6f386a713ee" providerId="ADAL" clId="{5633FD63-69B2-41DC-A8DB-6848874D8C42}" dt="2023-03-15T13:17:19.785" v="1686" actId="1038"/>
          <ac:spMkLst>
            <pc:docMk/>
            <pc:sldMk cId="3884299006" sldId="2147199704"/>
            <ac:spMk id="40" creationId="{9FC4C4B0-8DB5-133B-24C9-B6746A4BF9AC}"/>
          </ac:spMkLst>
        </pc:spChg>
        <pc:spChg chg="add del mod">
          <ac:chgData name="Schjold, Hanne Røvig" userId="72e82339-bab0-442f-8ca6-e6f386a713ee" providerId="ADAL" clId="{5633FD63-69B2-41DC-A8DB-6848874D8C42}" dt="2023-03-15T13:24:22.409" v="2015" actId="478"/>
          <ac:spMkLst>
            <pc:docMk/>
            <pc:sldMk cId="3884299006" sldId="2147199704"/>
            <ac:spMk id="41" creationId="{F9FA7FFD-4722-48C0-773D-17A9A8FEB33A}"/>
          </ac:spMkLst>
        </pc:spChg>
        <pc:spChg chg="add mod">
          <ac:chgData name="Schjold, Hanne Røvig" userId="72e82339-bab0-442f-8ca6-e6f386a713ee" providerId="ADAL" clId="{5633FD63-69B2-41DC-A8DB-6848874D8C42}" dt="2023-03-15T13:23:07.305" v="1990" actId="207"/>
          <ac:spMkLst>
            <pc:docMk/>
            <pc:sldMk cId="3884299006" sldId="2147199704"/>
            <ac:spMk id="42" creationId="{9F292BCA-4B72-5EF9-CE92-BF85DB3912FF}"/>
          </ac:spMkLst>
        </pc:spChg>
        <pc:spChg chg="add mod">
          <ac:chgData name="Schjold, Hanne Røvig" userId="72e82339-bab0-442f-8ca6-e6f386a713ee" providerId="ADAL" clId="{5633FD63-69B2-41DC-A8DB-6848874D8C42}" dt="2023-03-15T13:23:07.305" v="1990" actId="207"/>
          <ac:spMkLst>
            <pc:docMk/>
            <pc:sldMk cId="3884299006" sldId="2147199704"/>
            <ac:spMk id="43" creationId="{176C4C60-F453-A5C5-774A-CC175A556749}"/>
          </ac:spMkLst>
        </pc:spChg>
        <pc:spChg chg="add mod">
          <ac:chgData name="Schjold, Hanne Røvig" userId="72e82339-bab0-442f-8ca6-e6f386a713ee" providerId="ADAL" clId="{5633FD63-69B2-41DC-A8DB-6848874D8C42}" dt="2023-03-15T13:23:07.305" v="1990" actId="207"/>
          <ac:spMkLst>
            <pc:docMk/>
            <pc:sldMk cId="3884299006" sldId="2147199704"/>
            <ac:spMk id="44" creationId="{468B01D8-7DCE-B39B-6AC2-F20886C7C067}"/>
          </ac:spMkLst>
        </pc:spChg>
        <pc:spChg chg="add mod">
          <ac:chgData name="Schjold, Hanne Røvig" userId="72e82339-bab0-442f-8ca6-e6f386a713ee" providerId="ADAL" clId="{5633FD63-69B2-41DC-A8DB-6848874D8C42}" dt="2023-03-15T13:23:07.305" v="1990" actId="207"/>
          <ac:spMkLst>
            <pc:docMk/>
            <pc:sldMk cId="3884299006" sldId="2147199704"/>
            <ac:spMk id="45" creationId="{C4EF2BEA-3935-F3E0-17EB-B767965E1F18}"/>
          </ac:spMkLst>
        </pc:spChg>
        <pc:spChg chg="add mod">
          <ac:chgData name="Schjold, Hanne Røvig" userId="72e82339-bab0-442f-8ca6-e6f386a713ee" providerId="ADAL" clId="{5633FD63-69B2-41DC-A8DB-6848874D8C42}" dt="2023-03-15T13:23:07.305" v="1990" actId="207"/>
          <ac:spMkLst>
            <pc:docMk/>
            <pc:sldMk cId="3884299006" sldId="2147199704"/>
            <ac:spMk id="46" creationId="{AD74A8A3-C3F3-751E-E31A-669122918005}"/>
          </ac:spMkLst>
        </pc:spChg>
        <pc:spChg chg="add mod">
          <ac:chgData name="Schjold, Hanne Røvig" userId="72e82339-bab0-442f-8ca6-e6f386a713ee" providerId="ADAL" clId="{5633FD63-69B2-41DC-A8DB-6848874D8C42}" dt="2023-03-15T13:23:07.305" v="1990" actId="207"/>
          <ac:spMkLst>
            <pc:docMk/>
            <pc:sldMk cId="3884299006" sldId="2147199704"/>
            <ac:spMk id="47" creationId="{BAE1C792-03B1-E420-8BB7-FE0C0BD13910}"/>
          </ac:spMkLst>
        </pc:spChg>
        <pc:spChg chg="add mod">
          <ac:chgData name="Schjold, Hanne Røvig" userId="72e82339-bab0-442f-8ca6-e6f386a713ee" providerId="ADAL" clId="{5633FD63-69B2-41DC-A8DB-6848874D8C42}" dt="2023-03-15T13:23:07.305" v="1990" actId="207"/>
          <ac:spMkLst>
            <pc:docMk/>
            <pc:sldMk cId="3884299006" sldId="2147199704"/>
            <ac:spMk id="48" creationId="{D540CC4A-4CF4-65B0-0A4E-F6D74300BCE9}"/>
          </ac:spMkLst>
        </pc:spChg>
        <pc:spChg chg="add mod">
          <ac:chgData name="Schjold, Hanne Røvig" userId="72e82339-bab0-442f-8ca6-e6f386a713ee" providerId="ADAL" clId="{5633FD63-69B2-41DC-A8DB-6848874D8C42}" dt="2023-03-15T13:23:07.305" v="1990" actId="207"/>
          <ac:spMkLst>
            <pc:docMk/>
            <pc:sldMk cId="3884299006" sldId="2147199704"/>
            <ac:spMk id="49" creationId="{E67B783F-6168-C3E7-4836-6A5C6A9D11AE}"/>
          </ac:spMkLst>
        </pc:spChg>
        <pc:spChg chg="add mod">
          <ac:chgData name="Schjold, Hanne Røvig" userId="72e82339-bab0-442f-8ca6-e6f386a713ee" providerId="ADAL" clId="{5633FD63-69B2-41DC-A8DB-6848874D8C42}" dt="2023-03-15T13:23:07.305" v="1990" actId="207"/>
          <ac:spMkLst>
            <pc:docMk/>
            <pc:sldMk cId="3884299006" sldId="2147199704"/>
            <ac:spMk id="51" creationId="{76D5A8EA-9B78-EC33-7BEF-88ECB680C50E}"/>
          </ac:spMkLst>
        </pc:spChg>
        <pc:spChg chg="add del mod">
          <ac:chgData name="Schjold, Hanne Røvig" userId="72e82339-bab0-442f-8ca6-e6f386a713ee" providerId="ADAL" clId="{5633FD63-69B2-41DC-A8DB-6848874D8C42}" dt="2023-03-15T13:22:09.541" v="1976" actId="478"/>
          <ac:spMkLst>
            <pc:docMk/>
            <pc:sldMk cId="3884299006" sldId="2147199704"/>
            <ac:spMk id="52" creationId="{3A8EA9FE-6BB2-0BAD-D4B1-8B5BCFBDC3C4}"/>
          </ac:spMkLst>
        </pc:spChg>
        <pc:spChg chg="mod">
          <ac:chgData name="Schjold, Hanne Røvig" userId="72e82339-bab0-442f-8ca6-e6f386a713ee" providerId="ADAL" clId="{5633FD63-69B2-41DC-A8DB-6848874D8C42}" dt="2023-03-15T13:17:19.785" v="1686" actId="1038"/>
          <ac:spMkLst>
            <pc:docMk/>
            <pc:sldMk cId="3884299006" sldId="2147199704"/>
            <ac:spMk id="54" creationId="{2C72C476-6D29-61DD-6ECC-6CCF9A630B9F}"/>
          </ac:spMkLst>
        </pc:spChg>
        <pc:spChg chg="mod">
          <ac:chgData name="Schjold, Hanne Røvig" userId="72e82339-bab0-442f-8ca6-e6f386a713ee" providerId="ADAL" clId="{5633FD63-69B2-41DC-A8DB-6848874D8C42}" dt="2023-03-15T13:17:19.785" v="1686" actId="1038"/>
          <ac:spMkLst>
            <pc:docMk/>
            <pc:sldMk cId="3884299006" sldId="2147199704"/>
            <ac:spMk id="55" creationId="{7BAB9942-2915-3A39-B4FD-5E7ADDF35591}"/>
          </ac:spMkLst>
        </pc:spChg>
        <pc:spChg chg="add mod">
          <ac:chgData name="Schjold, Hanne Røvig" userId="72e82339-bab0-442f-8ca6-e6f386a713ee" providerId="ADAL" clId="{5633FD63-69B2-41DC-A8DB-6848874D8C42}" dt="2023-03-15T13:23:07.305" v="1990" actId="207"/>
          <ac:spMkLst>
            <pc:docMk/>
            <pc:sldMk cId="3884299006" sldId="2147199704"/>
            <ac:spMk id="56" creationId="{18B0669A-05C7-4093-E049-DD8540263B7C}"/>
          </ac:spMkLst>
        </pc:spChg>
        <pc:spChg chg="add mod">
          <ac:chgData name="Schjold, Hanne Røvig" userId="72e82339-bab0-442f-8ca6-e6f386a713ee" providerId="ADAL" clId="{5633FD63-69B2-41DC-A8DB-6848874D8C42}" dt="2023-03-15T13:23:07.305" v="1990" actId="207"/>
          <ac:spMkLst>
            <pc:docMk/>
            <pc:sldMk cId="3884299006" sldId="2147199704"/>
            <ac:spMk id="57" creationId="{75B32137-37A4-4B58-023A-42290029460A}"/>
          </ac:spMkLst>
        </pc:spChg>
        <pc:grpChg chg="add del mod">
          <ac:chgData name="Schjold, Hanne Røvig" userId="72e82339-bab0-442f-8ca6-e6f386a713ee" providerId="ADAL" clId="{5633FD63-69B2-41DC-A8DB-6848874D8C42}" dt="2023-03-15T13:24:13.705" v="2009" actId="478"/>
          <ac:grpSpMkLst>
            <pc:docMk/>
            <pc:sldMk cId="3884299006" sldId="2147199704"/>
            <ac:grpSpMk id="25" creationId="{E8DF871B-F272-59E1-0CA5-C722D8668F34}"/>
          </ac:grpSpMkLst>
        </pc:grpChg>
        <pc:grpChg chg="add del mod">
          <ac:chgData name="Schjold, Hanne Røvig" userId="72e82339-bab0-442f-8ca6-e6f386a713ee" providerId="ADAL" clId="{5633FD63-69B2-41DC-A8DB-6848874D8C42}" dt="2023-03-15T13:24:14.648" v="2010" actId="478"/>
          <ac:grpSpMkLst>
            <pc:docMk/>
            <pc:sldMk cId="3884299006" sldId="2147199704"/>
            <ac:grpSpMk id="28" creationId="{FED5F27A-01F0-044D-B808-746FA1DD471E}"/>
          </ac:grpSpMkLst>
        </pc:grpChg>
        <pc:grpChg chg="add del mod">
          <ac:chgData name="Schjold, Hanne Røvig" userId="72e82339-bab0-442f-8ca6-e6f386a713ee" providerId="ADAL" clId="{5633FD63-69B2-41DC-A8DB-6848874D8C42}" dt="2023-03-15T13:24:15.521" v="2011" actId="478"/>
          <ac:grpSpMkLst>
            <pc:docMk/>
            <pc:sldMk cId="3884299006" sldId="2147199704"/>
            <ac:grpSpMk id="33" creationId="{5A991EEF-F970-8222-5CA9-02DE56F444BF}"/>
          </ac:grpSpMkLst>
        </pc:grpChg>
        <pc:grpChg chg="add del mod">
          <ac:chgData name="Schjold, Hanne Røvig" userId="72e82339-bab0-442f-8ca6-e6f386a713ee" providerId="ADAL" clId="{5633FD63-69B2-41DC-A8DB-6848874D8C42}" dt="2023-03-15T13:24:21.104" v="2014" actId="478"/>
          <ac:grpSpMkLst>
            <pc:docMk/>
            <pc:sldMk cId="3884299006" sldId="2147199704"/>
            <ac:grpSpMk id="37" creationId="{479C78DD-618F-7F9C-78F1-052F96089402}"/>
          </ac:grpSpMkLst>
        </pc:grpChg>
        <pc:grpChg chg="add del mod">
          <ac:chgData name="Schjold, Hanne Røvig" userId="72e82339-bab0-442f-8ca6-e6f386a713ee" providerId="ADAL" clId="{5633FD63-69B2-41DC-A8DB-6848874D8C42}" dt="2023-03-15T13:24:12.850" v="2008" actId="478"/>
          <ac:grpSpMkLst>
            <pc:docMk/>
            <pc:sldMk cId="3884299006" sldId="2147199704"/>
            <ac:grpSpMk id="53" creationId="{DC4DD6DB-5128-C12E-16A8-C01745C7DF0F}"/>
          </ac:grpSpMkLst>
        </pc:grpChg>
        <pc:picChg chg="add mod">
          <ac:chgData name="Schjold, Hanne Røvig" userId="72e82339-bab0-442f-8ca6-e6f386a713ee" providerId="ADAL" clId="{5633FD63-69B2-41DC-A8DB-6848874D8C42}" dt="2023-03-15T13:24:45.261" v="2020" actId="1076"/>
          <ac:picMkLst>
            <pc:docMk/>
            <pc:sldMk cId="3884299006" sldId="2147199704"/>
            <ac:picMk id="58" creationId="{725D7E18-989A-4BD2-0DD8-D8D5791C809A}"/>
          </ac:picMkLst>
        </pc:picChg>
        <pc:picChg chg="add mod">
          <ac:chgData name="Schjold, Hanne Røvig" userId="72e82339-bab0-442f-8ca6-e6f386a713ee" providerId="ADAL" clId="{5633FD63-69B2-41DC-A8DB-6848874D8C42}" dt="2023-03-15T13:25:09.490" v="2028" actId="1076"/>
          <ac:picMkLst>
            <pc:docMk/>
            <pc:sldMk cId="3884299006" sldId="2147199704"/>
            <ac:picMk id="59" creationId="{062C5E31-37FC-57E6-A345-E2FF38B50AB1}"/>
          </ac:picMkLst>
        </pc:picChg>
        <pc:picChg chg="add mod">
          <ac:chgData name="Schjold, Hanne Røvig" userId="72e82339-bab0-442f-8ca6-e6f386a713ee" providerId="ADAL" clId="{5633FD63-69B2-41DC-A8DB-6848874D8C42}" dt="2023-03-15T13:24:27.358" v="2016" actId="1076"/>
          <ac:picMkLst>
            <pc:docMk/>
            <pc:sldMk cId="3884299006" sldId="2147199704"/>
            <ac:picMk id="60" creationId="{87A631ED-03BE-E4A4-DA52-92DF008E5D4E}"/>
          </ac:picMkLst>
        </pc:picChg>
        <pc:picChg chg="add mod">
          <ac:chgData name="Schjold, Hanne Røvig" userId="72e82339-bab0-442f-8ca6-e6f386a713ee" providerId="ADAL" clId="{5633FD63-69B2-41DC-A8DB-6848874D8C42}" dt="2023-03-15T13:24:55.622" v="2024" actId="1076"/>
          <ac:picMkLst>
            <pc:docMk/>
            <pc:sldMk cId="3884299006" sldId="2147199704"/>
            <ac:picMk id="61" creationId="{72A30006-B35C-D25E-98EB-7DEFA9D63603}"/>
          </ac:picMkLst>
        </pc:picChg>
        <pc:picChg chg="add mod">
          <ac:chgData name="Schjold, Hanne Røvig" userId="72e82339-bab0-442f-8ca6-e6f386a713ee" providerId="ADAL" clId="{5633FD63-69B2-41DC-A8DB-6848874D8C42}" dt="2023-03-15T13:25:00.076" v="2025" actId="1076"/>
          <ac:picMkLst>
            <pc:docMk/>
            <pc:sldMk cId="3884299006" sldId="2147199704"/>
            <ac:picMk id="62" creationId="{7D6FE7C6-9C27-B55E-69D3-02B87439402E}"/>
          </ac:picMkLst>
        </pc:picChg>
        <pc:picChg chg="add del mod">
          <ac:chgData name="Schjold, Hanne Røvig" userId="72e82339-bab0-442f-8ca6-e6f386a713ee" providerId="ADAL" clId="{5633FD63-69B2-41DC-A8DB-6848874D8C42}" dt="2023-03-15T13:25:11.671" v="2029" actId="478"/>
          <ac:picMkLst>
            <pc:docMk/>
            <pc:sldMk cId="3884299006" sldId="2147199704"/>
            <ac:picMk id="63" creationId="{F7C57FF0-38C5-38E4-10D9-B5E50E3E5ACA}"/>
          </ac:picMkLst>
        </pc:picChg>
        <pc:picChg chg="add mod">
          <ac:chgData name="Schjold, Hanne Røvig" userId="72e82339-bab0-442f-8ca6-e6f386a713ee" providerId="ADAL" clId="{5633FD63-69B2-41DC-A8DB-6848874D8C42}" dt="2023-03-15T13:24:41.080" v="2019" actId="1076"/>
          <ac:picMkLst>
            <pc:docMk/>
            <pc:sldMk cId="3884299006" sldId="2147199704"/>
            <ac:picMk id="64" creationId="{3B74CA76-F191-0237-F9B7-8B1BD3C897B3}"/>
          </ac:picMkLst>
        </pc:picChg>
        <pc:cxnChg chg="add mod">
          <ac:chgData name="Schjold, Hanne Røvig" userId="72e82339-bab0-442f-8ca6-e6f386a713ee" providerId="ADAL" clId="{5633FD63-69B2-41DC-A8DB-6848874D8C42}" dt="2023-03-15T13:23:07.305" v="1990" actId="207"/>
          <ac:cxnSpMkLst>
            <pc:docMk/>
            <pc:sldMk cId="3884299006" sldId="2147199704"/>
            <ac:cxnSpMk id="13" creationId="{85418172-7980-F400-24EC-909266C6C300}"/>
          </ac:cxnSpMkLst>
        </pc:cxnChg>
        <pc:cxnChg chg="add mod">
          <ac:chgData name="Schjold, Hanne Røvig" userId="72e82339-bab0-442f-8ca6-e6f386a713ee" providerId="ADAL" clId="{5633FD63-69B2-41DC-A8DB-6848874D8C42}" dt="2023-03-15T13:23:07.305" v="1990" actId="207"/>
          <ac:cxnSpMkLst>
            <pc:docMk/>
            <pc:sldMk cId="3884299006" sldId="2147199704"/>
            <ac:cxnSpMk id="14" creationId="{D2BB700E-58AE-FDAE-E6F2-B25D21B93378}"/>
          </ac:cxnSpMkLst>
        </pc:cxnChg>
        <pc:cxnChg chg="add mod">
          <ac:chgData name="Schjold, Hanne Røvig" userId="72e82339-bab0-442f-8ca6-e6f386a713ee" providerId="ADAL" clId="{5633FD63-69B2-41DC-A8DB-6848874D8C42}" dt="2023-03-15T13:23:07.305" v="1990" actId="207"/>
          <ac:cxnSpMkLst>
            <pc:docMk/>
            <pc:sldMk cId="3884299006" sldId="2147199704"/>
            <ac:cxnSpMk id="15" creationId="{998A0A71-6E44-02C9-F677-FB5FAE82E1C7}"/>
          </ac:cxnSpMkLst>
        </pc:cxnChg>
        <pc:cxnChg chg="add mod">
          <ac:chgData name="Schjold, Hanne Røvig" userId="72e82339-bab0-442f-8ca6-e6f386a713ee" providerId="ADAL" clId="{5633FD63-69B2-41DC-A8DB-6848874D8C42}" dt="2023-03-15T13:23:07.305" v="1990" actId="207"/>
          <ac:cxnSpMkLst>
            <pc:docMk/>
            <pc:sldMk cId="3884299006" sldId="2147199704"/>
            <ac:cxnSpMk id="16" creationId="{01233D3D-18FE-00E9-1343-7B3D26546FB9}"/>
          </ac:cxnSpMkLst>
        </pc:cxnChg>
        <pc:cxnChg chg="add mod">
          <ac:chgData name="Schjold, Hanne Røvig" userId="72e82339-bab0-442f-8ca6-e6f386a713ee" providerId="ADAL" clId="{5633FD63-69B2-41DC-A8DB-6848874D8C42}" dt="2023-03-15T13:23:07.305" v="1990" actId="207"/>
          <ac:cxnSpMkLst>
            <pc:docMk/>
            <pc:sldMk cId="3884299006" sldId="2147199704"/>
            <ac:cxnSpMk id="50" creationId="{D001AC36-EE2F-718B-7201-5F8E62052C5F}"/>
          </ac:cxnSpMkLst>
        </pc:cxnChg>
      </pc:sldChg>
      <pc:sldChg chg="del">
        <pc:chgData name="Schjold, Hanne Røvig" userId="72e82339-bab0-442f-8ca6-e6f386a713ee" providerId="ADAL" clId="{5633FD63-69B2-41DC-A8DB-6848874D8C42}" dt="2023-03-15T13:23:34.803" v="2004" actId="47"/>
        <pc:sldMkLst>
          <pc:docMk/>
          <pc:sldMk cId="863939428" sldId="2147199705"/>
        </pc:sldMkLst>
      </pc:sldChg>
      <pc:sldChg chg="addSp delSp modSp new mod ord setBg modNotesTx">
        <pc:chgData name="Schjold, Hanne Røvig" userId="72e82339-bab0-442f-8ca6-e6f386a713ee" providerId="ADAL" clId="{5633FD63-69B2-41DC-A8DB-6848874D8C42}" dt="2023-03-15T14:10:29.292" v="2385"/>
        <pc:sldMkLst>
          <pc:docMk/>
          <pc:sldMk cId="1055730045" sldId="2147199705"/>
        </pc:sldMkLst>
        <pc:spChg chg="mod">
          <ac:chgData name="Schjold, Hanne Røvig" userId="72e82339-bab0-442f-8ca6-e6f386a713ee" providerId="ADAL" clId="{5633FD63-69B2-41DC-A8DB-6848874D8C42}" dt="2023-03-15T14:00:37.934" v="2243" actId="403"/>
          <ac:spMkLst>
            <pc:docMk/>
            <pc:sldMk cId="1055730045" sldId="2147199705"/>
            <ac:spMk id="2" creationId="{C635046B-ED6B-6CD7-4137-0E3D1F4F0F6F}"/>
          </ac:spMkLst>
        </pc:spChg>
        <pc:spChg chg="add mod">
          <ac:chgData name="Schjold, Hanne Røvig" userId="72e82339-bab0-442f-8ca6-e6f386a713ee" providerId="ADAL" clId="{5633FD63-69B2-41DC-A8DB-6848874D8C42}" dt="2023-03-15T14:00:46.828" v="2263" actId="20577"/>
          <ac:spMkLst>
            <pc:docMk/>
            <pc:sldMk cId="1055730045" sldId="2147199705"/>
            <ac:spMk id="3" creationId="{D77E0DB2-8F9B-0963-F4DA-5689FFC98EE4}"/>
          </ac:spMkLst>
        </pc:spChg>
        <pc:spChg chg="add mod">
          <ac:chgData name="Schjold, Hanne Røvig" userId="72e82339-bab0-442f-8ca6-e6f386a713ee" providerId="ADAL" clId="{5633FD63-69B2-41DC-A8DB-6848874D8C42}" dt="2023-03-15T14:01:04.351" v="2291" actId="14100"/>
          <ac:spMkLst>
            <pc:docMk/>
            <pc:sldMk cId="1055730045" sldId="2147199705"/>
            <ac:spMk id="4" creationId="{8D0BBD2E-251A-33DC-AA04-895EA1D862B8}"/>
          </ac:spMkLst>
        </pc:spChg>
        <pc:spChg chg="add mod">
          <ac:chgData name="Schjold, Hanne Røvig" userId="72e82339-bab0-442f-8ca6-e6f386a713ee" providerId="ADAL" clId="{5633FD63-69B2-41DC-A8DB-6848874D8C42}" dt="2023-03-15T14:01:18.009" v="2312" actId="20577"/>
          <ac:spMkLst>
            <pc:docMk/>
            <pc:sldMk cId="1055730045" sldId="2147199705"/>
            <ac:spMk id="5" creationId="{1545C292-0488-F521-8705-F73193C54E93}"/>
          </ac:spMkLst>
        </pc:spChg>
        <pc:picChg chg="add mod">
          <ac:chgData name="Schjold, Hanne Røvig" userId="72e82339-bab0-442f-8ca6-e6f386a713ee" providerId="ADAL" clId="{5633FD63-69B2-41DC-A8DB-6848874D8C42}" dt="2023-03-15T14:03:45.202" v="2326" actId="1076"/>
          <ac:picMkLst>
            <pc:docMk/>
            <pc:sldMk cId="1055730045" sldId="2147199705"/>
            <ac:picMk id="6" creationId="{591DD79B-C580-87F1-D60E-52C553A0CF89}"/>
          </ac:picMkLst>
        </pc:picChg>
        <pc:picChg chg="add del mod">
          <ac:chgData name="Schjold, Hanne Røvig" userId="72e82339-bab0-442f-8ca6-e6f386a713ee" providerId="ADAL" clId="{5633FD63-69B2-41DC-A8DB-6848874D8C42}" dt="2023-03-15T14:01:48.710" v="2317" actId="478"/>
          <ac:picMkLst>
            <pc:docMk/>
            <pc:sldMk cId="1055730045" sldId="2147199705"/>
            <ac:picMk id="7" creationId="{9E68AAAC-F31C-CD4D-F57F-B143B1494BE3}"/>
          </ac:picMkLst>
        </pc:picChg>
        <pc:picChg chg="add del mod">
          <ac:chgData name="Schjold, Hanne Røvig" userId="72e82339-bab0-442f-8ca6-e6f386a713ee" providerId="ADAL" clId="{5633FD63-69B2-41DC-A8DB-6848874D8C42}" dt="2023-03-15T14:01:45.423" v="2316" actId="478"/>
          <ac:picMkLst>
            <pc:docMk/>
            <pc:sldMk cId="1055730045" sldId="2147199705"/>
            <ac:picMk id="8" creationId="{FB1A7876-B9C6-7C89-C8E5-DE5411973B7B}"/>
          </ac:picMkLst>
        </pc:picChg>
        <pc:picChg chg="add mod">
          <ac:chgData name="Schjold, Hanne Røvig" userId="72e82339-bab0-442f-8ca6-e6f386a713ee" providerId="ADAL" clId="{5633FD63-69B2-41DC-A8DB-6848874D8C42}" dt="2023-03-15T14:02:25.647" v="2322" actId="14826"/>
          <ac:picMkLst>
            <pc:docMk/>
            <pc:sldMk cId="1055730045" sldId="2147199705"/>
            <ac:picMk id="9" creationId="{33D3F1B4-CA58-A95C-8062-90002423F6E8}"/>
          </ac:picMkLst>
        </pc:picChg>
        <pc:picChg chg="add mod">
          <ac:chgData name="Schjold, Hanne Røvig" userId="72e82339-bab0-442f-8ca6-e6f386a713ee" providerId="ADAL" clId="{5633FD63-69B2-41DC-A8DB-6848874D8C42}" dt="2023-03-15T14:05:02.336" v="2331" actId="1076"/>
          <ac:picMkLst>
            <pc:docMk/>
            <pc:sldMk cId="1055730045" sldId="2147199705"/>
            <ac:picMk id="10" creationId="{B11F5844-0B20-041D-3041-FA9D24D4EB5F}"/>
          </ac:picMkLst>
        </pc:picChg>
      </pc:sldChg>
      <pc:sldMasterChg chg="del delSldLayout">
        <pc:chgData name="Schjold, Hanne Røvig" userId="72e82339-bab0-442f-8ca6-e6f386a713ee" providerId="ADAL" clId="{5633FD63-69B2-41DC-A8DB-6848874D8C42}" dt="2023-03-15T12:46:41.854" v="1069" actId="47"/>
        <pc:sldMasterMkLst>
          <pc:docMk/>
          <pc:sldMasterMk cId="3516317264" sldId="2147483763"/>
        </pc:sldMasterMkLst>
        <pc:sldLayoutChg chg="del">
          <pc:chgData name="Schjold, Hanne Røvig" userId="72e82339-bab0-442f-8ca6-e6f386a713ee" providerId="ADAL" clId="{5633FD63-69B2-41DC-A8DB-6848874D8C42}" dt="2023-03-15T12:46:41.854" v="1069" actId="47"/>
          <pc:sldLayoutMkLst>
            <pc:docMk/>
            <pc:sldMasterMk cId="3516317264" sldId="2147483763"/>
            <pc:sldLayoutMk cId="738353579" sldId="2147483764"/>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2588118281" sldId="2147483765"/>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3460347711" sldId="2147483766"/>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2127391994" sldId="2147483767"/>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2965304930" sldId="2147483768"/>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4066088453" sldId="2147483769"/>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499383057" sldId="2147483770"/>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4090233102" sldId="2147483771"/>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4070845863" sldId="2147483772"/>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1177505378" sldId="2147483773"/>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1311296330" sldId="2147483774"/>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1913563581" sldId="2147483775"/>
          </pc:sldLayoutMkLst>
        </pc:sldLayoutChg>
        <pc:sldLayoutChg chg="del">
          <pc:chgData name="Schjold, Hanne Røvig" userId="72e82339-bab0-442f-8ca6-e6f386a713ee" providerId="ADAL" clId="{5633FD63-69B2-41DC-A8DB-6848874D8C42}" dt="2023-03-15T12:46:41.854" v="1069" actId="47"/>
          <pc:sldLayoutMkLst>
            <pc:docMk/>
            <pc:sldMasterMk cId="3516317264" sldId="2147483763"/>
            <pc:sldLayoutMk cId="254261200" sldId="2147483776"/>
          </pc:sldLayoutMkLst>
        </pc:sldLayoutChg>
      </pc:sldMasterChg>
    </pc:docChg>
  </pc:docChgLst>
  <pc:docChgLst>
    <pc:chgData name="Schjold, Hanne Røvig" userId="S::hanne.rovig.schjold@nav.no::72e82339-bab0-442f-8ca6-e6f386a713ee" providerId="AD" clId="Web-{538211B3-6673-41AB-8A93-E8237AB30F22}"/>
    <pc:docChg chg="modSld">
      <pc:chgData name="Schjold, Hanne Røvig" userId="S::hanne.rovig.schjold@nav.no::72e82339-bab0-442f-8ca6-e6f386a713ee" providerId="AD" clId="Web-{538211B3-6673-41AB-8A93-E8237AB30F22}" dt="2023-04-18T17:29:40.944" v="9" actId="1076"/>
      <pc:docMkLst>
        <pc:docMk/>
      </pc:docMkLst>
      <pc:sldChg chg="addSp delSp modSp">
        <pc:chgData name="Schjold, Hanne Røvig" userId="S::hanne.rovig.schjold@nav.no::72e82339-bab0-442f-8ca6-e6f386a713ee" providerId="AD" clId="Web-{538211B3-6673-41AB-8A93-E8237AB30F22}" dt="2023-04-18T17:29:40.944" v="9" actId="1076"/>
        <pc:sldMkLst>
          <pc:docMk/>
          <pc:sldMk cId="3770738012" sldId="688"/>
        </pc:sldMkLst>
        <pc:spChg chg="del">
          <ac:chgData name="Schjold, Hanne Røvig" userId="S::hanne.rovig.schjold@nav.no::72e82339-bab0-442f-8ca6-e6f386a713ee" providerId="AD" clId="Web-{538211B3-6673-41AB-8A93-E8237AB30F22}" dt="2023-04-18T17:28:43.130" v="1"/>
          <ac:spMkLst>
            <pc:docMk/>
            <pc:sldMk cId="3770738012" sldId="688"/>
            <ac:spMk id="5" creationId="{C56C6575-E7C7-2CA8-ED3F-4AB7C2830123}"/>
          </ac:spMkLst>
        </pc:spChg>
        <pc:picChg chg="del">
          <ac:chgData name="Schjold, Hanne Røvig" userId="S::hanne.rovig.schjold@nav.no::72e82339-bab0-442f-8ca6-e6f386a713ee" providerId="AD" clId="Web-{538211B3-6673-41AB-8A93-E8237AB30F22}" dt="2023-04-18T17:28:40.536" v="0"/>
          <ac:picMkLst>
            <pc:docMk/>
            <pc:sldMk cId="3770738012" sldId="688"/>
            <ac:picMk id="6" creationId="{19C285DB-BFD7-9FD9-D17E-D88A87018F35}"/>
          </ac:picMkLst>
        </pc:picChg>
        <pc:picChg chg="add mod">
          <ac:chgData name="Schjold, Hanne Røvig" userId="S::hanne.rovig.schjold@nav.no::72e82339-bab0-442f-8ca6-e6f386a713ee" providerId="AD" clId="Web-{538211B3-6673-41AB-8A93-E8237AB30F22}" dt="2023-04-18T17:29:40.944" v="9" actId="1076"/>
          <ac:picMkLst>
            <pc:docMk/>
            <pc:sldMk cId="3770738012" sldId="688"/>
            <ac:picMk id="7" creationId="{7D9483FF-4725-1B49-7FE0-A8FB0E103CCC}"/>
          </ac:picMkLst>
        </pc:picChg>
      </pc:sldChg>
    </pc:docChg>
  </pc:docChgLst>
  <pc:docChgLst>
    <pc:chgData name="Holbæk-Hanssen, Jørgen" userId="a3d0a255-9183-455d-a309-251e105a1144" providerId="ADAL" clId="{41F5A6B3-E997-40E5-BDB1-9EA2CECD0E02}"/>
    <pc:docChg chg="undo custSel modSld">
      <pc:chgData name="Holbæk-Hanssen, Jørgen" userId="a3d0a255-9183-455d-a309-251e105a1144" providerId="ADAL" clId="{41F5A6B3-E997-40E5-BDB1-9EA2CECD0E02}" dt="2023-03-29T09:17:14.681" v="236" actId="20577"/>
      <pc:docMkLst>
        <pc:docMk/>
      </pc:docMkLst>
      <pc:sldChg chg="addCm delCm modNotesTx">
        <pc:chgData name="Holbæk-Hanssen, Jørgen" userId="a3d0a255-9183-455d-a309-251e105a1144" providerId="ADAL" clId="{41F5A6B3-E997-40E5-BDB1-9EA2CECD0E02}" dt="2023-03-29T09:13:36.641" v="179"/>
        <pc:sldMkLst>
          <pc:docMk/>
          <pc:sldMk cId="2544436590" sldId="562"/>
        </pc:sldMkLst>
      </pc:sldChg>
      <pc:sldChg chg="modNotesTx">
        <pc:chgData name="Holbæk-Hanssen, Jørgen" userId="a3d0a255-9183-455d-a309-251e105a1144" providerId="ADAL" clId="{41F5A6B3-E997-40E5-BDB1-9EA2CECD0E02}" dt="2023-03-29T09:08:47.996" v="107" actId="20577"/>
        <pc:sldMkLst>
          <pc:docMk/>
          <pc:sldMk cId="1292995087" sldId="681"/>
        </pc:sldMkLst>
      </pc:sldChg>
      <pc:sldChg chg="modSp mod addCm delCm modNotesTx">
        <pc:chgData name="Holbæk-Hanssen, Jørgen" userId="a3d0a255-9183-455d-a309-251e105a1144" providerId="ADAL" clId="{41F5A6B3-E997-40E5-BDB1-9EA2CECD0E02}" dt="2023-03-29T09:13:59.413" v="192"/>
        <pc:sldMkLst>
          <pc:docMk/>
          <pc:sldMk cId="1313285263" sldId="690"/>
        </pc:sldMkLst>
        <pc:spChg chg="mod">
          <ac:chgData name="Holbæk-Hanssen, Jørgen" userId="a3d0a255-9183-455d-a309-251e105a1144" providerId="ADAL" clId="{41F5A6B3-E997-40E5-BDB1-9EA2CECD0E02}" dt="2023-03-29T09:12:08.241" v="146" actId="207"/>
          <ac:spMkLst>
            <pc:docMk/>
            <pc:sldMk cId="1313285263" sldId="690"/>
            <ac:spMk id="5" creationId="{A9E1B165-CD61-5545-B3A3-F9EAA80CC4EF}"/>
          </ac:spMkLst>
        </pc:spChg>
      </pc:sldChg>
      <pc:sldChg chg="modNotesTx">
        <pc:chgData name="Holbæk-Hanssen, Jørgen" userId="a3d0a255-9183-455d-a309-251e105a1144" providerId="ADAL" clId="{41F5A6B3-E997-40E5-BDB1-9EA2CECD0E02}" dt="2023-03-29T09:17:14.681" v="236" actId="20577"/>
        <pc:sldMkLst>
          <pc:docMk/>
          <pc:sldMk cId="223454079" sldId="691"/>
        </pc:sldMkLst>
      </pc:sldChg>
      <pc:sldChg chg="modSp mod modNotesTx">
        <pc:chgData name="Holbæk-Hanssen, Jørgen" userId="a3d0a255-9183-455d-a309-251e105a1144" providerId="ADAL" clId="{41F5A6B3-E997-40E5-BDB1-9EA2CECD0E02}" dt="2023-03-29T09:16:31.570" v="235" actId="20577"/>
        <pc:sldMkLst>
          <pc:docMk/>
          <pc:sldMk cId="4022571338" sldId="2147199656"/>
        </pc:sldMkLst>
        <pc:spChg chg="mod">
          <ac:chgData name="Holbæk-Hanssen, Jørgen" userId="a3d0a255-9183-455d-a309-251e105a1144" providerId="ADAL" clId="{41F5A6B3-E997-40E5-BDB1-9EA2CECD0E02}" dt="2023-03-29T09:16:31.570" v="235" actId="20577"/>
          <ac:spMkLst>
            <pc:docMk/>
            <pc:sldMk cId="4022571338" sldId="2147199656"/>
            <ac:spMk id="5" creationId="{A9E1B165-CD61-5545-B3A3-F9EAA80CC4EF}"/>
          </ac:spMkLst>
        </pc:spChg>
      </pc:sldChg>
      <pc:sldChg chg="addCm modCm modNotesTx">
        <pc:chgData name="Holbæk-Hanssen, Jørgen" userId="a3d0a255-9183-455d-a309-251e105a1144" providerId="ADAL" clId="{41F5A6B3-E997-40E5-BDB1-9EA2CECD0E02}" dt="2023-03-29T08:59:10.901" v="69"/>
        <pc:sldMkLst>
          <pc:docMk/>
          <pc:sldMk cId="2463229187" sldId="2147199675"/>
        </pc:sldMkLst>
      </pc:sldChg>
    </pc:docChg>
  </pc:docChgLst>
  <pc:docChgLst>
    <pc:chgData name="Roligheten, Hanne Junker" userId="c528efeb-a6cd-42e9-9c45-158956ad0eb3" providerId="ADAL" clId="{94D9D829-AE80-4815-B9A9-5C9D21965FBC}"/>
    <pc:docChg chg="sldOrd">
      <pc:chgData name="Roligheten, Hanne Junker" userId="c528efeb-a6cd-42e9-9c45-158956ad0eb3" providerId="ADAL" clId="{94D9D829-AE80-4815-B9A9-5C9D21965FBC}" dt="2023-03-29T11:09:29.844" v="0" actId="20578"/>
      <pc:docMkLst>
        <pc:docMk/>
      </pc:docMkLst>
      <pc:sldChg chg="ord">
        <pc:chgData name="Roligheten, Hanne Junker" userId="c528efeb-a6cd-42e9-9c45-158956ad0eb3" providerId="ADAL" clId="{94D9D829-AE80-4815-B9A9-5C9D21965FBC}" dt="2023-03-29T11:09:29.844" v="0" actId="20578"/>
        <pc:sldMkLst>
          <pc:docMk/>
          <pc:sldMk cId="3098349971" sldId="2147199703"/>
        </pc:sldMkLst>
      </pc:sldChg>
    </pc:docChg>
  </pc:docChgLst>
  <pc:docChgLst>
    <pc:chgData name="Riekeles, Vibeke Helene" userId="eabdcbdd-a58e-42d6-b0b3-52b6c8c70319" providerId="ADAL" clId="{56C45263-2BD1-47D7-AFCC-68269C6133C7}"/>
    <pc:docChg chg="sldOrd">
      <pc:chgData name="Riekeles, Vibeke Helene" userId="eabdcbdd-a58e-42d6-b0b3-52b6c8c70319" providerId="ADAL" clId="{56C45263-2BD1-47D7-AFCC-68269C6133C7}" dt="2023-03-31T08:57:57.682" v="0" actId="20578"/>
      <pc:docMkLst>
        <pc:docMk/>
      </pc:docMkLst>
      <pc:sldChg chg="ord">
        <pc:chgData name="Riekeles, Vibeke Helene" userId="eabdcbdd-a58e-42d6-b0b3-52b6c8c70319" providerId="ADAL" clId="{56C45263-2BD1-47D7-AFCC-68269C6133C7}" dt="2023-03-31T08:57:57.682" v="0" actId="20578"/>
        <pc:sldMkLst>
          <pc:docMk/>
          <pc:sldMk cId="223489148" sldId="2147199706"/>
        </pc:sldMkLst>
      </pc:sldChg>
    </pc:docChg>
  </pc:docChgLst>
  <pc:docChgLst>
    <pc:chgData name="Nilsen, Kristin" userId="f0173b2b-6dcf-436b-9227-f46351f411e3" providerId="ADAL" clId="{718557A9-3932-4616-A2DE-AF0F54767685}"/>
    <pc:docChg chg="sldOrd">
      <pc:chgData name="Nilsen, Kristin" userId="f0173b2b-6dcf-436b-9227-f46351f411e3" providerId="ADAL" clId="{718557A9-3932-4616-A2DE-AF0F54767685}" dt="2023-04-17T04:30:40.623" v="0" actId="20578"/>
      <pc:docMkLst>
        <pc:docMk/>
      </pc:docMkLst>
      <pc:sldChg chg="ord">
        <pc:chgData name="Nilsen, Kristin" userId="f0173b2b-6dcf-436b-9227-f46351f411e3" providerId="ADAL" clId="{718557A9-3932-4616-A2DE-AF0F54767685}" dt="2023-04-17T04:30:40.623" v="0" actId="20578"/>
        <pc:sldMkLst>
          <pc:docMk/>
          <pc:sldMk cId="2632267400" sldId="2147199724"/>
        </pc:sldMkLst>
      </pc:sldChg>
    </pc:docChg>
  </pc:docChgLst>
  <pc:docChgLst>
    <pc:chgData name="Schjold, Hanne Røvig" userId="S::hanne.rovig.schjold@nav.no::72e82339-bab0-442f-8ca6-e6f386a713ee" providerId="AD" clId="Web-{4A7092FC-D774-4CFD-8E1E-3AE9C2F8481A}"/>
    <pc:docChg chg="modSld">
      <pc:chgData name="Schjold, Hanne Røvig" userId="S::hanne.rovig.schjold@nav.no::72e82339-bab0-442f-8ca6-e6f386a713ee" providerId="AD" clId="Web-{4A7092FC-D774-4CFD-8E1E-3AE9C2F8481A}" dt="2023-03-28T08:23:39.492" v="8" actId="20577"/>
      <pc:docMkLst>
        <pc:docMk/>
      </pc:docMkLst>
      <pc:sldChg chg="modSp">
        <pc:chgData name="Schjold, Hanne Røvig" userId="S::hanne.rovig.schjold@nav.no::72e82339-bab0-442f-8ca6-e6f386a713ee" providerId="AD" clId="Web-{4A7092FC-D774-4CFD-8E1E-3AE9C2F8481A}" dt="2023-03-28T08:23:39.492" v="8" actId="20577"/>
        <pc:sldMkLst>
          <pc:docMk/>
          <pc:sldMk cId="3606504357" sldId="2147197786"/>
        </pc:sldMkLst>
        <pc:spChg chg="mod">
          <ac:chgData name="Schjold, Hanne Røvig" userId="S::hanne.rovig.schjold@nav.no::72e82339-bab0-442f-8ca6-e6f386a713ee" providerId="AD" clId="Web-{4A7092FC-D774-4CFD-8E1E-3AE9C2F8481A}" dt="2023-03-28T08:23:39.492" v="8" actId="20577"/>
          <ac:spMkLst>
            <pc:docMk/>
            <pc:sldMk cId="3606504357" sldId="2147197786"/>
            <ac:spMk id="17" creationId="{7E77B6E7-F185-402F-9170-540DD7FC284D}"/>
          </ac:spMkLst>
        </pc:spChg>
      </pc:sldChg>
    </pc:docChg>
  </pc:docChgLst>
  <pc:docChgLst>
    <pc:chgData name="Holbæk-Hanssen, Jørgen" userId="S::jorgen.holbek-hanssen@nav.no::a3d0a255-9183-455d-a309-251e105a1144" providerId="AD" clId="Web-{01864267-9DF0-790F-D15D-59FD188A62E4}"/>
    <pc:docChg chg="mod">
      <pc:chgData name="Holbæk-Hanssen, Jørgen" userId="S::jorgen.holbek-hanssen@nav.no::a3d0a255-9183-455d-a309-251e105a1144" providerId="AD" clId="Web-{01864267-9DF0-790F-D15D-59FD188A62E4}" dt="2023-03-29T21:58:26.450" v="1"/>
      <pc:docMkLst>
        <pc:docMk/>
      </pc:docMkLst>
      <pc:sldChg chg="modCm">
        <pc:chgData name="Holbæk-Hanssen, Jørgen" userId="S::jorgen.holbek-hanssen@nav.no::a3d0a255-9183-455d-a309-251e105a1144" providerId="AD" clId="Web-{01864267-9DF0-790F-D15D-59FD188A62E4}" dt="2023-03-29T21:58:26.450" v="1"/>
        <pc:sldMkLst>
          <pc:docMk/>
          <pc:sldMk cId="223489148" sldId="2147199706"/>
        </pc:sldMkLst>
      </pc:sldChg>
    </pc:docChg>
  </pc:docChgLst>
  <pc:docChgLst>
    <pc:chgData name="Schjold, Hanne Røvig" userId="72e82339-bab0-442f-8ca6-e6f386a713ee" providerId="ADAL" clId="{A927EA70-17ED-490E-A653-0A9E208DC4A4}"/>
    <pc:docChg chg="undo custSel modSld">
      <pc:chgData name="Schjold, Hanne Røvig" userId="72e82339-bab0-442f-8ca6-e6f386a713ee" providerId="ADAL" clId="{A927EA70-17ED-490E-A653-0A9E208DC4A4}" dt="2023-04-17T16:03:02.529" v="132" actId="404"/>
      <pc:docMkLst>
        <pc:docMk/>
      </pc:docMkLst>
      <pc:sldChg chg="modCm">
        <pc:chgData name="Schjold, Hanne Røvig" userId="72e82339-bab0-442f-8ca6-e6f386a713ee" providerId="ADAL" clId="{A927EA70-17ED-490E-A653-0A9E208DC4A4}" dt="2023-04-17T13:34:32.473" v="47"/>
        <pc:sldMkLst>
          <pc:docMk/>
          <pc:sldMk cId="3758531503" sldId="266"/>
        </pc:sldMkLst>
        <pc:extLst>
          <p:ext xmlns:p="http://schemas.openxmlformats.org/presentationml/2006/main" uri="{D6D511B9-2390-475A-947B-AFAB55BFBCF1}">
            <pc226:cmChg xmlns:pc226="http://schemas.microsoft.com/office/powerpoint/2022/06/main/command" chg="">
              <pc226:chgData name="Schjold, Hanne Røvig" userId="72e82339-bab0-442f-8ca6-e6f386a713ee" providerId="ADAL" clId="{A927EA70-17ED-490E-A653-0A9E208DC4A4}" dt="2023-04-17T13:34:32.473" v="47"/>
              <pc2:cmMkLst xmlns:pc2="http://schemas.microsoft.com/office/powerpoint/2019/9/main/command">
                <pc:docMk/>
                <pc:sldMk cId="3758531503" sldId="266"/>
                <pc2:cmMk id="{72FD89F2-5391-4788-BF40-E51DD6AAB0ED}"/>
              </pc2:cmMkLst>
              <pc226:cmRplyChg chg="add">
                <pc226:chgData name="Schjold, Hanne Røvig" userId="72e82339-bab0-442f-8ca6-e6f386a713ee" providerId="ADAL" clId="{A927EA70-17ED-490E-A653-0A9E208DC4A4}" dt="2023-04-17T13:34:32.473" v="47"/>
                <pc2:cmRplyMkLst xmlns:pc2="http://schemas.microsoft.com/office/powerpoint/2019/9/main/command">
                  <pc:docMk/>
                  <pc:sldMk cId="3758531503" sldId="266"/>
                  <pc2:cmMk id="{72FD89F2-5391-4788-BF40-E51DD6AAB0ED}"/>
                  <pc2:cmRplyMk id="{8AE15302-E04A-4D37-85C8-D27E82FBBAE5}"/>
                </pc2:cmRplyMkLst>
              </pc226:cmRplyChg>
            </pc226:cmChg>
          </p:ext>
        </pc:extLst>
      </pc:sldChg>
      <pc:sldChg chg="modSp mod">
        <pc:chgData name="Schjold, Hanne Røvig" userId="72e82339-bab0-442f-8ca6-e6f386a713ee" providerId="ADAL" clId="{A927EA70-17ED-490E-A653-0A9E208DC4A4}" dt="2023-04-17T13:35:05.055" v="48" actId="14100"/>
        <pc:sldMkLst>
          <pc:docMk/>
          <pc:sldMk cId="2732850255" sldId="274"/>
        </pc:sldMkLst>
        <pc:spChg chg="mod">
          <ac:chgData name="Schjold, Hanne Røvig" userId="72e82339-bab0-442f-8ca6-e6f386a713ee" providerId="ADAL" clId="{A927EA70-17ED-490E-A653-0A9E208DC4A4}" dt="2023-04-17T13:35:05.055" v="48" actId="14100"/>
          <ac:spMkLst>
            <pc:docMk/>
            <pc:sldMk cId="2732850255" sldId="274"/>
            <ac:spMk id="6" creationId="{A282A213-7FB4-C547-906D-0964F8F27C7C}"/>
          </ac:spMkLst>
        </pc:spChg>
        <pc:spChg chg="mod">
          <ac:chgData name="Schjold, Hanne Røvig" userId="72e82339-bab0-442f-8ca6-e6f386a713ee" providerId="ADAL" clId="{A927EA70-17ED-490E-A653-0A9E208DC4A4}" dt="2023-04-14T12:11:16.183" v="10" actId="1076"/>
          <ac:spMkLst>
            <pc:docMk/>
            <pc:sldMk cId="2732850255" sldId="274"/>
            <ac:spMk id="8" creationId="{40F1CDB7-2450-4D47-904E-D47CF5373B95}"/>
          </ac:spMkLst>
        </pc:spChg>
        <pc:spChg chg="mod">
          <ac:chgData name="Schjold, Hanne Røvig" userId="72e82339-bab0-442f-8ca6-e6f386a713ee" providerId="ADAL" clId="{A927EA70-17ED-490E-A653-0A9E208DC4A4}" dt="2023-04-14T12:10:59.792" v="7" actId="1076"/>
          <ac:spMkLst>
            <pc:docMk/>
            <pc:sldMk cId="2732850255" sldId="274"/>
            <ac:spMk id="9" creationId="{A2EAA18F-67D3-714F-AF0A-E05C744C7EB6}"/>
          </ac:spMkLst>
        </pc:spChg>
        <pc:graphicFrameChg chg="mod">
          <ac:chgData name="Schjold, Hanne Røvig" userId="72e82339-bab0-442f-8ca6-e6f386a713ee" providerId="ADAL" clId="{A927EA70-17ED-490E-A653-0A9E208DC4A4}" dt="2023-04-14T12:10:46.004" v="4" actId="1076"/>
          <ac:graphicFrameMkLst>
            <pc:docMk/>
            <pc:sldMk cId="2732850255" sldId="274"/>
            <ac:graphicFrameMk id="11" creationId="{D5DE6F6E-E2D3-C0BC-83D3-CE4714E51F53}"/>
          </ac:graphicFrameMkLst>
        </pc:graphicFrameChg>
      </pc:sldChg>
      <pc:sldChg chg="modSp mod">
        <pc:chgData name="Schjold, Hanne Røvig" userId="72e82339-bab0-442f-8ca6-e6f386a713ee" providerId="ADAL" clId="{A927EA70-17ED-490E-A653-0A9E208DC4A4}" dt="2023-04-17T16:01:34.996" v="121" actId="14100"/>
        <pc:sldMkLst>
          <pc:docMk/>
          <pc:sldMk cId="2544436590" sldId="562"/>
        </pc:sldMkLst>
        <pc:spChg chg="mod">
          <ac:chgData name="Schjold, Hanne Røvig" userId="72e82339-bab0-442f-8ca6-e6f386a713ee" providerId="ADAL" clId="{A927EA70-17ED-490E-A653-0A9E208DC4A4}" dt="2023-04-17T16:01:34.996" v="121" actId="14100"/>
          <ac:spMkLst>
            <pc:docMk/>
            <pc:sldMk cId="2544436590" sldId="562"/>
            <ac:spMk id="15" creationId="{3EE69A72-115C-3B46-8271-F43402FD8BD4}"/>
          </ac:spMkLst>
        </pc:spChg>
      </pc:sldChg>
      <pc:sldChg chg="modSp mod">
        <pc:chgData name="Schjold, Hanne Røvig" userId="72e82339-bab0-442f-8ca6-e6f386a713ee" providerId="ADAL" clId="{A927EA70-17ED-490E-A653-0A9E208DC4A4}" dt="2023-04-17T15:59:19.121" v="96" actId="14100"/>
        <pc:sldMkLst>
          <pc:docMk/>
          <pc:sldMk cId="2567434684" sldId="671"/>
        </pc:sldMkLst>
        <pc:spChg chg="mod">
          <ac:chgData name="Schjold, Hanne Røvig" userId="72e82339-bab0-442f-8ca6-e6f386a713ee" providerId="ADAL" clId="{A927EA70-17ED-490E-A653-0A9E208DC4A4}" dt="2023-04-17T15:59:19.121" v="96" actId="14100"/>
          <ac:spMkLst>
            <pc:docMk/>
            <pc:sldMk cId="2567434684" sldId="671"/>
            <ac:spMk id="18" creationId="{80A438AA-0035-4B2B-972F-C4864AE0D652}"/>
          </ac:spMkLst>
        </pc:spChg>
      </pc:sldChg>
      <pc:sldChg chg="modSp mod">
        <pc:chgData name="Schjold, Hanne Røvig" userId="72e82339-bab0-442f-8ca6-e6f386a713ee" providerId="ADAL" clId="{A927EA70-17ED-490E-A653-0A9E208DC4A4}" dt="2023-04-14T12:16:02.232" v="29" actId="1076"/>
        <pc:sldMkLst>
          <pc:docMk/>
          <pc:sldMk cId="3925071739" sldId="677"/>
        </pc:sldMkLst>
        <pc:spChg chg="mod">
          <ac:chgData name="Schjold, Hanne Røvig" userId="72e82339-bab0-442f-8ca6-e6f386a713ee" providerId="ADAL" clId="{A927EA70-17ED-490E-A653-0A9E208DC4A4}" dt="2023-04-14T12:16:02.232" v="29" actId="1076"/>
          <ac:spMkLst>
            <pc:docMk/>
            <pc:sldMk cId="3925071739" sldId="677"/>
            <ac:spMk id="3" creationId="{8BD077CD-27E0-7147-98C6-B35E85553BF6}"/>
          </ac:spMkLst>
        </pc:spChg>
        <pc:graphicFrameChg chg="mod">
          <ac:chgData name="Schjold, Hanne Røvig" userId="72e82339-bab0-442f-8ca6-e6f386a713ee" providerId="ADAL" clId="{A927EA70-17ED-490E-A653-0A9E208DC4A4}" dt="2023-04-14T12:15:57.582" v="28" actId="1076"/>
          <ac:graphicFrameMkLst>
            <pc:docMk/>
            <pc:sldMk cId="3925071739" sldId="677"/>
            <ac:graphicFrameMk id="4" creationId="{E729B72D-129C-CAEE-5CE5-B36ED0B3143D}"/>
          </ac:graphicFrameMkLst>
        </pc:graphicFrameChg>
      </pc:sldChg>
      <pc:sldChg chg="addSp modSp mod">
        <pc:chgData name="Schjold, Hanne Røvig" userId="72e82339-bab0-442f-8ca6-e6f386a713ee" providerId="ADAL" clId="{A927EA70-17ED-490E-A653-0A9E208DC4A4}" dt="2023-04-17T13:37:42.812" v="83" actId="13926"/>
        <pc:sldMkLst>
          <pc:docMk/>
          <pc:sldMk cId="3770738012" sldId="688"/>
        </pc:sldMkLst>
        <pc:spChg chg="add mod">
          <ac:chgData name="Schjold, Hanne Røvig" userId="72e82339-bab0-442f-8ca6-e6f386a713ee" providerId="ADAL" clId="{A927EA70-17ED-490E-A653-0A9E208DC4A4}" dt="2023-04-17T13:37:42.812" v="83" actId="13926"/>
          <ac:spMkLst>
            <pc:docMk/>
            <pc:sldMk cId="3770738012" sldId="688"/>
            <ac:spMk id="5" creationId="{C56C6575-E7C7-2CA8-ED3F-4AB7C2830123}"/>
          </ac:spMkLst>
        </pc:spChg>
      </pc:sldChg>
      <pc:sldChg chg="modSp mod">
        <pc:chgData name="Schjold, Hanne Røvig" userId="72e82339-bab0-442f-8ca6-e6f386a713ee" providerId="ADAL" clId="{A927EA70-17ED-490E-A653-0A9E208DC4A4}" dt="2023-04-14T12:13:26.443" v="15" actId="14100"/>
        <pc:sldMkLst>
          <pc:docMk/>
          <pc:sldMk cId="2292431674" sldId="689"/>
        </pc:sldMkLst>
        <pc:spChg chg="mod">
          <ac:chgData name="Schjold, Hanne Røvig" userId="72e82339-bab0-442f-8ca6-e6f386a713ee" providerId="ADAL" clId="{A927EA70-17ED-490E-A653-0A9E208DC4A4}" dt="2023-04-14T12:13:26.443" v="15" actId="14100"/>
          <ac:spMkLst>
            <pc:docMk/>
            <pc:sldMk cId="2292431674" sldId="689"/>
            <ac:spMk id="7" creationId="{C15B436B-D5CE-AB4A-A907-98CF827A820F}"/>
          </ac:spMkLst>
        </pc:spChg>
      </pc:sldChg>
      <pc:sldChg chg="addCm">
        <pc:chgData name="Schjold, Hanne Røvig" userId="72e82339-bab0-442f-8ca6-e6f386a713ee" providerId="ADAL" clId="{A927EA70-17ED-490E-A653-0A9E208DC4A4}" dt="2023-04-17T16:02:21.017" v="122"/>
        <pc:sldMkLst>
          <pc:docMk/>
          <pc:sldMk cId="1313285263" sldId="690"/>
        </pc:sldMkLst>
        <pc:extLst>
          <p:ext xmlns:p="http://schemas.openxmlformats.org/presentationml/2006/main" uri="{D6D511B9-2390-475A-947B-AFAB55BFBCF1}">
            <pc226:cmChg xmlns:pc226="http://schemas.microsoft.com/office/powerpoint/2022/06/main/command" chg="add">
              <pc226:chgData name="Schjold, Hanne Røvig" userId="72e82339-bab0-442f-8ca6-e6f386a713ee" providerId="ADAL" clId="{A927EA70-17ED-490E-A653-0A9E208DC4A4}" dt="2023-04-17T16:02:21.017" v="122"/>
              <pc2:cmMkLst xmlns:pc2="http://schemas.microsoft.com/office/powerpoint/2019/9/main/command">
                <pc:docMk/>
                <pc:sldMk cId="1313285263" sldId="690"/>
                <pc2:cmMk id="{835E8148-23A1-4140-99DC-31FE549A331C}"/>
              </pc2:cmMkLst>
            </pc226:cmChg>
          </p:ext>
        </pc:extLst>
      </pc:sldChg>
      <pc:sldChg chg="modSp mod">
        <pc:chgData name="Schjold, Hanne Røvig" userId="72e82339-bab0-442f-8ca6-e6f386a713ee" providerId="ADAL" clId="{A927EA70-17ED-490E-A653-0A9E208DC4A4}" dt="2023-04-17T16:03:02.529" v="132" actId="404"/>
        <pc:sldMkLst>
          <pc:docMk/>
          <pc:sldMk cId="223454079" sldId="691"/>
        </pc:sldMkLst>
        <pc:spChg chg="mod">
          <ac:chgData name="Schjold, Hanne Røvig" userId="72e82339-bab0-442f-8ca6-e6f386a713ee" providerId="ADAL" clId="{A927EA70-17ED-490E-A653-0A9E208DC4A4}" dt="2023-04-17T16:03:02.529" v="132" actId="404"/>
          <ac:spMkLst>
            <pc:docMk/>
            <pc:sldMk cId="223454079" sldId="691"/>
            <ac:spMk id="10" creationId="{DBD4E3B2-CA41-4B1B-9736-BF37F2B9E4B5}"/>
          </ac:spMkLst>
        </pc:spChg>
      </pc:sldChg>
      <pc:sldChg chg="addCm modCm">
        <pc:chgData name="Schjold, Hanne Røvig" userId="72e82339-bab0-442f-8ca6-e6f386a713ee" providerId="ADAL" clId="{A927EA70-17ED-490E-A653-0A9E208DC4A4}" dt="2023-04-17T13:37:27.022" v="63"/>
        <pc:sldMkLst>
          <pc:docMk/>
          <pc:sldMk cId="2011306900" sldId="712"/>
        </pc:sldMkLst>
        <pc:extLst>
          <p:ext xmlns:p="http://schemas.openxmlformats.org/presentationml/2006/main" uri="{D6D511B9-2390-475A-947B-AFAB55BFBCF1}">
            <pc226:cmChg xmlns:pc226="http://schemas.microsoft.com/office/powerpoint/2022/06/main/command" chg="add">
              <pc226:chgData name="Schjold, Hanne Røvig" userId="72e82339-bab0-442f-8ca6-e6f386a713ee" providerId="ADAL" clId="{A927EA70-17ED-490E-A653-0A9E208DC4A4}" dt="2023-04-17T13:37:27.022" v="63"/>
              <pc2:cmMkLst xmlns:pc2="http://schemas.microsoft.com/office/powerpoint/2019/9/main/command">
                <pc:docMk/>
                <pc:sldMk cId="2011306900" sldId="712"/>
                <pc2:cmMk id="{F1BD0B27-0A61-4D1E-BF50-8B5772028EA1}"/>
              </pc2:cmMkLst>
              <pc226:cmRplyChg chg="add">
                <pc226:chgData name="Schjold, Hanne Røvig" userId="72e82339-bab0-442f-8ca6-e6f386a713ee" providerId="ADAL" clId="{A927EA70-17ED-490E-A653-0A9E208DC4A4}" dt="2023-04-17T13:37:27.022" v="63"/>
                <pc2:cmRplyMkLst xmlns:pc2="http://schemas.microsoft.com/office/powerpoint/2019/9/main/command">
                  <pc:docMk/>
                  <pc:sldMk cId="2011306900" sldId="712"/>
                  <pc2:cmMk id="{F1BD0B27-0A61-4D1E-BF50-8B5772028EA1}"/>
                  <pc2:cmRplyMk id="{D552EFC4-BCD7-4D46-A631-0D39FC325F94}"/>
                </pc2:cmRplyMkLst>
              </pc226:cmRplyChg>
            </pc226:cmChg>
          </p:ext>
        </pc:extLst>
      </pc:sldChg>
      <pc:sldChg chg="modSp mod">
        <pc:chgData name="Schjold, Hanne Røvig" userId="72e82339-bab0-442f-8ca6-e6f386a713ee" providerId="ADAL" clId="{A927EA70-17ED-490E-A653-0A9E208DC4A4}" dt="2023-04-17T13:35:45.748" v="62" actId="1076"/>
        <pc:sldMkLst>
          <pc:docMk/>
          <pc:sldMk cId="2505189412" sldId="746"/>
        </pc:sldMkLst>
        <pc:picChg chg="mod">
          <ac:chgData name="Schjold, Hanne Røvig" userId="72e82339-bab0-442f-8ca6-e6f386a713ee" providerId="ADAL" clId="{A927EA70-17ED-490E-A653-0A9E208DC4A4}" dt="2023-04-17T13:35:45.748" v="62" actId="1076"/>
          <ac:picMkLst>
            <pc:docMk/>
            <pc:sldMk cId="2505189412" sldId="746"/>
            <ac:picMk id="27" creationId="{7F82601E-4CA3-4170-BE61-3C008B57F9EC}"/>
          </ac:picMkLst>
        </pc:picChg>
      </pc:sldChg>
      <pc:sldChg chg="modCm">
        <pc:chgData name="Schjold, Hanne Røvig" userId="72e82339-bab0-442f-8ca6-e6f386a713ee" providerId="ADAL" clId="{A927EA70-17ED-490E-A653-0A9E208DC4A4}" dt="2023-04-17T13:34:05.582" v="46"/>
        <pc:sldMkLst>
          <pc:docMk/>
          <pc:sldMk cId="3717460304" sldId="749"/>
        </pc:sldMkLst>
        <pc:extLst>
          <p:ext xmlns:p="http://schemas.openxmlformats.org/presentationml/2006/main" uri="{D6D511B9-2390-475A-947B-AFAB55BFBCF1}">
            <pc226:cmChg xmlns:pc226="http://schemas.microsoft.com/office/powerpoint/2022/06/main/command" chg="">
              <pc226:chgData name="Schjold, Hanne Røvig" userId="72e82339-bab0-442f-8ca6-e6f386a713ee" providerId="ADAL" clId="{A927EA70-17ED-490E-A653-0A9E208DC4A4}" dt="2023-04-17T13:34:05.582" v="46"/>
              <pc2:cmMkLst xmlns:pc2="http://schemas.microsoft.com/office/powerpoint/2019/9/main/command">
                <pc:docMk/>
                <pc:sldMk cId="3717460304" sldId="749"/>
                <pc2:cmMk id="{5D1EDEC2-4BEF-4F17-BA2B-6CC06CE6CEAC}"/>
              </pc2:cmMkLst>
              <pc226:cmRplyChg chg="add">
                <pc226:chgData name="Schjold, Hanne Røvig" userId="72e82339-bab0-442f-8ca6-e6f386a713ee" providerId="ADAL" clId="{A927EA70-17ED-490E-A653-0A9E208DC4A4}" dt="2023-04-14T12:18:28.846" v="34"/>
                <pc2:cmRplyMkLst xmlns:pc2="http://schemas.microsoft.com/office/powerpoint/2019/9/main/command">
                  <pc:docMk/>
                  <pc:sldMk cId="3717460304" sldId="749"/>
                  <pc2:cmMk id="{5D1EDEC2-4BEF-4F17-BA2B-6CC06CE6CEAC}"/>
                  <pc2:cmRplyMk id="{3156BB50-8261-4FC5-859A-E65AB7C6AED0}"/>
                </pc2:cmRplyMkLst>
              </pc226:cmRplyChg>
              <pc226:cmRplyChg chg="add">
                <pc226:chgData name="Schjold, Hanne Røvig" userId="72e82339-bab0-442f-8ca6-e6f386a713ee" providerId="ADAL" clId="{A927EA70-17ED-490E-A653-0A9E208DC4A4}" dt="2023-04-17T13:34:05.582" v="46"/>
                <pc2:cmRplyMkLst xmlns:pc2="http://schemas.microsoft.com/office/powerpoint/2019/9/main/command">
                  <pc:docMk/>
                  <pc:sldMk cId="3717460304" sldId="749"/>
                  <pc2:cmMk id="{5D1EDEC2-4BEF-4F17-BA2B-6CC06CE6CEAC}"/>
                  <pc2:cmRplyMk id="{96626878-4EF0-40D0-A243-71ED8C397B4F}"/>
                </pc2:cmRplyMkLst>
              </pc226:cmRplyChg>
            </pc226:cmChg>
          </p:ext>
        </pc:extLst>
      </pc:sldChg>
      <pc:sldChg chg="modSp mod">
        <pc:chgData name="Schjold, Hanne Røvig" userId="72e82339-bab0-442f-8ca6-e6f386a713ee" providerId="ADAL" clId="{A927EA70-17ED-490E-A653-0A9E208DC4A4}" dt="2023-04-14T12:14:13.088" v="18" actId="14100"/>
        <pc:sldMkLst>
          <pc:docMk/>
          <pc:sldMk cId="311781684" sldId="2147199626"/>
        </pc:sldMkLst>
        <pc:spChg chg="mod">
          <ac:chgData name="Schjold, Hanne Røvig" userId="72e82339-bab0-442f-8ca6-e6f386a713ee" providerId="ADAL" clId="{A927EA70-17ED-490E-A653-0A9E208DC4A4}" dt="2023-04-14T12:14:13.088" v="18" actId="14100"/>
          <ac:spMkLst>
            <pc:docMk/>
            <pc:sldMk cId="311781684" sldId="2147199626"/>
            <ac:spMk id="12" creationId="{70351A5B-7F36-D1E6-CE6B-B749844F6BCA}"/>
          </ac:spMkLst>
        </pc:spChg>
      </pc:sldChg>
      <pc:sldChg chg="modSp mod">
        <pc:chgData name="Schjold, Hanne Røvig" userId="72e82339-bab0-442f-8ca6-e6f386a713ee" providerId="ADAL" clId="{A927EA70-17ED-490E-A653-0A9E208DC4A4}" dt="2023-04-17T15:59:28.781" v="99" actId="404"/>
        <pc:sldMkLst>
          <pc:docMk/>
          <pc:sldMk cId="1177185325" sldId="2147199641"/>
        </pc:sldMkLst>
        <pc:spChg chg="mod">
          <ac:chgData name="Schjold, Hanne Røvig" userId="72e82339-bab0-442f-8ca6-e6f386a713ee" providerId="ADAL" clId="{A927EA70-17ED-490E-A653-0A9E208DC4A4}" dt="2023-04-17T15:59:28.781" v="99" actId="404"/>
          <ac:spMkLst>
            <pc:docMk/>
            <pc:sldMk cId="1177185325" sldId="2147199641"/>
            <ac:spMk id="2" creationId="{448C5743-B948-C342-9223-2E9E9A8B23FC}"/>
          </ac:spMkLst>
        </pc:spChg>
      </pc:sldChg>
      <pc:sldChg chg="modSp mod">
        <pc:chgData name="Schjold, Hanne Røvig" userId="72e82339-bab0-442f-8ca6-e6f386a713ee" providerId="ADAL" clId="{A927EA70-17ED-490E-A653-0A9E208DC4A4}" dt="2023-04-17T15:58:22.738" v="84" actId="20577"/>
        <pc:sldMkLst>
          <pc:docMk/>
          <pc:sldMk cId="3806527201" sldId="2147199650"/>
        </pc:sldMkLst>
        <pc:spChg chg="mod">
          <ac:chgData name="Schjold, Hanne Røvig" userId="72e82339-bab0-442f-8ca6-e6f386a713ee" providerId="ADAL" clId="{A927EA70-17ED-490E-A653-0A9E208DC4A4}" dt="2023-04-17T15:58:22.738" v="84" actId="20577"/>
          <ac:spMkLst>
            <pc:docMk/>
            <pc:sldMk cId="3806527201" sldId="2147199650"/>
            <ac:spMk id="3" creationId="{F5F03FED-4A68-6C1D-7B86-E171D7FB3E82}"/>
          </ac:spMkLst>
        </pc:spChg>
      </pc:sldChg>
      <pc:sldChg chg="modSp mod">
        <pc:chgData name="Schjold, Hanne Røvig" userId="72e82339-bab0-442f-8ca6-e6f386a713ee" providerId="ADAL" clId="{A927EA70-17ED-490E-A653-0A9E208DC4A4}" dt="2023-04-17T16:02:48.071" v="127" actId="1076"/>
        <pc:sldMkLst>
          <pc:docMk/>
          <pc:sldMk cId="4022571338" sldId="2147199656"/>
        </pc:sldMkLst>
        <pc:spChg chg="mod">
          <ac:chgData name="Schjold, Hanne Røvig" userId="72e82339-bab0-442f-8ca6-e6f386a713ee" providerId="ADAL" clId="{A927EA70-17ED-490E-A653-0A9E208DC4A4}" dt="2023-04-17T16:02:48.071" v="127" actId="1076"/>
          <ac:spMkLst>
            <pc:docMk/>
            <pc:sldMk cId="4022571338" sldId="2147199656"/>
            <ac:spMk id="10" creationId="{DBD4E3B2-CA41-4B1B-9736-BF37F2B9E4B5}"/>
          </ac:spMkLst>
        </pc:spChg>
      </pc:sldChg>
      <pc:sldChg chg="modSp mod">
        <pc:chgData name="Schjold, Hanne Røvig" userId="72e82339-bab0-442f-8ca6-e6f386a713ee" providerId="ADAL" clId="{A927EA70-17ED-490E-A653-0A9E208DC4A4}" dt="2023-04-17T16:01:10.988" v="113" actId="404"/>
        <pc:sldMkLst>
          <pc:docMk/>
          <pc:sldMk cId="3063502814" sldId="2147199668"/>
        </pc:sldMkLst>
        <pc:spChg chg="mod">
          <ac:chgData name="Schjold, Hanne Røvig" userId="72e82339-bab0-442f-8ca6-e6f386a713ee" providerId="ADAL" clId="{A927EA70-17ED-490E-A653-0A9E208DC4A4}" dt="2023-04-17T16:01:10.988" v="113" actId="404"/>
          <ac:spMkLst>
            <pc:docMk/>
            <pc:sldMk cId="3063502814" sldId="2147199668"/>
            <ac:spMk id="10" creationId="{DBD4E3B2-CA41-4B1B-9736-BF37F2B9E4B5}"/>
          </ac:spMkLst>
        </pc:spChg>
      </pc:sldChg>
      <pc:sldChg chg="modSp mod">
        <pc:chgData name="Schjold, Hanne Røvig" userId="72e82339-bab0-442f-8ca6-e6f386a713ee" providerId="ADAL" clId="{A927EA70-17ED-490E-A653-0A9E208DC4A4}" dt="2023-04-17T16:00:47.013" v="109" actId="1076"/>
        <pc:sldMkLst>
          <pc:docMk/>
          <pc:sldMk cId="2119641651" sldId="2147199673"/>
        </pc:sldMkLst>
        <pc:picChg chg="mod">
          <ac:chgData name="Schjold, Hanne Røvig" userId="72e82339-bab0-442f-8ca6-e6f386a713ee" providerId="ADAL" clId="{A927EA70-17ED-490E-A653-0A9E208DC4A4}" dt="2023-04-17T16:00:47.013" v="109" actId="1076"/>
          <ac:picMkLst>
            <pc:docMk/>
            <pc:sldMk cId="2119641651" sldId="2147199673"/>
            <ac:picMk id="5" creationId="{B0A9D7B8-11C7-8A81-D8E0-C4B40BEE0DD9}"/>
          </ac:picMkLst>
        </pc:picChg>
      </pc:sldChg>
      <pc:sldChg chg="modSp mod">
        <pc:chgData name="Schjold, Hanne Røvig" userId="72e82339-bab0-442f-8ca6-e6f386a713ee" providerId="ADAL" clId="{A927EA70-17ED-490E-A653-0A9E208DC4A4}" dt="2023-04-17T13:35:31.354" v="61" actId="552"/>
        <pc:sldMkLst>
          <pc:docMk/>
          <pc:sldMk cId="1689254817" sldId="2147199685"/>
        </pc:sldMkLst>
        <pc:spChg chg="mod">
          <ac:chgData name="Schjold, Hanne Røvig" userId="72e82339-bab0-442f-8ca6-e6f386a713ee" providerId="ADAL" clId="{A927EA70-17ED-490E-A653-0A9E208DC4A4}" dt="2023-04-17T13:35:17.774" v="50" actId="20577"/>
          <ac:spMkLst>
            <pc:docMk/>
            <pc:sldMk cId="1689254817" sldId="2147199685"/>
            <ac:spMk id="2" creationId="{B840D42E-9090-B946-BB30-39F111CA2DC2}"/>
          </ac:spMkLst>
        </pc:spChg>
        <pc:spChg chg="mod">
          <ac:chgData name="Schjold, Hanne Røvig" userId="72e82339-bab0-442f-8ca6-e6f386a713ee" providerId="ADAL" clId="{A927EA70-17ED-490E-A653-0A9E208DC4A4}" dt="2023-04-17T13:35:31.354" v="61" actId="552"/>
          <ac:spMkLst>
            <pc:docMk/>
            <pc:sldMk cId="1689254817" sldId="2147199685"/>
            <ac:spMk id="12" creationId="{85C0778A-5ECB-F549-B098-D372E737F9AF}"/>
          </ac:spMkLst>
        </pc:spChg>
        <pc:graphicFrameChg chg="mod">
          <ac:chgData name="Schjold, Hanne Røvig" userId="72e82339-bab0-442f-8ca6-e6f386a713ee" providerId="ADAL" clId="{A927EA70-17ED-490E-A653-0A9E208DC4A4}" dt="2023-04-17T13:35:31.354" v="61" actId="552"/>
          <ac:graphicFrameMkLst>
            <pc:docMk/>
            <pc:sldMk cId="1689254817" sldId="2147199685"/>
            <ac:graphicFrameMk id="7" creationId="{844A7F48-AAF4-47FD-B93D-D9623088550E}"/>
          </ac:graphicFrameMkLst>
        </pc:graphicFrameChg>
      </pc:sldChg>
      <pc:sldChg chg="modSp mod">
        <pc:chgData name="Schjold, Hanne Røvig" userId="72e82339-bab0-442f-8ca6-e6f386a713ee" providerId="ADAL" clId="{A927EA70-17ED-490E-A653-0A9E208DC4A4}" dt="2023-04-17T16:00:09.714" v="106" actId="14100"/>
        <pc:sldMkLst>
          <pc:docMk/>
          <pc:sldMk cId="2293250089" sldId="2147199691"/>
        </pc:sldMkLst>
        <pc:spChg chg="mod">
          <ac:chgData name="Schjold, Hanne Røvig" userId="72e82339-bab0-442f-8ca6-e6f386a713ee" providerId="ADAL" clId="{A927EA70-17ED-490E-A653-0A9E208DC4A4}" dt="2023-04-17T16:00:09.714" v="106" actId="14100"/>
          <ac:spMkLst>
            <pc:docMk/>
            <pc:sldMk cId="2293250089" sldId="2147199691"/>
            <ac:spMk id="8" creationId="{4EA277C6-630B-4A0E-9122-71CED05DFEAF}"/>
          </ac:spMkLst>
        </pc:spChg>
      </pc:sldChg>
      <pc:sldChg chg="modSp mod">
        <pc:chgData name="Schjold, Hanne Røvig" userId="72e82339-bab0-442f-8ca6-e6f386a713ee" providerId="ADAL" clId="{A927EA70-17ED-490E-A653-0A9E208DC4A4}" dt="2023-04-14T12:13:44.946" v="16" actId="20577"/>
        <pc:sldMkLst>
          <pc:docMk/>
          <pc:sldMk cId="3887728048" sldId="2147199695"/>
        </pc:sldMkLst>
        <pc:spChg chg="mod">
          <ac:chgData name="Schjold, Hanne Røvig" userId="72e82339-bab0-442f-8ca6-e6f386a713ee" providerId="ADAL" clId="{A927EA70-17ED-490E-A653-0A9E208DC4A4}" dt="2023-04-14T12:13:44.946" v="16" actId="20577"/>
          <ac:spMkLst>
            <pc:docMk/>
            <pc:sldMk cId="3887728048" sldId="2147199695"/>
            <ac:spMk id="3" creationId="{968B4499-74AE-082A-E385-6EC3C5E1482C}"/>
          </ac:spMkLst>
        </pc:spChg>
      </pc:sldChg>
      <pc:sldChg chg="modSp mod">
        <pc:chgData name="Schjold, Hanne Røvig" userId="72e82339-bab0-442f-8ca6-e6f386a713ee" providerId="ADAL" clId="{A927EA70-17ED-490E-A653-0A9E208DC4A4}" dt="2023-04-17T13:28:51.124" v="45" actId="20577"/>
        <pc:sldMkLst>
          <pc:docMk/>
          <pc:sldMk cId="281140690" sldId="2147199707"/>
        </pc:sldMkLst>
        <pc:spChg chg="mod">
          <ac:chgData name="Schjold, Hanne Røvig" userId="72e82339-bab0-442f-8ca6-e6f386a713ee" providerId="ADAL" clId="{A927EA70-17ED-490E-A653-0A9E208DC4A4}" dt="2023-04-17T13:28:51.124" v="45" actId="20577"/>
          <ac:spMkLst>
            <pc:docMk/>
            <pc:sldMk cId="281140690" sldId="2147199707"/>
            <ac:spMk id="10" creationId="{71632922-5584-40B4-AEC7-E52BDD68ED21}"/>
          </ac:spMkLst>
        </pc:spChg>
      </pc:sldChg>
      <pc:sldChg chg="modSp mod">
        <pc:chgData name="Schjold, Hanne Røvig" userId="72e82339-bab0-442f-8ca6-e6f386a713ee" providerId="ADAL" clId="{A927EA70-17ED-490E-A653-0A9E208DC4A4}" dt="2023-04-17T13:27:57.924" v="43" actId="20577"/>
        <pc:sldMkLst>
          <pc:docMk/>
          <pc:sldMk cId="4015035725" sldId="2147199711"/>
        </pc:sldMkLst>
        <pc:spChg chg="mod">
          <ac:chgData name="Schjold, Hanne Røvig" userId="72e82339-bab0-442f-8ca6-e6f386a713ee" providerId="ADAL" clId="{A927EA70-17ED-490E-A653-0A9E208DC4A4}" dt="2023-04-17T13:27:16.814" v="37" actId="20577"/>
          <ac:spMkLst>
            <pc:docMk/>
            <pc:sldMk cId="4015035725" sldId="2147199711"/>
            <ac:spMk id="2" creationId="{C635046B-ED6B-6CD7-4137-0E3D1F4F0F6F}"/>
          </ac:spMkLst>
        </pc:spChg>
        <pc:spChg chg="mod">
          <ac:chgData name="Schjold, Hanne Røvig" userId="72e82339-bab0-442f-8ca6-e6f386a713ee" providerId="ADAL" clId="{A927EA70-17ED-490E-A653-0A9E208DC4A4}" dt="2023-04-17T13:27:51.153" v="42" actId="20577"/>
          <ac:spMkLst>
            <pc:docMk/>
            <pc:sldMk cId="4015035725" sldId="2147199711"/>
            <ac:spMk id="12" creationId="{ECEC2220-283E-7D4B-E8FD-EE6331F7B150}"/>
          </ac:spMkLst>
        </pc:spChg>
        <pc:spChg chg="mod">
          <ac:chgData name="Schjold, Hanne Røvig" userId="72e82339-bab0-442f-8ca6-e6f386a713ee" providerId="ADAL" clId="{A927EA70-17ED-490E-A653-0A9E208DC4A4}" dt="2023-04-17T13:27:57.924" v="43" actId="20577"/>
          <ac:spMkLst>
            <pc:docMk/>
            <pc:sldMk cId="4015035725" sldId="2147199711"/>
            <ac:spMk id="14" creationId="{788BD7DD-9DD6-6F87-A171-6581DD75A4E4}"/>
          </ac:spMkLst>
        </pc:spChg>
      </pc:sldChg>
      <pc:sldChg chg="modSp mod">
        <pc:chgData name="Schjold, Hanne Røvig" userId="72e82339-bab0-442f-8ca6-e6f386a713ee" providerId="ADAL" clId="{A927EA70-17ED-490E-A653-0A9E208DC4A4}" dt="2023-04-17T16:00:34.152" v="107" actId="1076"/>
        <pc:sldMkLst>
          <pc:docMk/>
          <pc:sldMk cId="3140334545" sldId="2147199713"/>
        </pc:sldMkLst>
        <pc:spChg chg="mod">
          <ac:chgData name="Schjold, Hanne Røvig" userId="72e82339-bab0-442f-8ca6-e6f386a713ee" providerId="ADAL" clId="{A927EA70-17ED-490E-A653-0A9E208DC4A4}" dt="2023-04-17T16:00:34.152" v="107" actId="1076"/>
          <ac:spMkLst>
            <pc:docMk/>
            <pc:sldMk cId="3140334545" sldId="2147199713"/>
            <ac:spMk id="7" creationId="{E62C91A5-6AC7-0B94-7B0F-4CEBE3ED9252}"/>
          </ac:spMkLst>
        </pc:spChg>
      </pc:sldChg>
      <pc:sldChg chg="modSp mod">
        <pc:chgData name="Schjold, Hanne Røvig" userId="72e82339-bab0-442f-8ca6-e6f386a713ee" providerId="ADAL" clId="{A927EA70-17ED-490E-A653-0A9E208DC4A4}" dt="2023-03-31T06:33:10.973" v="0" actId="20577"/>
        <pc:sldMkLst>
          <pc:docMk/>
          <pc:sldMk cId="2246645452" sldId="2147199715"/>
        </pc:sldMkLst>
        <pc:spChg chg="mod">
          <ac:chgData name="Schjold, Hanne Røvig" userId="72e82339-bab0-442f-8ca6-e6f386a713ee" providerId="ADAL" clId="{A927EA70-17ED-490E-A653-0A9E208DC4A4}" dt="2023-03-31T06:33:10.973" v="0" actId="20577"/>
          <ac:spMkLst>
            <pc:docMk/>
            <pc:sldMk cId="2246645452" sldId="2147199715"/>
            <ac:spMk id="3" creationId="{D33CB1C3-60CC-33D2-420E-299F4D47DFC6}"/>
          </ac:spMkLst>
        </pc:spChg>
      </pc:sldChg>
      <pc:sldChg chg="modSp mod">
        <pc:chgData name="Schjold, Hanne Røvig" userId="72e82339-bab0-442f-8ca6-e6f386a713ee" providerId="ADAL" clId="{A927EA70-17ED-490E-A653-0A9E208DC4A4}" dt="2023-04-14T12:11:35.845" v="12" actId="20577"/>
        <pc:sldMkLst>
          <pc:docMk/>
          <pc:sldMk cId="3878668519" sldId="2147199717"/>
        </pc:sldMkLst>
        <pc:spChg chg="mod">
          <ac:chgData name="Schjold, Hanne Røvig" userId="72e82339-bab0-442f-8ca6-e6f386a713ee" providerId="ADAL" clId="{A927EA70-17ED-490E-A653-0A9E208DC4A4}" dt="2023-04-14T12:11:35.845" v="12" actId="20577"/>
          <ac:spMkLst>
            <pc:docMk/>
            <pc:sldMk cId="3878668519" sldId="2147199717"/>
            <ac:spMk id="6" creationId="{0C8900CB-B5C8-EF3F-D3ED-E7E416FEAA9E}"/>
          </ac:spMkLst>
        </pc:spChg>
      </pc:sldChg>
      <pc:sldChg chg="modSp mod">
        <pc:chgData name="Schjold, Hanne Røvig" userId="72e82339-bab0-442f-8ca6-e6f386a713ee" providerId="ADAL" clId="{A927EA70-17ED-490E-A653-0A9E208DC4A4}" dt="2023-04-14T12:15:08.987" v="26" actId="20577"/>
        <pc:sldMkLst>
          <pc:docMk/>
          <pc:sldMk cId="3192489805" sldId="2147199719"/>
        </pc:sldMkLst>
        <pc:spChg chg="mod">
          <ac:chgData name="Schjold, Hanne Røvig" userId="72e82339-bab0-442f-8ca6-e6f386a713ee" providerId="ADAL" clId="{A927EA70-17ED-490E-A653-0A9E208DC4A4}" dt="2023-04-14T12:15:08.987" v="26" actId="20577"/>
          <ac:spMkLst>
            <pc:docMk/>
            <pc:sldMk cId="3192489805" sldId="2147199719"/>
            <ac:spMk id="6" creationId="{0C8900CB-B5C8-EF3F-D3ED-E7E416FEAA9E}"/>
          </ac:spMkLst>
        </pc:spChg>
      </pc:sldChg>
      <pc:sldChg chg="modSp mod">
        <pc:chgData name="Schjold, Hanne Røvig" userId="72e82339-bab0-442f-8ca6-e6f386a713ee" providerId="ADAL" clId="{A927EA70-17ED-490E-A653-0A9E208DC4A4}" dt="2023-04-14T12:16:32.370" v="30" actId="20577"/>
        <pc:sldMkLst>
          <pc:docMk/>
          <pc:sldMk cId="2504834197" sldId="2147199721"/>
        </pc:sldMkLst>
        <pc:spChg chg="mod">
          <ac:chgData name="Schjold, Hanne Røvig" userId="72e82339-bab0-442f-8ca6-e6f386a713ee" providerId="ADAL" clId="{A927EA70-17ED-490E-A653-0A9E208DC4A4}" dt="2023-04-14T12:16:32.370" v="30" actId="20577"/>
          <ac:spMkLst>
            <pc:docMk/>
            <pc:sldMk cId="2504834197" sldId="2147199721"/>
            <ac:spMk id="6" creationId="{0C8900CB-B5C8-EF3F-D3ED-E7E416FEAA9E}"/>
          </ac:spMkLst>
        </pc:spChg>
      </pc:sldChg>
      <pc:sldChg chg="modSp mod">
        <pc:chgData name="Schjold, Hanne Røvig" userId="72e82339-bab0-442f-8ca6-e6f386a713ee" providerId="ADAL" clId="{A927EA70-17ED-490E-A653-0A9E208DC4A4}" dt="2023-04-14T12:17:11.781" v="33" actId="1035"/>
        <pc:sldMkLst>
          <pc:docMk/>
          <pc:sldMk cId="2632267400" sldId="2147199724"/>
        </pc:sldMkLst>
        <pc:spChg chg="mod">
          <ac:chgData name="Schjold, Hanne Røvig" userId="72e82339-bab0-442f-8ca6-e6f386a713ee" providerId="ADAL" clId="{A927EA70-17ED-490E-A653-0A9E208DC4A4}" dt="2023-04-14T12:17:06.207" v="31" actId="1035"/>
          <ac:spMkLst>
            <pc:docMk/>
            <pc:sldMk cId="2632267400" sldId="2147199724"/>
            <ac:spMk id="5" creationId="{4CEBA6D0-E2E5-DE33-4B57-FC9F48050EC4}"/>
          </ac:spMkLst>
        </pc:spChg>
        <pc:spChg chg="mod">
          <ac:chgData name="Schjold, Hanne Røvig" userId="72e82339-bab0-442f-8ca6-e6f386a713ee" providerId="ADAL" clId="{A927EA70-17ED-490E-A653-0A9E208DC4A4}" dt="2023-04-14T12:17:11.781" v="33" actId="1035"/>
          <ac:spMkLst>
            <pc:docMk/>
            <pc:sldMk cId="2632267400" sldId="2147199724"/>
            <ac:spMk id="7" creationId="{A6C3AE58-A489-A671-9437-DD4FF96B4B80}"/>
          </ac:spMkLst>
        </pc:spChg>
      </pc:sldChg>
    </pc:docChg>
  </pc:docChgLst>
  <pc:docChgLst>
    <pc:chgData name="Lien, Ole Christian" userId="273202a6-48ae-4110-b993-7f020695e2c7" providerId="ADAL" clId="{5698EBC0-DA59-4DDB-ADC8-C3EB0D021602}"/>
    <pc:docChg chg="undo custSel addSld delSld modSld modSection">
      <pc:chgData name="Lien, Ole Christian" userId="273202a6-48ae-4110-b993-7f020695e2c7" providerId="ADAL" clId="{5698EBC0-DA59-4DDB-ADC8-C3EB0D021602}" dt="2023-04-18T18:28:16.879" v="127" actId="20577"/>
      <pc:docMkLst>
        <pc:docMk/>
      </pc:docMkLst>
      <pc:sldChg chg="delCm">
        <pc:chgData name="Lien, Ole Christian" userId="273202a6-48ae-4110-b993-7f020695e2c7" providerId="ADAL" clId="{5698EBC0-DA59-4DDB-ADC8-C3EB0D021602}" dt="2023-04-18T18:25:25.902" v="86"/>
        <pc:sldMkLst>
          <pc:docMk/>
          <pc:sldMk cId="1313285263" sldId="690"/>
        </pc:sldMkLst>
        <pc:extLst>
          <p:ext xmlns:p="http://schemas.openxmlformats.org/presentationml/2006/main" uri="{D6D511B9-2390-475A-947B-AFAB55BFBCF1}">
            <pc226:cmChg xmlns:pc226="http://schemas.microsoft.com/office/powerpoint/2022/06/main/command" chg="del">
              <pc226:chgData name="Lien, Ole Christian" userId="273202a6-48ae-4110-b993-7f020695e2c7" providerId="ADAL" clId="{5698EBC0-DA59-4DDB-ADC8-C3EB0D021602}" dt="2023-04-18T18:25:25.902" v="86"/>
              <pc2:cmMkLst xmlns:pc2="http://schemas.microsoft.com/office/powerpoint/2019/9/main/command">
                <pc:docMk/>
                <pc:sldMk cId="1313285263" sldId="690"/>
                <pc2:cmMk id="{835E8148-23A1-4140-99DC-31FE549A331C}"/>
              </pc2:cmMkLst>
            </pc226:cmChg>
          </p:ext>
        </pc:extLst>
      </pc:sldChg>
      <pc:sldChg chg="modNotesTx">
        <pc:chgData name="Lien, Ole Christian" userId="273202a6-48ae-4110-b993-7f020695e2c7" providerId="ADAL" clId="{5698EBC0-DA59-4DDB-ADC8-C3EB0D021602}" dt="2023-03-30T04:40:24.254" v="79"/>
        <pc:sldMkLst>
          <pc:docMk/>
          <pc:sldMk cId="2427734624" sldId="696"/>
        </pc:sldMkLst>
      </pc:sldChg>
      <pc:sldChg chg="addSp delSp modSp mod modNotesTx">
        <pc:chgData name="Lien, Ole Christian" userId="273202a6-48ae-4110-b993-7f020695e2c7" providerId="ADAL" clId="{5698EBC0-DA59-4DDB-ADC8-C3EB0D021602}" dt="2023-03-30T04:40:38.463" v="82" actId="20577"/>
        <pc:sldMkLst>
          <pc:docMk/>
          <pc:sldMk cId="3633088076" sldId="697"/>
        </pc:sldMkLst>
        <pc:spChg chg="mod">
          <ac:chgData name="Lien, Ole Christian" userId="273202a6-48ae-4110-b993-7f020695e2c7" providerId="ADAL" clId="{5698EBC0-DA59-4DDB-ADC8-C3EB0D021602}" dt="2023-03-30T04:39:30.509" v="25" actId="20577"/>
          <ac:spMkLst>
            <pc:docMk/>
            <pc:sldMk cId="3633088076" sldId="697"/>
            <ac:spMk id="3" creationId="{812483EE-F63C-D162-AD66-80A9589A805E}"/>
          </ac:spMkLst>
        </pc:spChg>
        <pc:spChg chg="mod">
          <ac:chgData name="Lien, Ole Christian" userId="273202a6-48ae-4110-b993-7f020695e2c7" providerId="ADAL" clId="{5698EBC0-DA59-4DDB-ADC8-C3EB0D021602}" dt="2023-03-30T04:40:07.022" v="77" actId="20577"/>
          <ac:spMkLst>
            <pc:docMk/>
            <pc:sldMk cId="3633088076" sldId="697"/>
            <ac:spMk id="7" creationId="{74D97012-5243-7643-A741-DA1B30601511}"/>
          </ac:spMkLst>
        </pc:spChg>
        <pc:graphicFrameChg chg="add mod">
          <ac:chgData name="Lien, Ole Christian" userId="273202a6-48ae-4110-b993-7f020695e2c7" providerId="ADAL" clId="{5698EBC0-DA59-4DDB-ADC8-C3EB0D021602}" dt="2023-03-30T04:39:24.030" v="8" actId="14100"/>
          <ac:graphicFrameMkLst>
            <pc:docMk/>
            <pc:sldMk cId="3633088076" sldId="697"/>
            <ac:graphicFrameMk id="5" creationId="{E3D99A87-F177-2380-CD57-EE017239B903}"/>
          </ac:graphicFrameMkLst>
        </pc:graphicFrameChg>
        <pc:graphicFrameChg chg="del">
          <ac:chgData name="Lien, Ole Christian" userId="273202a6-48ae-4110-b993-7f020695e2c7" providerId="ADAL" clId="{5698EBC0-DA59-4DDB-ADC8-C3EB0D021602}" dt="2023-03-30T04:39:17.074" v="5" actId="478"/>
          <ac:graphicFrameMkLst>
            <pc:docMk/>
            <pc:sldMk cId="3633088076" sldId="697"/>
            <ac:graphicFrameMk id="9" creationId="{1C87C3DB-0DCD-4AE2-96DD-634D86192073}"/>
          </ac:graphicFrameMkLst>
        </pc:graphicFrameChg>
      </pc:sldChg>
      <pc:sldChg chg="modNotesTx">
        <pc:chgData name="Lien, Ole Christian" userId="273202a6-48ae-4110-b993-7f020695e2c7" providerId="ADAL" clId="{5698EBC0-DA59-4DDB-ADC8-C3EB0D021602}" dt="2023-03-30T04:44:10.242" v="85"/>
        <pc:sldMkLst>
          <pc:docMk/>
          <pc:sldMk cId="3063502814" sldId="2147199668"/>
        </pc:sldMkLst>
      </pc:sldChg>
      <pc:sldChg chg="modNotesTx">
        <pc:chgData name="Lien, Ole Christian" userId="273202a6-48ae-4110-b993-7f020695e2c7" providerId="ADAL" clId="{5698EBC0-DA59-4DDB-ADC8-C3EB0D021602}" dt="2023-03-30T04:41:53.638" v="83"/>
        <pc:sldMkLst>
          <pc:docMk/>
          <pc:sldMk cId="1793173726" sldId="2147199708"/>
        </pc:sldMkLst>
      </pc:sldChg>
      <pc:sldChg chg="del">
        <pc:chgData name="Lien, Ole Christian" userId="273202a6-48ae-4110-b993-7f020695e2c7" providerId="ADAL" clId="{5698EBC0-DA59-4DDB-ADC8-C3EB0D021602}" dt="2023-03-30T03:53:27.047" v="1" actId="47"/>
        <pc:sldMkLst>
          <pc:docMk/>
          <pc:sldMk cId="2218608795" sldId="2147199712"/>
        </pc:sldMkLst>
      </pc:sldChg>
      <pc:sldChg chg="modNotesTx">
        <pc:chgData name="Lien, Ole Christian" userId="273202a6-48ae-4110-b993-7f020695e2c7" providerId="ADAL" clId="{5698EBC0-DA59-4DDB-ADC8-C3EB0D021602}" dt="2023-03-30T04:43:15.727" v="84"/>
        <pc:sldMkLst>
          <pc:docMk/>
          <pc:sldMk cId="3140334545" sldId="2147199713"/>
        </pc:sldMkLst>
      </pc:sldChg>
      <pc:sldChg chg="modSp mod">
        <pc:chgData name="Lien, Ole Christian" userId="273202a6-48ae-4110-b993-7f020695e2c7" providerId="ADAL" clId="{5698EBC0-DA59-4DDB-ADC8-C3EB0D021602}" dt="2023-04-18T18:26:22.573" v="93" actId="1035"/>
        <pc:sldMkLst>
          <pc:docMk/>
          <pc:sldMk cId="2632267400" sldId="2147199724"/>
        </pc:sldMkLst>
        <pc:spChg chg="mod">
          <ac:chgData name="Lien, Ole Christian" userId="273202a6-48ae-4110-b993-7f020695e2c7" providerId="ADAL" clId="{5698EBC0-DA59-4DDB-ADC8-C3EB0D021602}" dt="2023-04-18T18:25:51.425" v="89" actId="1035"/>
          <ac:spMkLst>
            <pc:docMk/>
            <pc:sldMk cId="2632267400" sldId="2147199724"/>
            <ac:spMk id="4" creationId="{26355C6D-5824-7F86-7BCB-F8761A6E4BA3}"/>
          </ac:spMkLst>
        </pc:spChg>
        <pc:spChg chg="mod">
          <ac:chgData name="Lien, Ole Christian" userId="273202a6-48ae-4110-b993-7f020695e2c7" providerId="ADAL" clId="{5698EBC0-DA59-4DDB-ADC8-C3EB0D021602}" dt="2023-04-18T18:26:08.564" v="91" actId="1035"/>
          <ac:spMkLst>
            <pc:docMk/>
            <pc:sldMk cId="2632267400" sldId="2147199724"/>
            <ac:spMk id="5" creationId="{4CEBA6D0-E2E5-DE33-4B57-FC9F48050EC4}"/>
          </ac:spMkLst>
        </pc:spChg>
        <pc:spChg chg="mod">
          <ac:chgData name="Lien, Ole Christian" userId="273202a6-48ae-4110-b993-7f020695e2c7" providerId="ADAL" clId="{5698EBC0-DA59-4DDB-ADC8-C3EB0D021602}" dt="2023-04-18T18:26:15.474" v="92" actId="1035"/>
          <ac:spMkLst>
            <pc:docMk/>
            <pc:sldMk cId="2632267400" sldId="2147199724"/>
            <ac:spMk id="6" creationId="{818047E5-0FC8-6B74-08FC-39B6D1CAA7F8}"/>
          </ac:spMkLst>
        </pc:spChg>
        <pc:spChg chg="mod">
          <ac:chgData name="Lien, Ole Christian" userId="273202a6-48ae-4110-b993-7f020695e2c7" providerId="ADAL" clId="{5698EBC0-DA59-4DDB-ADC8-C3EB0D021602}" dt="2023-04-18T18:26:22.573" v="93" actId="1035"/>
          <ac:spMkLst>
            <pc:docMk/>
            <pc:sldMk cId="2632267400" sldId="2147199724"/>
            <ac:spMk id="7" creationId="{A6C3AE58-A489-A671-9437-DD4FF96B4B80}"/>
          </ac:spMkLst>
        </pc:spChg>
      </pc:sldChg>
      <pc:sldChg chg="modSp add mod">
        <pc:chgData name="Lien, Ole Christian" userId="273202a6-48ae-4110-b993-7f020695e2c7" providerId="ADAL" clId="{5698EBC0-DA59-4DDB-ADC8-C3EB0D021602}" dt="2023-04-18T18:28:16.879" v="127" actId="20577"/>
        <pc:sldMkLst>
          <pc:docMk/>
          <pc:sldMk cId="1469400580" sldId="2147199725"/>
        </pc:sldMkLst>
        <pc:spChg chg="mod">
          <ac:chgData name="Lien, Ole Christian" userId="273202a6-48ae-4110-b993-7f020695e2c7" providerId="ADAL" clId="{5698EBC0-DA59-4DDB-ADC8-C3EB0D021602}" dt="2023-04-18T18:28:16.879" v="127" actId="20577"/>
          <ac:spMkLst>
            <pc:docMk/>
            <pc:sldMk cId="1469400580" sldId="2147199725"/>
            <ac:spMk id="31" creationId="{0409E3C1-F3C4-839C-DECB-FF50E0F6B98E}"/>
          </ac:spMkLst>
        </pc:spChg>
        <pc:grpChg chg="mod">
          <ac:chgData name="Lien, Ole Christian" userId="273202a6-48ae-4110-b993-7f020695e2c7" providerId="ADAL" clId="{5698EBC0-DA59-4DDB-ADC8-C3EB0D021602}" dt="2023-03-30T03:53:58.002" v="3" actId="14100"/>
          <ac:grpSpMkLst>
            <pc:docMk/>
            <pc:sldMk cId="1469400580" sldId="2147199725"/>
            <ac:grpSpMk id="10" creationId="{A594FCD0-5F95-98F0-689B-130D7ECD8FE7}"/>
          </ac:grpSpMkLst>
        </pc:grpChg>
        <pc:picChg chg="mod">
          <ac:chgData name="Lien, Ole Christian" userId="273202a6-48ae-4110-b993-7f020695e2c7" providerId="ADAL" clId="{5698EBC0-DA59-4DDB-ADC8-C3EB0D021602}" dt="2023-03-30T03:53:52.273" v="2" actId="1076"/>
          <ac:picMkLst>
            <pc:docMk/>
            <pc:sldMk cId="1469400580" sldId="2147199725"/>
            <ac:picMk id="16" creationId="{A91D8196-6545-488D-B567-15FAD4B9FBA8}"/>
          </ac:picMkLst>
        </pc:picChg>
      </pc:sldChg>
    </pc:docChg>
  </pc:docChgLst>
  <pc:docChgLst>
    <pc:chgData name="Holbæk-Hanssen, Jørgen" userId="S::jorgen.holbek-hanssen@nav.no::a3d0a255-9183-455d-a309-251e105a1144" providerId="AD" clId="Web-{7154E667-8B7E-8CB6-F970-44CF029DD4E5}"/>
    <pc:docChg chg="">
      <pc:chgData name="Holbæk-Hanssen, Jørgen" userId="S::jorgen.holbek-hanssen@nav.no::a3d0a255-9183-455d-a309-251e105a1144" providerId="AD" clId="Web-{7154E667-8B7E-8CB6-F970-44CF029DD4E5}" dt="2023-03-31T10:57:56.034" v="0"/>
      <pc:docMkLst>
        <pc:docMk/>
      </pc:docMkLst>
      <pc:sldChg chg="modCm">
        <pc:chgData name="Holbæk-Hanssen, Jørgen" userId="S::jorgen.holbek-hanssen@nav.no::a3d0a255-9183-455d-a309-251e105a1144" providerId="AD" clId="Web-{7154E667-8B7E-8CB6-F970-44CF029DD4E5}" dt="2023-03-31T10:57:56.034" v="0"/>
        <pc:sldMkLst>
          <pc:docMk/>
          <pc:sldMk cId="223489148" sldId="2147199706"/>
        </pc:sldMkLst>
      </pc:sldChg>
    </pc:docChg>
  </pc:docChgLst>
  <pc:docChgLst>
    <pc:chgData name="Friess, Marianne Åsheim" userId="S::marianne.asheim.friess@nav.no::fc1461f3-aaaf-4a21-a95b-0a4fd8f5ce67" providerId="AD" clId="Web-{91EB9EAB-AB4E-4634-8F40-72FBE21A0895}"/>
    <pc:docChg chg="mod">
      <pc:chgData name="Friess, Marianne Åsheim" userId="S::marianne.asheim.friess@nav.no::fc1461f3-aaaf-4a21-a95b-0a4fd8f5ce67" providerId="AD" clId="Web-{91EB9EAB-AB4E-4634-8F40-72FBE21A0895}" dt="2023-03-29T09:19:49.892" v="1"/>
      <pc:docMkLst>
        <pc:docMk/>
      </pc:docMkLst>
      <pc:sldChg chg="modCm">
        <pc:chgData name="Friess, Marianne Åsheim" userId="S::marianne.asheim.friess@nav.no::fc1461f3-aaaf-4a21-a95b-0a4fd8f5ce67" providerId="AD" clId="Web-{91EB9EAB-AB4E-4634-8F40-72FBE21A0895}" dt="2023-03-29T09:19:49.892" v="1"/>
        <pc:sldMkLst>
          <pc:docMk/>
          <pc:sldMk cId="3770738012" sldId="688"/>
        </pc:sldMkLst>
      </pc:sldChg>
    </pc:docChg>
  </pc:docChgLst>
  <pc:docChgLst>
    <pc:chgData name="Røstad, Håkon" userId="c1637928-4d10-4cf2-9484-0473857c74e2" providerId="ADAL" clId="{A9988742-1D41-4145-BAAA-E9952094EFAF}"/>
    <pc:docChg chg="undo custSel addSld delSld modSld modSection">
      <pc:chgData name="Røstad, Håkon" userId="c1637928-4d10-4cf2-9484-0473857c74e2" providerId="ADAL" clId="{A9988742-1D41-4145-BAAA-E9952094EFAF}" dt="2023-03-28T14:40:07.446" v="992"/>
      <pc:docMkLst>
        <pc:docMk/>
      </pc:docMkLst>
      <pc:sldChg chg="addCm">
        <pc:chgData name="Røstad, Håkon" userId="c1637928-4d10-4cf2-9484-0473857c74e2" providerId="ADAL" clId="{A9988742-1D41-4145-BAAA-E9952094EFAF}" dt="2023-03-28T07:31:32.726" v="7"/>
        <pc:sldMkLst>
          <pc:docMk/>
          <pc:sldMk cId="3770738012" sldId="688"/>
        </pc:sldMkLst>
      </pc:sldChg>
      <pc:sldChg chg="addCm">
        <pc:chgData name="Røstad, Håkon" userId="c1637928-4d10-4cf2-9484-0473857c74e2" providerId="ADAL" clId="{A9988742-1D41-4145-BAAA-E9952094EFAF}" dt="2023-03-28T07:32:48.339" v="8"/>
        <pc:sldMkLst>
          <pc:docMk/>
          <pc:sldMk cId="2292431674" sldId="689"/>
        </pc:sldMkLst>
      </pc:sldChg>
      <pc:sldChg chg="addCm delCm">
        <pc:chgData name="Røstad, Håkon" userId="c1637928-4d10-4cf2-9484-0473857c74e2" providerId="ADAL" clId="{A9988742-1D41-4145-BAAA-E9952094EFAF}" dt="2023-03-28T07:30:32.761" v="6"/>
        <pc:sldMkLst>
          <pc:docMk/>
          <pc:sldMk cId="2011306900" sldId="712"/>
        </pc:sldMkLst>
      </pc:sldChg>
      <pc:sldChg chg="addCm">
        <pc:chgData name="Røstad, Håkon" userId="c1637928-4d10-4cf2-9484-0473857c74e2" providerId="ADAL" clId="{A9988742-1D41-4145-BAAA-E9952094EFAF}" dt="2023-03-28T07:41:26.981" v="9"/>
        <pc:sldMkLst>
          <pc:docMk/>
          <pc:sldMk cId="3250492731" sldId="3125"/>
        </pc:sldMkLst>
      </pc:sldChg>
      <pc:sldChg chg="addCm">
        <pc:chgData name="Røstad, Håkon" userId="c1637928-4d10-4cf2-9484-0473857c74e2" providerId="ADAL" clId="{A9988742-1D41-4145-BAAA-E9952094EFAF}" dt="2023-03-28T08:13:53.523" v="14"/>
        <pc:sldMkLst>
          <pc:docMk/>
          <pc:sldMk cId="857450812" sldId="2147199655"/>
        </pc:sldMkLst>
      </pc:sldChg>
      <pc:sldChg chg="addCm modCm">
        <pc:chgData name="Røstad, Håkon" userId="c1637928-4d10-4cf2-9484-0473857c74e2" providerId="ADAL" clId="{A9988742-1D41-4145-BAAA-E9952094EFAF}" dt="2023-03-28T14:22:52.002" v="15"/>
        <pc:sldMkLst>
          <pc:docMk/>
          <pc:sldMk cId="2463229187" sldId="2147199675"/>
        </pc:sldMkLst>
      </pc:sldChg>
      <pc:sldChg chg="addCm">
        <pc:chgData name="Røstad, Håkon" userId="c1637928-4d10-4cf2-9484-0473857c74e2" providerId="ADAL" clId="{A9988742-1D41-4145-BAAA-E9952094EFAF}" dt="2023-03-28T07:07:25.294" v="1"/>
        <pc:sldMkLst>
          <pc:docMk/>
          <pc:sldMk cId="3460481158" sldId="2147199683"/>
        </pc:sldMkLst>
      </pc:sldChg>
      <pc:sldChg chg="addCm">
        <pc:chgData name="Røstad, Håkon" userId="c1637928-4d10-4cf2-9484-0473857c74e2" providerId="ADAL" clId="{A9988742-1D41-4145-BAAA-E9952094EFAF}" dt="2023-03-28T07:24:53.841" v="2"/>
        <pc:sldMkLst>
          <pc:docMk/>
          <pc:sldMk cId="1314660975" sldId="2147199688"/>
        </pc:sldMkLst>
      </pc:sldChg>
      <pc:sldChg chg="addCm">
        <pc:chgData name="Røstad, Håkon" userId="c1637928-4d10-4cf2-9484-0473857c74e2" providerId="ADAL" clId="{A9988742-1D41-4145-BAAA-E9952094EFAF}" dt="2023-03-28T07:47:20.757" v="12"/>
        <pc:sldMkLst>
          <pc:docMk/>
          <pc:sldMk cId="223489148" sldId="2147199706"/>
        </pc:sldMkLst>
      </pc:sldChg>
      <pc:sldChg chg="addCm">
        <pc:chgData name="Røstad, Håkon" userId="c1637928-4d10-4cf2-9484-0473857c74e2" providerId="ADAL" clId="{A9988742-1D41-4145-BAAA-E9952094EFAF}" dt="2023-03-28T07:05:24.252" v="0"/>
        <pc:sldMkLst>
          <pc:docMk/>
          <pc:sldMk cId="281140690" sldId="2147199707"/>
        </pc:sldMkLst>
      </pc:sldChg>
      <pc:sldChg chg="modCm">
        <pc:chgData name="Røstad, Håkon" userId="c1637928-4d10-4cf2-9484-0473857c74e2" providerId="ADAL" clId="{A9988742-1D41-4145-BAAA-E9952094EFAF}" dt="2023-03-28T14:40:07.446" v="992"/>
        <pc:sldMkLst>
          <pc:docMk/>
          <pc:sldMk cId="3468937758" sldId="2147199714"/>
        </pc:sldMkLst>
      </pc:sldChg>
      <pc:sldChg chg="modSp add mod">
        <pc:chgData name="Røstad, Håkon" userId="c1637928-4d10-4cf2-9484-0473857c74e2" providerId="ADAL" clId="{A9988742-1D41-4145-BAAA-E9952094EFAF}" dt="2023-03-28T14:39:02.745" v="991" actId="20577"/>
        <pc:sldMkLst>
          <pc:docMk/>
          <pc:sldMk cId="2632267400" sldId="2147199724"/>
        </pc:sldMkLst>
        <pc:spChg chg="mod">
          <ac:chgData name="Røstad, Håkon" userId="c1637928-4d10-4cf2-9484-0473857c74e2" providerId="ADAL" clId="{A9988742-1D41-4145-BAAA-E9952094EFAF}" dt="2023-03-28T14:39:02.745" v="991" actId="20577"/>
          <ac:spMkLst>
            <pc:docMk/>
            <pc:sldMk cId="2632267400" sldId="2147199724"/>
            <ac:spMk id="2" creationId="{109203F1-4DA9-92C9-6619-EC97165140C0}"/>
          </ac:spMkLst>
        </pc:spChg>
        <pc:spChg chg="mod">
          <ac:chgData name="Røstad, Håkon" userId="c1637928-4d10-4cf2-9484-0473857c74e2" providerId="ADAL" clId="{A9988742-1D41-4145-BAAA-E9952094EFAF}" dt="2023-03-28T14:29:56.250" v="306" actId="20577"/>
          <ac:spMkLst>
            <pc:docMk/>
            <pc:sldMk cId="2632267400" sldId="2147199724"/>
            <ac:spMk id="8" creationId="{9DDBEFBC-2BF6-3CEE-BE23-6CFEF0C75C74}"/>
          </ac:spMkLst>
        </pc:spChg>
        <pc:spChg chg="mod">
          <ac:chgData name="Røstad, Håkon" userId="c1637928-4d10-4cf2-9484-0473857c74e2" providerId="ADAL" clId="{A9988742-1D41-4145-BAAA-E9952094EFAF}" dt="2023-03-28T14:38:25.181" v="936" actId="20577"/>
          <ac:spMkLst>
            <pc:docMk/>
            <pc:sldMk cId="2632267400" sldId="2147199724"/>
            <ac:spMk id="9" creationId="{40C6DC6B-6EC1-73A0-7116-6A9CA4EDC599}"/>
          </ac:spMkLst>
        </pc:spChg>
        <pc:spChg chg="mod">
          <ac:chgData name="Røstad, Håkon" userId="c1637928-4d10-4cf2-9484-0473857c74e2" providerId="ADAL" clId="{A9988742-1D41-4145-BAAA-E9952094EFAF}" dt="2023-03-28T14:32:48.047" v="441" actId="20577"/>
          <ac:spMkLst>
            <pc:docMk/>
            <pc:sldMk cId="2632267400" sldId="2147199724"/>
            <ac:spMk id="10" creationId="{12865911-99D6-BCF5-F70E-0E54E01A64B6}"/>
          </ac:spMkLst>
        </pc:spChg>
        <pc:spChg chg="mod">
          <ac:chgData name="Røstad, Håkon" userId="c1637928-4d10-4cf2-9484-0473857c74e2" providerId="ADAL" clId="{A9988742-1D41-4145-BAAA-E9952094EFAF}" dt="2023-03-28T14:37:45.634" v="906" actId="20577"/>
          <ac:spMkLst>
            <pc:docMk/>
            <pc:sldMk cId="2632267400" sldId="2147199724"/>
            <ac:spMk id="11" creationId="{DE6264DB-4943-2AE7-49F4-91055265DB72}"/>
          </ac:spMkLst>
        </pc:spChg>
        <pc:spChg chg="mod">
          <ac:chgData name="Røstad, Håkon" userId="c1637928-4d10-4cf2-9484-0473857c74e2" providerId="ADAL" clId="{A9988742-1D41-4145-BAAA-E9952094EFAF}" dt="2023-03-28T14:30:13.379" v="313" actId="20577"/>
          <ac:spMkLst>
            <pc:docMk/>
            <pc:sldMk cId="2632267400" sldId="2147199724"/>
            <ac:spMk id="14" creationId="{FEE02ECA-C166-434C-3817-BBD66B537EA9}"/>
          </ac:spMkLst>
        </pc:spChg>
      </pc:sldChg>
      <pc:sldChg chg="new del">
        <pc:chgData name="Røstad, Håkon" userId="c1637928-4d10-4cf2-9484-0473857c74e2" providerId="ADAL" clId="{A9988742-1D41-4145-BAAA-E9952094EFAF}" dt="2023-03-28T14:25:57.449" v="17" actId="680"/>
        <pc:sldMkLst>
          <pc:docMk/>
          <pc:sldMk cId="3064229948" sldId="2147199724"/>
        </pc:sldMkLst>
      </pc:sldChg>
    </pc:docChg>
  </pc:docChgLst>
  <pc:docChgLst>
    <pc:chgData name="Nossen, Jon Petter" userId="4276b89b-734f-4e0c-813a-0a48ebe67d4f" providerId="ADAL" clId="{F06575F4-F262-4CD4-9C24-1A44EE95BFD8}"/>
    <pc:docChg chg="undo custSel modSld">
      <pc:chgData name="Nossen, Jon Petter" userId="4276b89b-734f-4e0c-813a-0a48ebe67d4f" providerId="ADAL" clId="{F06575F4-F262-4CD4-9C24-1A44EE95BFD8}" dt="2023-04-12T09:30:59.578" v="121" actId="6549"/>
      <pc:docMkLst>
        <pc:docMk/>
      </pc:docMkLst>
      <pc:sldChg chg="addCm">
        <pc:chgData name="Nossen, Jon Petter" userId="4276b89b-734f-4e0c-813a-0a48ebe67d4f" providerId="ADAL" clId="{F06575F4-F262-4CD4-9C24-1A44EE95BFD8}" dt="2023-04-12T09:26:07.047" v="80"/>
        <pc:sldMkLst>
          <pc:docMk/>
          <pc:sldMk cId="1705153547" sldId="592"/>
        </pc:sldMkLst>
      </pc:sldChg>
      <pc:sldChg chg="addCm">
        <pc:chgData name="Nossen, Jon Petter" userId="4276b89b-734f-4e0c-813a-0a48ebe67d4f" providerId="ADAL" clId="{F06575F4-F262-4CD4-9C24-1A44EE95BFD8}" dt="2023-04-12T09:01:39.533" v="0"/>
        <pc:sldMkLst>
          <pc:docMk/>
          <pc:sldMk cId="3925071739" sldId="677"/>
        </pc:sldMkLst>
      </pc:sldChg>
      <pc:sldChg chg="modSp mod modNotesTx">
        <pc:chgData name="Nossen, Jon Petter" userId="4276b89b-734f-4e0c-813a-0a48ebe67d4f" providerId="ADAL" clId="{F06575F4-F262-4CD4-9C24-1A44EE95BFD8}" dt="2023-04-12T09:30:02.270" v="120" actId="20577"/>
        <pc:sldMkLst>
          <pc:docMk/>
          <pc:sldMk cId="3063502814" sldId="2147199668"/>
        </pc:sldMkLst>
        <pc:spChg chg="mod">
          <ac:chgData name="Nossen, Jon Petter" userId="4276b89b-734f-4e0c-813a-0a48ebe67d4f" providerId="ADAL" clId="{F06575F4-F262-4CD4-9C24-1A44EE95BFD8}" dt="2023-04-12T09:26:55.142" v="82" actId="6549"/>
          <ac:spMkLst>
            <pc:docMk/>
            <pc:sldMk cId="3063502814" sldId="2147199668"/>
            <ac:spMk id="5" creationId="{A9E1B165-CD61-5545-B3A3-F9EAA80CC4EF}"/>
          </ac:spMkLst>
        </pc:spChg>
      </pc:sldChg>
      <pc:sldChg chg="modSp mod addCm modNotesTx">
        <pc:chgData name="Nossen, Jon Petter" userId="4276b89b-734f-4e0c-813a-0a48ebe67d4f" providerId="ADAL" clId="{F06575F4-F262-4CD4-9C24-1A44EE95BFD8}" dt="2023-04-12T09:18:02.400" v="79"/>
        <pc:sldMkLst>
          <pc:docMk/>
          <pc:sldMk cId="2119641651" sldId="2147199673"/>
        </pc:sldMkLst>
        <pc:spChg chg="mod">
          <ac:chgData name="Nossen, Jon Petter" userId="4276b89b-734f-4e0c-813a-0a48ebe67d4f" providerId="ADAL" clId="{F06575F4-F262-4CD4-9C24-1A44EE95BFD8}" dt="2023-04-12T09:16:28.335" v="78" actId="20577"/>
          <ac:spMkLst>
            <pc:docMk/>
            <pc:sldMk cId="2119641651" sldId="2147199673"/>
            <ac:spMk id="4" creationId="{CEB5A685-31DB-4FA3-845F-BBEE0F4B08E3}"/>
          </ac:spMkLst>
        </pc:spChg>
      </pc:sldChg>
      <pc:sldChg chg="modNotesTx">
        <pc:chgData name="Nossen, Jon Petter" userId="4276b89b-734f-4e0c-813a-0a48ebe67d4f" providerId="ADAL" clId="{F06575F4-F262-4CD4-9C24-1A44EE95BFD8}" dt="2023-04-12T09:06:22.285" v="11" actId="20577"/>
        <pc:sldMkLst>
          <pc:docMk/>
          <pc:sldMk cId="3140334545" sldId="2147199713"/>
        </pc:sldMkLst>
      </pc:sldChg>
      <pc:sldChg chg="modSp mod">
        <pc:chgData name="Nossen, Jon Petter" userId="4276b89b-734f-4e0c-813a-0a48ebe67d4f" providerId="ADAL" clId="{F06575F4-F262-4CD4-9C24-1A44EE95BFD8}" dt="2023-04-12T09:30:59.578" v="121" actId="6549"/>
        <pc:sldMkLst>
          <pc:docMk/>
          <pc:sldMk cId="2504834197" sldId="2147199721"/>
        </pc:sldMkLst>
        <pc:spChg chg="mod">
          <ac:chgData name="Nossen, Jon Petter" userId="4276b89b-734f-4e0c-813a-0a48ebe67d4f" providerId="ADAL" clId="{F06575F4-F262-4CD4-9C24-1A44EE95BFD8}" dt="2023-04-12T09:30:59.578" v="121" actId="6549"/>
          <ac:spMkLst>
            <pc:docMk/>
            <pc:sldMk cId="2504834197" sldId="2147199721"/>
            <ac:spMk id="6" creationId="{0C8900CB-B5C8-EF3F-D3ED-E7E416FEAA9E}"/>
          </ac:spMkLst>
        </pc:spChg>
      </pc:sldChg>
    </pc:docChg>
  </pc:docChgLst>
  <pc:docChgLst>
    <pc:chgData name="Furuberg, Jorunn" userId="31bb6f31-0570-441d-bf57-d8249bf3e22a" providerId="ADAL" clId="{E24FB25A-B8AF-4108-ABAC-2B7BAD022658}"/>
    <pc:docChg chg="sldOrd">
      <pc:chgData name="Furuberg, Jorunn" userId="31bb6f31-0570-441d-bf57-d8249bf3e22a" providerId="ADAL" clId="{E24FB25A-B8AF-4108-ABAC-2B7BAD022658}" dt="2023-03-21T08:58:31.081" v="0" actId="20578"/>
      <pc:docMkLst>
        <pc:docMk/>
      </pc:docMkLst>
      <pc:sldChg chg="ord">
        <pc:chgData name="Furuberg, Jorunn" userId="31bb6f31-0570-441d-bf57-d8249bf3e22a" providerId="ADAL" clId="{E24FB25A-B8AF-4108-ABAC-2B7BAD022658}" dt="2023-03-21T08:58:31.081" v="0" actId="20578"/>
        <pc:sldMkLst>
          <pc:docMk/>
          <pc:sldMk cId="2931966506" sldId="748"/>
        </pc:sldMkLst>
      </pc:sldChg>
    </pc:docChg>
  </pc:docChgLst>
  <pc:docChgLst>
    <pc:chgData name="Lien, Ole Christian" userId="273202a6-48ae-4110-b993-7f020695e2c7" providerId="ADAL" clId="{E65EB891-73A4-45AD-BA85-ACB5A4739ACF}"/>
    <pc:docChg chg="undo custSel addSld delSld modSld sldOrd modSection">
      <pc:chgData name="Lien, Ole Christian" userId="273202a6-48ae-4110-b993-7f020695e2c7" providerId="ADAL" clId="{E65EB891-73A4-45AD-BA85-ACB5A4739ACF}" dt="2023-03-29T07:40:44.092" v="2015" actId="20577"/>
      <pc:docMkLst>
        <pc:docMk/>
      </pc:docMkLst>
      <pc:sldChg chg="modSp modCm">
        <pc:chgData name="Lien, Ole Christian" userId="273202a6-48ae-4110-b993-7f020695e2c7" providerId="ADAL" clId="{E65EB891-73A4-45AD-BA85-ACB5A4739ACF}" dt="2023-03-29T07:30:41.416" v="1973" actId="2085"/>
        <pc:sldMkLst>
          <pc:docMk/>
          <pc:sldMk cId="3925071739" sldId="677"/>
        </pc:sldMkLst>
        <pc:graphicFrameChg chg="mod">
          <ac:chgData name="Lien, Ole Christian" userId="273202a6-48ae-4110-b993-7f020695e2c7" providerId="ADAL" clId="{E65EB891-73A4-45AD-BA85-ACB5A4739ACF}" dt="2023-03-29T07:30:41.416" v="1973" actId="2085"/>
          <ac:graphicFrameMkLst>
            <pc:docMk/>
            <pc:sldMk cId="3925071739" sldId="677"/>
            <ac:graphicFrameMk id="7" creationId="{56AAC3D3-EE74-7729-CBFB-368C709FCA7D}"/>
          </ac:graphicFrameMkLst>
        </pc:graphicFrameChg>
      </pc:sldChg>
      <pc:sldChg chg="addCm">
        <pc:chgData name="Lien, Ole Christian" userId="273202a6-48ae-4110-b993-7f020695e2c7" providerId="ADAL" clId="{E65EB891-73A4-45AD-BA85-ACB5A4739ACF}" dt="2023-03-28T08:16:34.991" v="66"/>
        <pc:sldMkLst>
          <pc:docMk/>
          <pc:sldMk cId="3770738012" sldId="688"/>
        </pc:sldMkLst>
      </pc:sldChg>
      <pc:sldChg chg="modSp mod modCm">
        <pc:chgData name="Lien, Ole Christian" userId="273202a6-48ae-4110-b993-7f020695e2c7" providerId="ADAL" clId="{E65EB891-73A4-45AD-BA85-ACB5A4739ACF}" dt="2023-03-29T07:27:13.464" v="1965"/>
        <pc:sldMkLst>
          <pc:docMk/>
          <pc:sldMk cId="2011306900" sldId="712"/>
        </pc:sldMkLst>
        <pc:spChg chg="mod">
          <ac:chgData name="Lien, Ole Christian" userId="273202a6-48ae-4110-b993-7f020695e2c7" providerId="ADAL" clId="{E65EB891-73A4-45AD-BA85-ACB5A4739ACF}" dt="2023-03-29T07:26:24.670" v="1963" actId="20577"/>
          <ac:spMkLst>
            <pc:docMk/>
            <pc:sldMk cId="2011306900" sldId="712"/>
            <ac:spMk id="5" creationId="{FAF55260-460C-6B01-2315-D40C3D2CE222}"/>
          </ac:spMkLst>
        </pc:spChg>
        <pc:spChg chg="mod">
          <ac:chgData name="Lien, Ole Christian" userId="273202a6-48ae-4110-b993-7f020695e2c7" providerId="ADAL" clId="{E65EB891-73A4-45AD-BA85-ACB5A4739ACF}" dt="2023-03-29T07:25:48.658" v="1953" actId="20577"/>
          <ac:spMkLst>
            <pc:docMk/>
            <pc:sldMk cId="2011306900" sldId="712"/>
            <ac:spMk id="10" creationId="{11BB3FE5-9ACF-C4DC-C96B-7C9AB58D8685}"/>
          </ac:spMkLst>
        </pc:spChg>
      </pc:sldChg>
      <pc:sldChg chg="modSp mod">
        <pc:chgData name="Lien, Ole Christian" userId="273202a6-48ae-4110-b993-7f020695e2c7" providerId="ADAL" clId="{E65EB891-73A4-45AD-BA85-ACB5A4739ACF}" dt="2023-03-28T08:42:43.047" v="192" actId="20577"/>
        <pc:sldMkLst>
          <pc:docMk/>
          <pc:sldMk cId="2931966506" sldId="748"/>
        </pc:sldMkLst>
        <pc:spChg chg="mod">
          <ac:chgData name="Lien, Ole Christian" userId="273202a6-48ae-4110-b993-7f020695e2c7" providerId="ADAL" clId="{E65EB891-73A4-45AD-BA85-ACB5A4739ACF}" dt="2023-03-28T08:42:43.047" v="192" actId="20577"/>
          <ac:spMkLst>
            <pc:docMk/>
            <pc:sldMk cId="2931966506" sldId="748"/>
            <ac:spMk id="14" creationId="{EC8AE87B-A22D-D54C-9DA4-194DDEAFB745}"/>
          </ac:spMkLst>
        </pc:spChg>
        <pc:spChg chg="mod">
          <ac:chgData name="Lien, Ole Christian" userId="273202a6-48ae-4110-b993-7f020695e2c7" providerId="ADAL" clId="{E65EB891-73A4-45AD-BA85-ACB5A4739ACF}" dt="2023-03-28T08:41:47.997" v="188" actId="20577"/>
          <ac:spMkLst>
            <pc:docMk/>
            <pc:sldMk cId="2931966506" sldId="748"/>
            <ac:spMk id="22" creationId="{1468A28C-0578-664C-B877-81651DE1A7F7}"/>
          </ac:spMkLst>
        </pc:spChg>
      </pc:sldChg>
      <pc:sldChg chg="addSp delSp modSp mod addCm delCm modCm modNotesTx">
        <pc:chgData name="Lien, Ole Christian" userId="273202a6-48ae-4110-b993-7f020695e2c7" providerId="ADAL" clId="{E65EB891-73A4-45AD-BA85-ACB5A4739ACF}" dt="2023-03-29T07:20:47.305" v="1902" actId="20577"/>
        <pc:sldMkLst>
          <pc:docMk/>
          <pc:sldMk cId="3717460304" sldId="749"/>
        </pc:sldMkLst>
        <pc:spChg chg="mod">
          <ac:chgData name="Lien, Ole Christian" userId="273202a6-48ae-4110-b993-7f020695e2c7" providerId="ADAL" clId="{E65EB891-73A4-45AD-BA85-ACB5A4739ACF}" dt="2023-03-29T07:20:47.305" v="1902" actId="20577"/>
          <ac:spMkLst>
            <pc:docMk/>
            <pc:sldMk cId="3717460304" sldId="749"/>
            <ac:spMk id="2" creationId="{169D3F4F-EA94-447E-4104-B4E18672D7C7}"/>
          </ac:spMkLst>
        </pc:spChg>
        <pc:spChg chg="add del mod">
          <ac:chgData name="Lien, Ole Christian" userId="273202a6-48ae-4110-b993-7f020695e2c7" providerId="ADAL" clId="{E65EB891-73A4-45AD-BA85-ACB5A4739ACF}" dt="2023-03-28T09:38:38.443" v="1810" actId="478"/>
          <ac:spMkLst>
            <pc:docMk/>
            <pc:sldMk cId="3717460304" sldId="749"/>
            <ac:spMk id="9" creationId="{C399397B-2172-DE33-AD8A-4665839A24EA}"/>
          </ac:spMkLst>
        </pc:spChg>
        <pc:spChg chg="add del mod">
          <ac:chgData name="Lien, Ole Christian" userId="273202a6-48ae-4110-b993-7f020695e2c7" providerId="ADAL" clId="{E65EB891-73A4-45AD-BA85-ACB5A4739ACF}" dt="2023-03-28T09:38:17.894" v="1780" actId="478"/>
          <ac:spMkLst>
            <pc:docMk/>
            <pc:sldMk cId="3717460304" sldId="749"/>
            <ac:spMk id="10" creationId="{E9BA2283-497F-4198-C1C9-5588400D115F}"/>
          </ac:spMkLst>
        </pc:spChg>
        <pc:spChg chg="add mod">
          <ac:chgData name="Lien, Ole Christian" userId="273202a6-48ae-4110-b993-7f020695e2c7" providerId="ADAL" clId="{E65EB891-73A4-45AD-BA85-ACB5A4739ACF}" dt="2023-03-28T09:39:06.248" v="1821" actId="1076"/>
          <ac:spMkLst>
            <pc:docMk/>
            <pc:sldMk cId="3717460304" sldId="749"/>
            <ac:spMk id="11" creationId="{679A9086-7825-6ED9-F4D2-C202161D8DFE}"/>
          </ac:spMkLst>
        </pc:spChg>
        <pc:spChg chg="add mod">
          <ac:chgData name="Lien, Ole Christian" userId="273202a6-48ae-4110-b993-7f020695e2c7" providerId="ADAL" clId="{E65EB891-73A4-45AD-BA85-ACB5A4739ACF}" dt="2023-03-28T09:39:11.742" v="1823" actId="1076"/>
          <ac:spMkLst>
            <pc:docMk/>
            <pc:sldMk cId="3717460304" sldId="749"/>
            <ac:spMk id="12" creationId="{E5A1B7C8-294B-F464-5CF6-49FAD722C8B8}"/>
          </ac:spMkLst>
        </pc:spChg>
        <pc:spChg chg="add mod">
          <ac:chgData name="Lien, Ole Christian" userId="273202a6-48ae-4110-b993-7f020695e2c7" providerId="ADAL" clId="{E65EB891-73A4-45AD-BA85-ACB5A4739ACF}" dt="2023-03-28T09:38:59.856" v="1819" actId="1076"/>
          <ac:spMkLst>
            <pc:docMk/>
            <pc:sldMk cId="3717460304" sldId="749"/>
            <ac:spMk id="13" creationId="{8CD3DD24-9597-39B5-5333-1808A69CA5C2}"/>
          </ac:spMkLst>
        </pc:spChg>
        <pc:graphicFrameChg chg="add mod">
          <ac:chgData name="Lien, Ole Christian" userId="273202a6-48ae-4110-b993-7f020695e2c7" providerId="ADAL" clId="{E65EB891-73A4-45AD-BA85-ACB5A4739ACF}" dt="2023-03-28T09:34:29.448" v="1602"/>
          <ac:graphicFrameMkLst>
            <pc:docMk/>
            <pc:sldMk cId="3717460304" sldId="749"/>
            <ac:graphicFrameMk id="4" creationId="{78587611-CF88-3A61-FAAD-F670D730DF62}"/>
          </ac:graphicFrameMkLst>
        </pc:graphicFrameChg>
        <pc:graphicFrameChg chg="add del mod">
          <ac:chgData name="Lien, Ole Christian" userId="273202a6-48ae-4110-b993-7f020695e2c7" providerId="ADAL" clId="{E65EB891-73A4-45AD-BA85-ACB5A4739ACF}" dt="2023-03-28T09:34:37.203" v="1606" actId="478"/>
          <ac:graphicFrameMkLst>
            <pc:docMk/>
            <pc:sldMk cId="3717460304" sldId="749"/>
            <ac:graphicFrameMk id="6" creationId="{78587611-CF88-3A61-FAAD-F670D730DF62}"/>
          </ac:graphicFrameMkLst>
        </pc:graphicFrameChg>
        <pc:graphicFrameChg chg="add mod">
          <ac:chgData name="Lien, Ole Christian" userId="273202a6-48ae-4110-b993-7f020695e2c7" providerId="ADAL" clId="{E65EB891-73A4-45AD-BA85-ACB5A4739ACF}" dt="2023-03-28T09:35:41.921" v="1609"/>
          <ac:graphicFrameMkLst>
            <pc:docMk/>
            <pc:sldMk cId="3717460304" sldId="749"/>
            <ac:graphicFrameMk id="7" creationId="{78587611-CF88-3A61-FAAD-F670D730DF62}"/>
          </ac:graphicFrameMkLst>
        </pc:graphicFrameChg>
        <pc:graphicFrameChg chg="add mod">
          <ac:chgData name="Lien, Ole Christian" userId="273202a6-48ae-4110-b993-7f020695e2c7" providerId="ADAL" clId="{E65EB891-73A4-45AD-BA85-ACB5A4739ACF}" dt="2023-03-28T09:37:16.780" v="1740" actId="2711"/>
          <ac:graphicFrameMkLst>
            <pc:docMk/>
            <pc:sldMk cId="3717460304" sldId="749"/>
            <ac:graphicFrameMk id="8" creationId="{78587611-CF88-3A61-FAAD-F670D730DF62}"/>
          </ac:graphicFrameMkLst>
        </pc:graphicFrameChg>
        <pc:picChg chg="del">
          <ac:chgData name="Lien, Ole Christian" userId="273202a6-48ae-4110-b993-7f020695e2c7" providerId="ADAL" clId="{E65EB891-73A4-45AD-BA85-ACB5A4739ACF}" dt="2023-03-28T09:34:26.326" v="1599" actId="478"/>
          <ac:picMkLst>
            <pc:docMk/>
            <pc:sldMk cId="3717460304" sldId="749"/>
            <ac:picMk id="5" creationId="{E734ACD7-9EEC-7B3C-B899-FDA707F9A9D2}"/>
          </ac:picMkLst>
        </pc:picChg>
      </pc:sldChg>
      <pc:sldChg chg="modSp mod">
        <pc:chgData name="Lien, Ole Christian" userId="273202a6-48ae-4110-b993-7f020695e2c7" providerId="ADAL" clId="{E65EB891-73A4-45AD-BA85-ACB5A4739ACF}" dt="2023-03-28T06:13:22.941" v="47" actId="20577"/>
        <pc:sldMkLst>
          <pc:docMk/>
          <pc:sldMk cId="311781684" sldId="2147199626"/>
        </pc:sldMkLst>
        <pc:spChg chg="mod">
          <ac:chgData name="Lien, Ole Christian" userId="273202a6-48ae-4110-b993-7f020695e2c7" providerId="ADAL" clId="{E65EB891-73A4-45AD-BA85-ACB5A4739ACF}" dt="2023-03-28T06:13:18.988" v="46" actId="20577"/>
          <ac:spMkLst>
            <pc:docMk/>
            <pc:sldMk cId="311781684" sldId="2147199626"/>
            <ac:spMk id="6" creationId="{3D90203F-4BF8-89B9-2E7B-0E3F530FB9C1}"/>
          </ac:spMkLst>
        </pc:spChg>
        <pc:spChg chg="mod">
          <ac:chgData name="Lien, Ole Christian" userId="273202a6-48ae-4110-b993-7f020695e2c7" providerId="ADAL" clId="{E65EB891-73A4-45AD-BA85-ACB5A4739ACF}" dt="2023-03-28T06:13:22.941" v="47" actId="20577"/>
          <ac:spMkLst>
            <pc:docMk/>
            <pc:sldMk cId="311781684" sldId="2147199626"/>
            <ac:spMk id="7" creationId="{A14F37E8-F947-D8F6-6B28-544E3B22BEE6}"/>
          </ac:spMkLst>
        </pc:spChg>
        <pc:spChg chg="mod">
          <ac:chgData name="Lien, Ole Christian" userId="273202a6-48ae-4110-b993-7f020695e2c7" providerId="ADAL" clId="{E65EB891-73A4-45AD-BA85-ACB5A4739ACF}" dt="2023-03-28T06:13:16.155" v="45" actId="20577"/>
          <ac:spMkLst>
            <pc:docMk/>
            <pc:sldMk cId="311781684" sldId="2147199626"/>
            <ac:spMk id="8" creationId="{3271F0B4-5CCF-C495-D089-497F26529AE8}"/>
          </ac:spMkLst>
        </pc:spChg>
      </pc:sldChg>
      <pc:sldChg chg="modCm">
        <pc:chgData name="Lien, Ole Christian" userId="273202a6-48ae-4110-b993-7f020695e2c7" providerId="ADAL" clId="{E65EB891-73A4-45AD-BA85-ACB5A4739ACF}" dt="2023-03-29T07:39:00.500" v="1977"/>
        <pc:sldMkLst>
          <pc:docMk/>
          <pc:sldMk cId="857450812" sldId="2147199655"/>
        </pc:sldMkLst>
      </pc:sldChg>
      <pc:sldChg chg="ord">
        <pc:chgData name="Lien, Ole Christian" userId="273202a6-48ae-4110-b993-7f020695e2c7" providerId="ADAL" clId="{E65EB891-73A4-45AD-BA85-ACB5A4739ACF}" dt="2023-03-28T08:23:08.701" v="149"/>
        <pc:sldMkLst>
          <pc:docMk/>
          <pc:sldMk cId="2463229187" sldId="2147199675"/>
        </pc:sldMkLst>
      </pc:sldChg>
      <pc:sldChg chg="modSp mod modCm">
        <pc:chgData name="Lien, Ole Christian" userId="273202a6-48ae-4110-b993-7f020695e2c7" providerId="ADAL" clId="{E65EB891-73A4-45AD-BA85-ACB5A4739ACF}" dt="2023-03-29T07:21:34.631" v="1947"/>
        <pc:sldMkLst>
          <pc:docMk/>
          <pc:sldMk cId="3460481158" sldId="2147199683"/>
        </pc:sldMkLst>
        <pc:spChg chg="mod">
          <ac:chgData name="Lien, Ole Christian" userId="273202a6-48ae-4110-b993-7f020695e2c7" providerId="ADAL" clId="{E65EB891-73A4-45AD-BA85-ACB5A4739ACF}" dt="2023-03-29T07:21:28.809" v="1946" actId="20577"/>
          <ac:spMkLst>
            <pc:docMk/>
            <pc:sldMk cId="3460481158" sldId="2147199683"/>
            <ac:spMk id="5" creationId="{65DC75E4-3269-B54C-A6DE-60AFB65C8393}"/>
          </ac:spMkLst>
        </pc:spChg>
      </pc:sldChg>
      <pc:sldChg chg="modSp modCm">
        <pc:chgData name="Lien, Ole Christian" userId="273202a6-48ae-4110-b993-7f020695e2c7" providerId="ADAL" clId="{E65EB891-73A4-45AD-BA85-ACB5A4739ACF}" dt="2023-03-29T07:25:14.236" v="1949"/>
        <pc:sldMkLst>
          <pc:docMk/>
          <pc:sldMk cId="1314660975" sldId="2147199688"/>
        </pc:sldMkLst>
        <pc:graphicFrameChg chg="mod">
          <ac:chgData name="Lien, Ole Christian" userId="273202a6-48ae-4110-b993-7f020695e2c7" providerId="ADAL" clId="{E65EB891-73A4-45AD-BA85-ACB5A4739ACF}" dt="2023-03-29T07:22:29.301" v="1948"/>
          <ac:graphicFrameMkLst>
            <pc:docMk/>
            <pc:sldMk cId="1314660975" sldId="2147199688"/>
            <ac:graphicFrameMk id="3" creationId="{1E15F8A0-F63A-38EE-EE9D-C51688EA5A3E}"/>
          </ac:graphicFrameMkLst>
        </pc:graphicFrameChg>
      </pc:sldChg>
      <pc:sldChg chg="modSp mod">
        <pc:chgData name="Lien, Ole Christian" userId="273202a6-48ae-4110-b993-7f020695e2c7" providerId="ADAL" clId="{E65EB891-73A4-45AD-BA85-ACB5A4739ACF}" dt="2023-03-27T13:57:15.004" v="43" actId="20577"/>
        <pc:sldMkLst>
          <pc:docMk/>
          <pc:sldMk cId="3098349971" sldId="2147199703"/>
        </pc:sldMkLst>
        <pc:spChg chg="mod">
          <ac:chgData name="Lien, Ole Christian" userId="273202a6-48ae-4110-b993-7f020695e2c7" providerId="ADAL" clId="{E65EB891-73A4-45AD-BA85-ACB5A4739ACF}" dt="2023-03-27T13:57:15.004" v="43" actId="20577"/>
          <ac:spMkLst>
            <pc:docMk/>
            <pc:sldMk cId="3098349971" sldId="2147199703"/>
            <ac:spMk id="4" creationId="{99B6815F-7717-442C-973F-093B42E688A0}"/>
          </ac:spMkLst>
        </pc:spChg>
      </pc:sldChg>
      <pc:sldChg chg="modSp mod ord modCm">
        <pc:chgData name="Lien, Ole Christian" userId="273202a6-48ae-4110-b993-7f020695e2c7" providerId="ADAL" clId="{E65EB891-73A4-45AD-BA85-ACB5A4739ACF}" dt="2023-03-29T07:40:44.092" v="2015" actId="20577"/>
        <pc:sldMkLst>
          <pc:docMk/>
          <pc:sldMk cId="223489148" sldId="2147199706"/>
        </pc:sldMkLst>
        <pc:spChg chg="mod">
          <ac:chgData name="Lien, Ole Christian" userId="273202a6-48ae-4110-b993-7f020695e2c7" providerId="ADAL" clId="{E65EB891-73A4-45AD-BA85-ACB5A4739ACF}" dt="2023-03-29T07:40:44.092" v="2015" actId="20577"/>
          <ac:spMkLst>
            <pc:docMk/>
            <pc:sldMk cId="223489148" sldId="2147199706"/>
            <ac:spMk id="14" creationId="{A5A7DDF1-0D0D-B99A-02F1-AAC434C3D8A6}"/>
          </ac:spMkLst>
        </pc:spChg>
      </pc:sldChg>
      <pc:sldChg chg="modSp mod modCm">
        <pc:chgData name="Lien, Ole Christian" userId="273202a6-48ae-4110-b993-7f020695e2c7" providerId="ADAL" clId="{E65EB891-73A4-45AD-BA85-ACB5A4739ACF}" dt="2023-03-29T07:20:20.870" v="1900"/>
        <pc:sldMkLst>
          <pc:docMk/>
          <pc:sldMk cId="281140690" sldId="2147199707"/>
        </pc:sldMkLst>
        <pc:spChg chg="mod">
          <ac:chgData name="Lien, Ole Christian" userId="273202a6-48ae-4110-b993-7f020695e2c7" providerId="ADAL" clId="{E65EB891-73A4-45AD-BA85-ACB5A4739ACF}" dt="2023-03-29T07:18:54.651" v="1865" actId="20577"/>
          <ac:spMkLst>
            <pc:docMk/>
            <pc:sldMk cId="281140690" sldId="2147199707"/>
            <ac:spMk id="14" creationId="{1E0D0B84-4EDA-E327-B359-7F67668CA4C5}"/>
          </ac:spMkLst>
        </pc:spChg>
        <pc:spChg chg="mod">
          <ac:chgData name="Lien, Ole Christian" userId="273202a6-48ae-4110-b993-7f020695e2c7" providerId="ADAL" clId="{E65EB891-73A4-45AD-BA85-ACB5A4739ACF}" dt="2023-03-29T07:19:41.917" v="1899" actId="20577"/>
          <ac:spMkLst>
            <pc:docMk/>
            <pc:sldMk cId="281140690" sldId="2147199707"/>
            <ac:spMk id="16" creationId="{D73C0409-8A5D-E152-19FF-16761D16718F}"/>
          </ac:spMkLst>
        </pc:spChg>
      </pc:sldChg>
      <pc:sldChg chg="modSp mod">
        <pc:chgData name="Lien, Ole Christian" userId="273202a6-48ae-4110-b993-7f020695e2c7" providerId="ADAL" clId="{E65EB891-73A4-45AD-BA85-ACB5A4739ACF}" dt="2023-03-28T06:00:03.961" v="44" actId="20577"/>
        <pc:sldMkLst>
          <pc:docMk/>
          <pc:sldMk cId="1793173726" sldId="2147199708"/>
        </pc:sldMkLst>
        <pc:spChg chg="mod">
          <ac:chgData name="Lien, Ole Christian" userId="273202a6-48ae-4110-b993-7f020695e2c7" providerId="ADAL" clId="{E65EB891-73A4-45AD-BA85-ACB5A4739ACF}" dt="2023-03-28T06:00:03.961" v="44" actId="20577"/>
          <ac:spMkLst>
            <pc:docMk/>
            <pc:sldMk cId="1793173726" sldId="2147199708"/>
            <ac:spMk id="8" creationId="{C2145434-2894-79D4-9549-223EB1636BB4}"/>
          </ac:spMkLst>
        </pc:spChg>
      </pc:sldChg>
      <pc:sldChg chg="modSp">
        <pc:chgData name="Lien, Ole Christian" userId="273202a6-48ae-4110-b993-7f020695e2c7" providerId="ADAL" clId="{E65EB891-73A4-45AD-BA85-ACB5A4739ACF}" dt="2023-03-27T12:45:12.715" v="2" actId="404"/>
        <pc:sldMkLst>
          <pc:docMk/>
          <pc:sldMk cId="148059855" sldId="2147199710"/>
        </pc:sldMkLst>
        <pc:graphicFrameChg chg="mod">
          <ac:chgData name="Lien, Ole Christian" userId="273202a6-48ae-4110-b993-7f020695e2c7" providerId="ADAL" clId="{E65EB891-73A4-45AD-BA85-ACB5A4739ACF}" dt="2023-03-27T12:45:12.715" v="2" actId="404"/>
          <ac:graphicFrameMkLst>
            <pc:docMk/>
            <pc:sldMk cId="148059855" sldId="2147199710"/>
            <ac:graphicFrameMk id="11" creationId="{2A6E5D02-B7A7-4F1C-ACEE-845E7C8E051E}"/>
          </ac:graphicFrameMkLst>
        </pc:graphicFrameChg>
      </pc:sldChg>
      <pc:sldChg chg="modSp mod">
        <pc:chgData name="Lien, Ole Christian" userId="273202a6-48ae-4110-b993-7f020695e2c7" providerId="ADAL" clId="{E65EB891-73A4-45AD-BA85-ACB5A4739ACF}" dt="2023-03-28T08:49:46.712" v="227" actId="20577"/>
        <pc:sldMkLst>
          <pc:docMk/>
          <pc:sldMk cId="4015035725" sldId="2147199711"/>
        </pc:sldMkLst>
        <pc:spChg chg="mod">
          <ac:chgData name="Lien, Ole Christian" userId="273202a6-48ae-4110-b993-7f020695e2c7" providerId="ADAL" clId="{E65EB891-73A4-45AD-BA85-ACB5A4739ACF}" dt="2023-03-28T08:49:46.712" v="227" actId="20577"/>
          <ac:spMkLst>
            <pc:docMk/>
            <pc:sldMk cId="4015035725" sldId="2147199711"/>
            <ac:spMk id="12" creationId="{ECEC2220-283E-7D4B-E8FD-EE6331F7B150}"/>
          </ac:spMkLst>
        </pc:spChg>
      </pc:sldChg>
      <pc:sldChg chg="addCm">
        <pc:chgData name="Lien, Ole Christian" userId="273202a6-48ae-4110-b993-7f020695e2c7" providerId="ADAL" clId="{E65EB891-73A4-45AD-BA85-ACB5A4739ACF}" dt="2023-03-28T08:32:17.767" v="187"/>
        <pc:sldMkLst>
          <pc:docMk/>
          <pc:sldMk cId="3468937758" sldId="2147199714"/>
        </pc:sldMkLst>
      </pc:sldChg>
      <pc:sldChg chg="addSp modSp new mod modClrScheme modShow chgLayout">
        <pc:chgData name="Lien, Ole Christian" userId="273202a6-48ae-4110-b993-7f020695e2c7" providerId="ADAL" clId="{E65EB891-73A4-45AD-BA85-ACB5A4739ACF}" dt="2023-03-28T09:25:55.148" v="1598" actId="404"/>
        <pc:sldMkLst>
          <pc:docMk/>
          <pc:sldMk cId="2246645452" sldId="2147199715"/>
        </pc:sldMkLst>
        <pc:spChg chg="add mod">
          <ac:chgData name="Lien, Ole Christian" userId="273202a6-48ae-4110-b993-7f020695e2c7" providerId="ADAL" clId="{E65EB891-73A4-45AD-BA85-ACB5A4739ACF}" dt="2023-03-28T08:21:40.770" v="124" actId="20577"/>
          <ac:spMkLst>
            <pc:docMk/>
            <pc:sldMk cId="2246645452" sldId="2147199715"/>
            <ac:spMk id="2" creationId="{E89B9913-9085-153C-0AF3-921C8AF1725B}"/>
          </ac:spMkLst>
        </pc:spChg>
        <pc:spChg chg="add mod">
          <ac:chgData name="Lien, Ole Christian" userId="273202a6-48ae-4110-b993-7f020695e2c7" providerId="ADAL" clId="{E65EB891-73A4-45AD-BA85-ACB5A4739ACF}" dt="2023-03-28T09:25:55.148" v="1598" actId="404"/>
          <ac:spMkLst>
            <pc:docMk/>
            <pc:sldMk cId="2246645452" sldId="2147199715"/>
            <ac:spMk id="3" creationId="{D33CB1C3-60CC-33D2-420E-299F4D47DFC6}"/>
          </ac:spMkLst>
        </pc:spChg>
      </pc:sldChg>
      <pc:sldChg chg="addSp delSp modSp new mod modClrScheme chgLayout">
        <pc:chgData name="Lien, Ole Christian" userId="273202a6-48ae-4110-b993-7f020695e2c7" providerId="ADAL" clId="{E65EB891-73A4-45AD-BA85-ACB5A4739ACF}" dt="2023-03-28T09:08:37.040" v="433" actId="20577"/>
        <pc:sldMkLst>
          <pc:docMk/>
          <pc:sldMk cId="3054864823" sldId="2147199716"/>
        </pc:sldMkLst>
        <pc:spChg chg="del mod ord">
          <ac:chgData name="Lien, Ole Christian" userId="273202a6-48ae-4110-b993-7f020695e2c7" providerId="ADAL" clId="{E65EB891-73A4-45AD-BA85-ACB5A4739ACF}" dt="2023-03-28T08:59:35.274" v="229" actId="700"/>
          <ac:spMkLst>
            <pc:docMk/>
            <pc:sldMk cId="3054864823" sldId="2147199716"/>
            <ac:spMk id="2" creationId="{9DF654DB-1913-1A99-9148-712158E4CAF4}"/>
          </ac:spMkLst>
        </pc:spChg>
        <pc:spChg chg="del">
          <ac:chgData name="Lien, Ole Christian" userId="273202a6-48ae-4110-b993-7f020695e2c7" providerId="ADAL" clId="{E65EB891-73A4-45AD-BA85-ACB5A4739ACF}" dt="2023-03-28T08:59:35.274" v="229" actId="700"/>
          <ac:spMkLst>
            <pc:docMk/>
            <pc:sldMk cId="3054864823" sldId="2147199716"/>
            <ac:spMk id="3" creationId="{AD56B4C8-2096-CFC1-8F6D-32541D6F7D50}"/>
          </ac:spMkLst>
        </pc:spChg>
        <pc:spChg chg="del mod ord">
          <ac:chgData name="Lien, Ole Christian" userId="273202a6-48ae-4110-b993-7f020695e2c7" providerId="ADAL" clId="{E65EB891-73A4-45AD-BA85-ACB5A4739ACF}" dt="2023-03-28T08:59:35.274" v="229" actId="700"/>
          <ac:spMkLst>
            <pc:docMk/>
            <pc:sldMk cId="3054864823" sldId="2147199716"/>
            <ac:spMk id="4" creationId="{5BAD15EE-9E63-4191-8236-563682DD9C8F}"/>
          </ac:spMkLst>
        </pc:spChg>
        <pc:spChg chg="add mod ord">
          <ac:chgData name="Lien, Ole Christian" userId="273202a6-48ae-4110-b993-7f020695e2c7" providerId="ADAL" clId="{E65EB891-73A4-45AD-BA85-ACB5A4739ACF}" dt="2023-03-28T09:08:37.040" v="433" actId="20577"/>
          <ac:spMkLst>
            <pc:docMk/>
            <pc:sldMk cId="3054864823" sldId="2147199716"/>
            <ac:spMk id="5" creationId="{0A691F6B-1D74-FB62-F6BA-67CD0EF0AA58}"/>
          </ac:spMkLst>
        </pc:spChg>
        <pc:spChg chg="add mod ord">
          <ac:chgData name="Lien, Ole Christian" userId="273202a6-48ae-4110-b993-7f020695e2c7" providerId="ADAL" clId="{E65EB891-73A4-45AD-BA85-ACB5A4739ACF}" dt="2023-03-28T09:02:48.420" v="297" actId="26606"/>
          <ac:spMkLst>
            <pc:docMk/>
            <pc:sldMk cId="3054864823" sldId="2147199716"/>
            <ac:spMk id="6" creationId="{0C8900CB-B5C8-EF3F-D3ED-E7E416FEAA9E}"/>
          </ac:spMkLst>
        </pc:spChg>
        <pc:picChg chg="add mod">
          <ac:chgData name="Lien, Ole Christian" userId="273202a6-48ae-4110-b993-7f020695e2c7" providerId="ADAL" clId="{E65EB891-73A4-45AD-BA85-ACB5A4739ACF}" dt="2023-03-28T09:02:48.420" v="297" actId="26606"/>
          <ac:picMkLst>
            <pc:docMk/>
            <pc:sldMk cId="3054864823" sldId="2147199716"/>
            <ac:picMk id="1026" creationId="{CC8723A9-A865-4D09-C6A5-0BD14043B307}"/>
          </ac:picMkLst>
        </pc:picChg>
      </pc:sldChg>
      <pc:sldChg chg="modSp add mod">
        <pc:chgData name="Lien, Ole Christian" userId="273202a6-48ae-4110-b993-7f020695e2c7" providerId="ADAL" clId="{E65EB891-73A4-45AD-BA85-ACB5A4739ACF}" dt="2023-03-28T09:04:37.336" v="319" actId="14100"/>
        <pc:sldMkLst>
          <pc:docMk/>
          <pc:sldMk cId="3878668519" sldId="2147199717"/>
        </pc:sldMkLst>
        <pc:spChg chg="mod">
          <ac:chgData name="Lien, Ole Christian" userId="273202a6-48ae-4110-b993-7f020695e2c7" providerId="ADAL" clId="{E65EB891-73A4-45AD-BA85-ACB5A4739ACF}" dt="2023-03-28T09:04:37.336" v="319" actId="14100"/>
          <ac:spMkLst>
            <pc:docMk/>
            <pc:sldMk cId="3878668519" sldId="2147199717"/>
            <ac:spMk id="6" creationId="{0C8900CB-B5C8-EF3F-D3ED-E7E416FEAA9E}"/>
          </ac:spMkLst>
        </pc:spChg>
      </pc:sldChg>
      <pc:sldChg chg="modSp add mod">
        <pc:chgData name="Lien, Ole Christian" userId="273202a6-48ae-4110-b993-7f020695e2c7" providerId="ADAL" clId="{E65EB891-73A4-45AD-BA85-ACB5A4739ACF}" dt="2023-03-28T09:14:30.978" v="589" actId="14826"/>
        <pc:sldMkLst>
          <pc:docMk/>
          <pc:sldMk cId="2286936168" sldId="2147199718"/>
        </pc:sldMkLst>
        <pc:spChg chg="mod">
          <ac:chgData name="Lien, Ole Christian" userId="273202a6-48ae-4110-b993-7f020695e2c7" providerId="ADAL" clId="{E65EB891-73A4-45AD-BA85-ACB5A4739ACF}" dt="2023-03-28T09:05:25.054" v="332" actId="5793"/>
          <ac:spMkLst>
            <pc:docMk/>
            <pc:sldMk cId="2286936168" sldId="2147199718"/>
            <ac:spMk id="6" creationId="{0C8900CB-B5C8-EF3F-D3ED-E7E416FEAA9E}"/>
          </ac:spMkLst>
        </pc:spChg>
        <pc:picChg chg="mod">
          <ac:chgData name="Lien, Ole Christian" userId="273202a6-48ae-4110-b993-7f020695e2c7" providerId="ADAL" clId="{E65EB891-73A4-45AD-BA85-ACB5A4739ACF}" dt="2023-03-28T09:14:30.978" v="589" actId="14826"/>
          <ac:picMkLst>
            <pc:docMk/>
            <pc:sldMk cId="2286936168" sldId="2147199718"/>
            <ac:picMk id="1026" creationId="{CC8723A9-A865-4D09-C6A5-0BD14043B307}"/>
          </ac:picMkLst>
        </pc:picChg>
      </pc:sldChg>
      <pc:sldChg chg="modSp add mod">
        <pc:chgData name="Lien, Ole Christian" userId="273202a6-48ae-4110-b993-7f020695e2c7" providerId="ADAL" clId="{E65EB891-73A4-45AD-BA85-ACB5A4739ACF}" dt="2023-03-28T09:06:36.905" v="357" actId="5793"/>
        <pc:sldMkLst>
          <pc:docMk/>
          <pc:sldMk cId="3192489805" sldId="2147199719"/>
        </pc:sldMkLst>
        <pc:spChg chg="mod">
          <ac:chgData name="Lien, Ole Christian" userId="273202a6-48ae-4110-b993-7f020695e2c7" providerId="ADAL" clId="{E65EB891-73A4-45AD-BA85-ACB5A4739ACF}" dt="2023-03-28T09:06:36.905" v="357" actId="5793"/>
          <ac:spMkLst>
            <pc:docMk/>
            <pc:sldMk cId="3192489805" sldId="2147199719"/>
            <ac:spMk id="6" creationId="{0C8900CB-B5C8-EF3F-D3ED-E7E416FEAA9E}"/>
          </ac:spMkLst>
        </pc:spChg>
      </pc:sldChg>
      <pc:sldChg chg="modSp add mod">
        <pc:chgData name="Lien, Ole Christian" userId="273202a6-48ae-4110-b993-7f020695e2c7" providerId="ADAL" clId="{E65EB891-73A4-45AD-BA85-ACB5A4739ACF}" dt="2023-03-28T09:08:22.579" v="402" actId="6549"/>
        <pc:sldMkLst>
          <pc:docMk/>
          <pc:sldMk cId="3673287154" sldId="2147199720"/>
        </pc:sldMkLst>
        <pc:spChg chg="mod">
          <ac:chgData name="Lien, Ole Christian" userId="273202a6-48ae-4110-b993-7f020695e2c7" providerId="ADAL" clId="{E65EB891-73A4-45AD-BA85-ACB5A4739ACF}" dt="2023-03-28T09:08:22.579" v="402" actId="6549"/>
          <ac:spMkLst>
            <pc:docMk/>
            <pc:sldMk cId="3673287154" sldId="2147199720"/>
            <ac:spMk id="6" creationId="{0C8900CB-B5C8-EF3F-D3ED-E7E416FEAA9E}"/>
          </ac:spMkLst>
        </pc:spChg>
      </pc:sldChg>
      <pc:sldChg chg="modSp add mod">
        <pc:chgData name="Lien, Ole Christian" userId="273202a6-48ae-4110-b993-7f020695e2c7" providerId="ADAL" clId="{E65EB891-73A4-45AD-BA85-ACB5A4739ACF}" dt="2023-03-28T09:11:20.539" v="546" actId="5793"/>
        <pc:sldMkLst>
          <pc:docMk/>
          <pc:sldMk cId="2504834197" sldId="2147199721"/>
        </pc:sldMkLst>
        <pc:spChg chg="mod">
          <ac:chgData name="Lien, Ole Christian" userId="273202a6-48ae-4110-b993-7f020695e2c7" providerId="ADAL" clId="{E65EB891-73A4-45AD-BA85-ACB5A4739ACF}" dt="2023-03-28T09:11:20.539" v="546" actId="5793"/>
          <ac:spMkLst>
            <pc:docMk/>
            <pc:sldMk cId="2504834197" sldId="2147199721"/>
            <ac:spMk id="6" creationId="{0C8900CB-B5C8-EF3F-D3ED-E7E416FEAA9E}"/>
          </ac:spMkLst>
        </pc:spChg>
      </pc:sldChg>
      <pc:sldChg chg="modSp add mod">
        <pc:chgData name="Lien, Ole Christian" userId="273202a6-48ae-4110-b993-7f020695e2c7" providerId="ADAL" clId="{E65EB891-73A4-45AD-BA85-ACB5A4739ACF}" dt="2023-03-28T09:12:25.458" v="587" actId="5793"/>
        <pc:sldMkLst>
          <pc:docMk/>
          <pc:sldMk cId="2156494836" sldId="2147199722"/>
        </pc:sldMkLst>
        <pc:spChg chg="mod">
          <ac:chgData name="Lien, Ole Christian" userId="273202a6-48ae-4110-b993-7f020695e2c7" providerId="ADAL" clId="{E65EB891-73A4-45AD-BA85-ACB5A4739ACF}" dt="2023-03-28T09:12:25.458" v="587" actId="5793"/>
          <ac:spMkLst>
            <pc:docMk/>
            <pc:sldMk cId="2156494836" sldId="2147199722"/>
            <ac:spMk id="6" creationId="{0C8900CB-B5C8-EF3F-D3ED-E7E416FEAA9E}"/>
          </ac:spMkLst>
        </pc:spChg>
      </pc:sldChg>
      <pc:sldChg chg="modSp new mod modShow">
        <pc:chgData name="Lien, Ole Christian" userId="273202a6-48ae-4110-b993-7f020695e2c7" providerId="ADAL" clId="{E65EB891-73A4-45AD-BA85-ACB5A4739ACF}" dt="2023-03-28T09:23:11.785" v="1159" actId="20577"/>
        <pc:sldMkLst>
          <pc:docMk/>
          <pc:sldMk cId="1878470611" sldId="2147199723"/>
        </pc:sldMkLst>
        <pc:spChg chg="mod">
          <ac:chgData name="Lien, Ole Christian" userId="273202a6-48ae-4110-b993-7f020695e2c7" providerId="ADAL" clId="{E65EB891-73A4-45AD-BA85-ACB5A4739ACF}" dt="2023-03-28T09:23:11.785" v="1159" actId="20577"/>
          <ac:spMkLst>
            <pc:docMk/>
            <pc:sldMk cId="1878470611" sldId="2147199723"/>
            <ac:spMk id="2" creationId="{6693D1DD-25FD-EE86-4FF4-E40E116B87AC}"/>
          </ac:spMkLst>
        </pc:spChg>
        <pc:spChg chg="mod">
          <ac:chgData name="Lien, Ole Christian" userId="273202a6-48ae-4110-b993-7f020695e2c7" providerId="ADAL" clId="{E65EB891-73A4-45AD-BA85-ACB5A4739ACF}" dt="2023-03-28T09:16:02.795" v="597" actId="20577"/>
          <ac:spMkLst>
            <pc:docMk/>
            <pc:sldMk cId="1878470611" sldId="2147199723"/>
            <ac:spMk id="3" creationId="{8D87042D-9266-072E-ED80-6088E7ECE13D}"/>
          </ac:spMkLst>
        </pc:spChg>
      </pc:sldChg>
      <pc:sldChg chg="new del">
        <pc:chgData name="Lien, Ole Christian" userId="273202a6-48ae-4110-b993-7f020695e2c7" providerId="ADAL" clId="{E65EB891-73A4-45AD-BA85-ACB5A4739ACF}" dt="2023-03-29T07:35:30.101" v="1976" actId="47"/>
        <pc:sldMkLst>
          <pc:docMk/>
          <pc:sldMk cId="1436747261" sldId="2147199725"/>
        </pc:sldMkLst>
      </pc:sldChg>
      <pc:sldChg chg="new del">
        <pc:chgData name="Lien, Ole Christian" userId="273202a6-48ae-4110-b993-7f020695e2c7" providerId="ADAL" clId="{E65EB891-73A4-45AD-BA85-ACB5A4739ACF}" dt="2023-03-29T07:35:30.101" v="1976" actId="47"/>
        <pc:sldMkLst>
          <pc:docMk/>
          <pc:sldMk cId="10164456" sldId="2147199726"/>
        </pc:sldMkLst>
      </pc:sldChg>
    </pc:docChg>
  </pc:docChgLst>
  <pc:docChgLst>
    <pc:chgData name="Høibjerg, Gard Ringen" userId="294f0737-741a-46ff-b151-3b2308e4b780" providerId="ADAL" clId="{E223DE56-D7C3-5146-A6C5-79ED56DDDE78}"/>
    <pc:docChg chg="modSld">
      <pc:chgData name="Høibjerg, Gard Ringen" userId="294f0737-741a-46ff-b151-3b2308e4b780" providerId="ADAL" clId="{E223DE56-D7C3-5146-A6C5-79ED56DDDE78}" dt="2023-03-29T13:34:31.264" v="1"/>
      <pc:docMkLst>
        <pc:docMk/>
      </pc:docMkLst>
      <pc:sldChg chg="modCm">
        <pc:chgData name="Høibjerg, Gard Ringen" userId="294f0737-741a-46ff-b151-3b2308e4b780" providerId="ADAL" clId="{E223DE56-D7C3-5146-A6C5-79ED56DDDE78}" dt="2023-03-29T13:34:31.264" v="1"/>
        <pc:sldMkLst>
          <pc:docMk/>
          <pc:sldMk cId="3770738012" sldId="688"/>
        </pc:sldMkLst>
      </pc:sldChg>
      <pc:sldChg chg="modSp mod">
        <pc:chgData name="Høibjerg, Gard Ringen" userId="294f0737-741a-46ff-b151-3b2308e4b780" providerId="ADAL" clId="{E223DE56-D7C3-5146-A6C5-79ED56DDDE78}" dt="2023-03-29T13:31:44.186" v="0" actId="400"/>
        <pc:sldMkLst>
          <pc:docMk/>
          <pc:sldMk cId="3806527201" sldId="2147199650"/>
        </pc:sldMkLst>
        <pc:spChg chg="mod">
          <ac:chgData name="Høibjerg, Gard Ringen" userId="294f0737-741a-46ff-b151-3b2308e4b780" providerId="ADAL" clId="{E223DE56-D7C3-5146-A6C5-79ED56DDDE78}" dt="2023-03-29T13:31:44.186" v="0" actId="400"/>
          <ac:spMkLst>
            <pc:docMk/>
            <pc:sldMk cId="3806527201" sldId="2147199650"/>
            <ac:spMk id="2" creationId="{8953B5AA-F9F0-54FC-88B4-DA9DA9A0D2BE}"/>
          </ac:spMkLst>
        </pc:spChg>
      </pc:sldChg>
    </pc:docChg>
  </pc:docChgLst>
  <pc:docChgLst>
    <pc:chgData name="Sortland, Magne" userId="543f2465-7f1e-40a1-8238-cd4a72da33fc" providerId="ADAL" clId="{E0F76B81-71F2-421A-8585-B8600E9C30C4}"/>
    <pc:docChg chg="modSld sldOrd">
      <pc:chgData name="Sortland, Magne" userId="543f2465-7f1e-40a1-8238-cd4a72da33fc" providerId="ADAL" clId="{E0F76B81-71F2-421A-8585-B8600E9C30C4}" dt="2023-03-29T09:24:35.947" v="1"/>
      <pc:docMkLst>
        <pc:docMk/>
      </pc:docMkLst>
      <pc:sldChg chg="ord">
        <pc:chgData name="Sortland, Magne" userId="543f2465-7f1e-40a1-8238-cd4a72da33fc" providerId="ADAL" clId="{E0F76B81-71F2-421A-8585-B8600E9C30C4}" dt="2023-03-29T09:24:35.947" v="1"/>
        <pc:sldMkLst>
          <pc:docMk/>
          <pc:sldMk cId="2931966506" sldId="748"/>
        </pc:sldMkLst>
      </pc:sldChg>
    </pc:docChg>
  </pc:docChgLst>
  <pc:docChgLst>
    <pc:chgData name="Schjold, Hanne Røvig" userId="72e82339-bab0-442f-8ca6-e6f386a713ee" providerId="ADAL" clId="{9706D415-2DA0-4D00-90B6-E46BF852F024}"/>
    <pc:docChg chg="undo custSel addSld delSld modSld sldOrd modMainMaster addSection delSection modSection">
      <pc:chgData name="Schjold, Hanne Røvig" userId="72e82339-bab0-442f-8ca6-e6f386a713ee" providerId="ADAL" clId="{9706D415-2DA0-4D00-90B6-E46BF852F024}" dt="2023-03-28T13:59:33.946" v="2947" actId="14100"/>
      <pc:docMkLst>
        <pc:docMk/>
      </pc:docMkLst>
      <pc:sldChg chg="modSp mod ord setBg">
        <pc:chgData name="Schjold, Hanne Røvig" userId="72e82339-bab0-442f-8ca6-e6f386a713ee" providerId="ADAL" clId="{9706D415-2DA0-4D00-90B6-E46BF852F024}" dt="2023-03-17T10:10:54.743" v="1328"/>
        <pc:sldMkLst>
          <pc:docMk/>
          <pc:sldMk cId="2838506836" sldId="259"/>
        </pc:sldMkLst>
        <pc:picChg chg="mod">
          <ac:chgData name="Schjold, Hanne Røvig" userId="72e82339-bab0-442f-8ca6-e6f386a713ee" providerId="ADAL" clId="{9706D415-2DA0-4D00-90B6-E46BF852F024}" dt="2023-03-16T12:46:24.108" v="704" actId="1037"/>
          <ac:picMkLst>
            <pc:docMk/>
            <pc:sldMk cId="2838506836" sldId="259"/>
            <ac:picMk id="6" creationId="{CA41043B-69CC-EB54-547D-1C34FA1912B1}"/>
          </ac:picMkLst>
        </pc:picChg>
        <pc:picChg chg="mod">
          <ac:chgData name="Schjold, Hanne Røvig" userId="72e82339-bab0-442f-8ca6-e6f386a713ee" providerId="ADAL" clId="{9706D415-2DA0-4D00-90B6-E46BF852F024}" dt="2023-03-16T12:45:21.807" v="677" actId="1076"/>
          <ac:picMkLst>
            <pc:docMk/>
            <pc:sldMk cId="2838506836" sldId="259"/>
            <ac:picMk id="7" creationId="{C762E4D1-C7FC-23FB-1F77-36B00F9ACD32}"/>
          </ac:picMkLst>
        </pc:picChg>
        <pc:picChg chg="mod">
          <ac:chgData name="Schjold, Hanne Røvig" userId="72e82339-bab0-442f-8ca6-e6f386a713ee" providerId="ADAL" clId="{9706D415-2DA0-4D00-90B6-E46BF852F024}" dt="2023-03-16T12:46:24.108" v="704" actId="1037"/>
          <ac:picMkLst>
            <pc:docMk/>
            <pc:sldMk cId="2838506836" sldId="259"/>
            <ac:picMk id="8" creationId="{69FCA25B-48F9-E49F-5A9F-BAA230842764}"/>
          </ac:picMkLst>
        </pc:picChg>
        <pc:picChg chg="mod">
          <ac:chgData name="Schjold, Hanne Røvig" userId="72e82339-bab0-442f-8ca6-e6f386a713ee" providerId="ADAL" clId="{9706D415-2DA0-4D00-90B6-E46BF852F024}" dt="2023-03-16T12:46:24.108" v="704" actId="1037"/>
          <ac:picMkLst>
            <pc:docMk/>
            <pc:sldMk cId="2838506836" sldId="259"/>
            <ac:picMk id="9" creationId="{A9D5A7C5-CF9F-3193-35DF-DFC6A3B87347}"/>
          </ac:picMkLst>
        </pc:picChg>
        <pc:picChg chg="mod">
          <ac:chgData name="Schjold, Hanne Røvig" userId="72e82339-bab0-442f-8ca6-e6f386a713ee" providerId="ADAL" clId="{9706D415-2DA0-4D00-90B6-E46BF852F024}" dt="2023-03-16T12:46:24.108" v="704" actId="1037"/>
          <ac:picMkLst>
            <pc:docMk/>
            <pc:sldMk cId="2838506836" sldId="259"/>
            <ac:picMk id="12" creationId="{F0A01908-49A6-8278-CA42-E760D97FC0F1}"/>
          </ac:picMkLst>
        </pc:picChg>
      </pc:sldChg>
      <pc:sldChg chg="addSp delSp modSp mod ord">
        <pc:chgData name="Schjold, Hanne Røvig" userId="72e82339-bab0-442f-8ca6-e6f386a713ee" providerId="ADAL" clId="{9706D415-2DA0-4D00-90B6-E46BF852F024}" dt="2023-03-17T11:58:14.621" v="1966" actId="1076"/>
        <pc:sldMkLst>
          <pc:docMk/>
          <pc:sldMk cId="3758531503" sldId="266"/>
        </pc:sldMkLst>
        <pc:spChg chg="del mod">
          <ac:chgData name="Schjold, Hanne Røvig" userId="72e82339-bab0-442f-8ca6-e6f386a713ee" providerId="ADAL" clId="{9706D415-2DA0-4D00-90B6-E46BF852F024}" dt="2023-03-17T11:57:48.101" v="1952" actId="478"/>
          <ac:spMkLst>
            <pc:docMk/>
            <pc:sldMk cId="3758531503" sldId="266"/>
            <ac:spMk id="2" creationId="{1CB505D0-C22A-94D6-DB86-9B7EFFA478B7}"/>
          </ac:spMkLst>
        </pc:spChg>
        <pc:spChg chg="add mod">
          <ac:chgData name="Schjold, Hanne Røvig" userId="72e82339-bab0-442f-8ca6-e6f386a713ee" providerId="ADAL" clId="{9706D415-2DA0-4D00-90B6-E46BF852F024}" dt="2023-03-17T11:56:29.366" v="1935"/>
          <ac:spMkLst>
            <pc:docMk/>
            <pc:sldMk cId="3758531503" sldId="266"/>
            <ac:spMk id="3" creationId="{0FC33BBB-1133-5862-36A5-1604EE4A7A62}"/>
          </ac:spMkLst>
        </pc:spChg>
        <pc:spChg chg="add mod">
          <ac:chgData name="Schjold, Hanne Røvig" userId="72e82339-bab0-442f-8ca6-e6f386a713ee" providerId="ADAL" clId="{9706D415-2DA0-4D00-90B6-E46BF852F024}" dt="2023-03-17T11:58:00.750" v="1960" actId="403"/>
          <ac:spMkLst>
            <pc:docMk/>
            <pc:sldMk cId="3758531503" sldId="266"/>
            <ac:spMk id="4" creationId="{AA5C6E26-946D-944F-9208-C70BAB71DFA9}"/>
          </ac:spMkLst>
        </pc:spChg>
        <pc:picChg chg="mod">
          <ac:chgData name="Schjold, Hanne Røvig" userId="72e82339-bab0-442f-8ca6-e6f386a713ee" providerId="ADAL" clId="{9706D415-2DA0-4D00-90B6-E46BF852F024}" dt="2023-03-17T11:58:14.621" v="1966" actId="1076"/>
          <ac:picMkLst>
            <pc:docMk/>
            <pc:sldMk cId="3758531503" sldId="266"/>
            <ac:picMk id="5" creationId="{DF821DD2-C538-880C-BD23-5FCD42E29271}"/>
          </ac:picMkLst>
        </pc:picChg>
      </pc:sldChg>
      <pc:sldChg chg="modSp mod ord">
        <pc:chgData name="Schjold, Hanne Røvig" userId="72e82339-bab0-442f-8ca6-e6f386a713ee" providerId="ADAL" clId="{9706D415-2DA0-4D00-90B6-E46BF852F024}" dt="2023-03-28T13:49:53.904" v="2666" actId="12"/>
        <pc:sldMkLst>
          <pc:docMk/>
          <pc:sldMk cId="2732850255" sldId="274"/>
        </pc:sldMkLst>
        <pc:spChg chg="mod">
          <ac:chgData name="Schjold, Hanne Røvig" userId="72e82339-bab0-442f-8ca6-e6f386a713ee" providerId="ADAL" clId="{9706D415-2DA0-4D00-90B6-E46BF852F024}" dt="2023-03-28T13:49:53.904" v="2666" actId="12"/>
          <ac:spMkLst>
            <pc:docMk/>
            <pc:sldMk cId="2732850255" sldId="274"/>
            <ac:spMk id="6" creationId="{A282A213-7FB4-C547-906D-0964F8F27C7C}"/>
          </ac:spMkLst>
        </pc:spChg>
      </pc:sldChg>
      <pc:sldChg chg="modSp mod ord">
        <pc:chgData name="Schjold, Hanne Røvig" userId="72e82339-bab0-442f-8ca6-e6f386a713ee" providerId="ADAL" clId="{9706D415-2DA0-4D00-90B6-E46BF852F024}" dt="2023-03-17T10:15:08.635" v="1367"/>
        <pc:sldMkLst>
          <pc:docMk/>
          <pc:sldMk cId="2544436590" sldId="562"/>
        </pc:sldMkLst>
        <pc:spChg chg="mod">
          <ac:chgData name="Schjold, Hanne Røvig" userId="72e82339-bab0-442f-8ca6-e6f386a713ee" providerId="ADAL" clId="{9706D415-2DA0-4D00-90B6-E46BF852F024}" dt="2023-03-16T09:51:50.964" v="5" actId="14100"/>
          <ac:spMkLst>
            <pc:docMk/>
            <pc:sldMk cId="2544436590" sldId="562"/>
            <ac:spMk id="2" creationId="{0E74A854-B8CC-8EA0-0405-A002DE200316}"/>
          </ac:spMkLst>
        </pc:spChg>
        <pc:spChg chg="mod">
          <ac:chgData name="Schjold, Hanne Røvig" userId="72e82339-bab0-442f-8ca6-e6f386a713ee" providerId="ADAL" clId="{9706D415-2DA0-4D00-90B6-E46BF852F024}" dt="2023-03-16T09:52:11.862" v="6" actId="1076"/>
          <ac:spMkLst>
            <pc:docMk/>
            <pc:sldMk cId="2544436590" sldId="562"/>
            <ac:spMk id="3" creationId="{098A251C-9D7E-5B4C-87DE-B133D69E3ED2}"/>
          </ac:spMkLst>
        </pc:spChg>
      </pc:sldChg>
      <pc:sldChg chg="modSp mod ord setBg">
        <pc:chgData name="Schjold, Hanne Røvig" userId="72e82339-bab0-442f-8ca6-e6f386a713ee" providerId="ADAL" clId="{9706D415-2DA0-4D00-90B6-E46BF852F024}" dt="2023-03-21T09:45:14.117" v="2399" actId="6549"/>
        <pc:sldMkLst>
          <pc:docMk/>
          <pc:sldMk cId="1705153547" sldId="592"/>
        </pc:sldMkLst>
        <pc:spChg chg="mod">
          <ac:chgData name="Schjold, Hanne Røvig" userId="72e82339-bab0-442f-8ca6-e6f386a713ee" providerId="ADAL" clId="{9706D415-2DA0-4D00-90B6-E46BF852F024}" dt="2023-03-21T09:45:14.117" v="2399" actId="6549"/>
          <ac:spMkLst>
            <pc:docMk/>
            <pc:sldMk cId="1705153547" sldId="592"/>
            <ac:spMk id="2" creationId="{2361E6A9-99B5-930E-132D-571AFB3AAAF2}"/>
          </ac:spMkLst>
        </pc:spChg>
      </pc:sldChg>
      <pc:sldChg chg="modSp mod ord">
        <pc:chgData name="Schjold, Hanne Røvig" userId="72e82339-bab0-442f-8ca6-e6f386a713ee" providerId="ADAL" clId="{9706D415-2DA0-4D00-90B6-E46BF852F024}" dt="2023-03-17T12:17:56.920" v="2096" actId="20577"/>
        <pc:sldMkLst>
          <pc:docMk/>
          <pc:sldMk cId="2567434684" sldId="671"/>
        </pc:sldMkLst>
        <pc:spChg chg="mod">
          <ac:chgData name="Schjold, Hanne Røvig" userId="72e82339-bab0-442f-8ca6-e6f386a713ee" providerId="ADAL" clId="{9706D415-2DA0-4D00-90B6-E46BF852F024}" dt="2023-03-17T12:17:56.920" v="2096" actId="20577"/>
          <ac:spMkLst>
            <pc:docMk/>
            <pc:sldMk cId="2567434684" sldId="671"/>
            <ac:spMk id="6" creationId="{11EA804D-DCDF-044D-AD56-A5A9D193031E}"/>
          </ac:spMkLst>
        </pc:spChg>
        <pc:spChg chg="mod">
          <ac:chgData name="Schjold, Hanne Røvig" userId="72e82339-bab0-442f-8ca6-e6f386a713ee" providerId="ADAL" clId="{9706D415-2DA0-4D00-90B6-E46BF852F024}" dt="2023-03-17T12:17:53.258" v="2095" actId="255"/>
          <ac:spMkLst>
            <pc:docMk/>
            <pc:sldMk cId="2567434684" sldId="671"/>
            <ac:spMk id="7" creationId="{102F4561-7DD9-8348-A026-D73DAE2C4331}"/>
          </ac:spMkLst>
        </pc:spChg>
        <pc:spChg chg="mod">
          <ac:chgData name="Schjold, Hanne Røvig" userId="72e82339-bab0-442f-8ca6-e6f386a713ee" providerId="ADAL" clId="{9706D415-2DA0-4D00-90B6-E46BF852F024}" dt="2023-03-17T12:17:53.258" v="2095" actId="255"/>
          <ac:spMkLst>
            <pc:docMk/>
            <pc:sldMk cId="2567434684" sldId="671"/>
            <ac:spMk id="8" creationId="{758991D1-46A6-384E-85E3-3DAD60B9170B}"/>
          </ac:spMkLst>
        </pc:spChg>
        <pc:spChg chg="mod">
          <ac:chgData name="Schjold, Hanne Røvig" userId="72e82339-bab0-442f-8ca6-e6f386a713ee" providerId="ADAL" clId="{9706D415-2DA0-4D00-90B6-E46BF852F024}" dt="2023-03-17T12:17:36.171" v="2069" actId="1037"/>
          <ac:spMkLst>
            <pc:docMk/>
            <pc:sldMk cId="2567434684" sldId="671"/>
            <ac:spMk id="14" creationId="{63527F5F-DBED-4D40-B122-38CC0CF7A87F}"/>
          </ac:spMkLst>
        </pc:spChg>
        <pc:spChg chg="mod">
          <ac:chgData name="Schjold, Hanne Røvig" userId="72e82339-bab0-442f-8ca6-e6f386a713ee" providerId="ADAL" clId="{9706D415-2DA0-4D00-90B6-E46BF852F024}" dt="2023-03-17T12:17:36.171" v="2069" actId="1037"/>
          <ac:spMkLst>
            <pc:docMk/>
            <pc:sldMk cId="2567434684" sldId="671"/>
            <ac:spMk id="17" creationId="{CE9FD227-FB15-0242-994E-150E4A9A010F}"/>
          </ac:spMkLst>
        </pc:spChg>
        <pc:picChg chg="mod">
          <ac:chgData name="Schjold, Hanne Røvig" userId="72e82339-bab0-442f-8ca6-e6f386a713ee" providerId="ADAL" clId="{9706D415-2DA0-4D00-90B6-E46BF852F024}" dt="2023-03-17T12:17:24.315" v="2062" actId="1037"/>
          <ac:picMkLst>
            <pc:docMk/>
            <pc:sldMk cId="2567434684" sldId="671"/>
            <ac:picMk id="21" creationId="{32AF82F3-DF7E-49DF-A4D6-90C58A4FCF79}"/>
          </ac:picMkLst>
        </pc:picChg>
        <pc:picChg chg="mod">
          <ac:chgData name="Schjold, Hanne Røvig" userId="72e82339-bab0-442f-8ca6-e6f386a713ee" providerId="ADAL" clId="{9706D415-2DA0-4D00-90B6-E46BF852F024}" dt="2023-03-17T12:17:36.171" v="2069" actId="1037"/>
          <ac:picMkLst>
            <pc:docMk/>
            <pc:sldMk cId="2567434684" sldId="671"/>
            <ac:picMk id="25" creationId="{3E8F0468-645E-4D27-A75D-5C4910A241FB}"/>
          </ac:picMkLst>
        </pc:picChg>
      </pc:sldChg>
      <pc:sldChg chg="ord setBg addCm">
        <pc:chgData name="Schjold, Hanne Røvig" userId="72e82339-bab0-442f-8ca6-e6f386a713ee" providerId="ADAL" clId="{9706D415-2DA0-4D00-90B6-E46BF852F024}" dt="2023-03-28T13:40:51.514" v="2619"/>
        <pc:sldMkLst>
          <pc:docMk/>
          <pc:sldMk cId="3925071739" sldId="677"/>
        </pc:sldMkLst>
      </pc:sldChg>
      <pc:sldChg chg="addSp delSp modSp add mod ord setBg">
        <pc:chgData name="Schjold, Hanne Røvig" userId="72e82339-bab0-442f-8ca6-e6f386a713ee" providerId="ADAL" clId="{9706D415-2DA0-4D00-90B6-E46BF852F024}" dt="2023-03-17T12:37:30.407" v="2231" actId="478"/>
        <pc:sldMkLst>
          <pc:docMk/>
          <pc:sldMk cId="1292995087" sldId="681"/>
        </pc:sldMkLst>
        <pc:spChg chg="add del mod">
          <ac:chgData name="Schjold, Hanne Røvig" userId="72e82339-bab0-442f-8ca6-e6f386a713ee" providerId="ADAL" clId="{9706D415-2DA0-4D00-90B6-E46BF852F024}" dt="2023-03-17T12:35:52.143" v="2228" actId="931"/>
          <ac:spMkLst>
            <pc:docMk/>
            <pc:sldMk cId="1292995087" sldId="681"/>
            <ac:spMk id="3" creationId="{2E315A52-7FAE-6BA3-0942-3A26042714DA}"/>
          </ac:spMkLst>
        </pc:spChg>
        <pc:spChg chg="mod">
          <ac:chgData name="Schjold, Hanne Røvig" userId="72e82339-bab0-442f-8ca6-e6f386a713ee" providerId="ADAL" clId="{9706D415-2DA0-4D00-90B6-E46BF852F024}" dt="2023-03-16T10:51:25.528" v="399" actId="207"/>
          <ac:spMkLst>
            <pc:docMk/>
            <pc:sldMk cId="1292995087" sldId="681"/>
            <ac:spMk id="4" creationId="{0E5765D7-7FCD-614A-B025-4CC03904B46D}"/>
          </ac:spMkLst>
        </pc:spChg>
        <pc:spChg chg="mod">
          <ac:chgData name="Schjold, Hanne Røvig" userId="72e82339-bab0-442f-8ca6-e6f386a713ee" providerId="ADAL" clId="{9706D415-2DA0-4D00-90B6-E46BF852F024}" dt="2023-03-17T10:21:50.181" v="1435" actId="255"/>
          <ac:spMkLst>
            <pc:docMk/>
            <pc:sldMk cId="1292995087" sldId="681"/>
            <ac:spMk id="5" creationId="{A9E1B165-CD61-5545-B3A3-F9EAA80CC4EF}"/>
          </ac:spMkLst>
        </pc:spChg>
        <pc:spChg chg="del">
          <ac:chgData name="Schjold, Hanne Røvig" userId="72e82339-bab0-442f-8ca6-e6f386a713ee" providerId="ADAL" clId="{9706D415-2DA0-4D00-90B6-E46BF852F024}" dt="2023-03-17T12:37:30.407" v="2231" actId="478"/>
          <ac:spMkLst>
            <pc:docMk/>
            <pc:sldMk cId="1292995087" sldId="681"/>
            <ac:spMk id="10" creationId="{DBD4E3B2-CA41-4B1B-9736-BF37F2B9E4B5}"/>
          </ac:spMkLst>
        </pc:spChg>
        <pc:picChg chg="add mod">
          <ac:chgData name="Schjold, Hanne Røvig" userId="72e82339-bab0-442f-8ca6-e6f386a713ee" providerId="ADAL" clId="{9706D415-2DA0-4D00-90B6-E46BF852F024}" dt="2023-03-17T12:35:56.944" v="2230" actId="962"/>
          <ac:picMkLst>
            <pc:docMk/>
            <pc:sldMk cId="1292995087" sldId="681"/>
            <ac:picMk id="6" creationId="{F234EC57-8AD0-CF4A-7038-48A656DD5F95}"/>
          </ac:picMkLst>
        </pc:picChg>
        <pc:picChg chg="del mod">
          <ac:chgData name="Schjold, Hanne Røvig" userId="72e82339-bab0-442f-8ca6-e6f386a713ee" providerId="ADAL" clId="{9706D415-2DA0-4D00-90B6-E46BF852F024}" dt="2023-03-16T10:52:55.292" v="417" actId="478"/>
          <ac:picMkLst>
            <pc:docMk/>
            <pc:sldMk cId="1292995087" sldId="681"/>
            <ac:picMk id="11" creationId="{1260C70F-E1A6-4290-B7ED-1827FE4E8977}"/>
          </ac:picMkLst>
        </pc:picChg>
      </pc:sldChg>
      <pc:sldChg chg="del">
        <pc:chgData name="Schjold, Hanne Røvig" userId="72e82339-bab0-442f-8ca6-e6f386a713ee" providerId="ADAL" clId="{9706D415-2DA0-4D00-90B6-E46BF852F024}" dt="2023-03-16T10:50:39.444" v="393" actId="2696"/>
        <pc:sldMkLst>
          <pc:docMk/>
          <pc:sldMk cId="3356762594" sldId="681"/>
        </pc:sldMkLst>
      </pc:sldChg>
      <pc:sldChg chg="del">
        <pc:chgData name="Schjold, Hanne Røvig" userId="72e82339-bab0-442f-8ca6-e6f386a713ee" providerId="ADAL" clId="{9706D415-2DA0-4D00-90B6-E46BF852F024}" dt="2023-03-16T10:13:31.342" v="142" actId="47"/>
        <pc:sldMkLst>
          <pc:docMk/>
          <pc:sldMk cId="581732807" sldId="683"/>
        </pc:sldMkLst>
      </pc:sldChg>
      <pc:sldChg chg="addSp delSp modSp del mod ord">
        <pc:chgData name="Schjold, Hanne Røvig" userId="72e82339-bab0-442f-8ca6-e6f386a713ee" providerId="ADAL" clId="{9706D415-2DA0-4D00-90B6-E46BF852F024}" dt="2023-03-17T10:18:50.024" v="1409" actId="2696"/>
        <pc:sldMkLst>
          <pc:docMk/>
          <pc:sldMk cId="3718575249" sldId="688"/>
        </pc:sldMkLst>
        <pc:spChg chg="add mod ord">
          <ac:chgData name="Schjold, Hanne Røvig" userId="72e82339-bab0-442f-8ca6-e6f386a713ee" providerId="ADAL" clId="{9706D415-2DA0-4D00-90B6-E46BF852F024}" dt="2023-03-16T10:14:41.277" v="146" actId="167"/>
          <ac:spMkLst>
            <pc:docMk/>
            <pc:sldMk cId="3718575249" sldId="688"/>
            <ac:spMk id="2" creationId="{71AB1E9D-5439-C44E-6692-93C1EA81DBFC}"/>
          </ac:spMkLst>
        </pc:spChg>
        <pc:spChg chg="mod">
          <ac:chgData name="Schjold, Hanne Røvig" userId="72e82339-bab0-442f-8ca6-e6f386a713ee" providerId="ADAL" clId="{9706D415-2DA0-4D00-90B6-E46BF852F024}" dt="2023-03-16T10:16:25.674" v="175" actId="20577"/>
          <ac:spMkLst>
            <pc:docMk/>
            <pc:sldMk cId="3718575249" sldId="688"/>
            <ac:spMk id="3" creationId="{C9D50BA0-7A80-9744-856A-0C7EF7DE166A}"/>
          </ac:spMkLst>
        </pc:spChg>
        <pc:spChg chg="mod">
          <ac:chgData name="Schjold, Hanne Røvig" userId="72e82339-bab0-442f-8ca6-e6f386a713ee" providerId="ADAL" clId="{9706D415-2DA0-4D00-90B6-E46BF852F024}" dt="2023-03-16T10:15:07.636" v="151" actId="255"/>
          <ac:spMkLst>
            <pc:docMk/>
            <pc:sldMk cId="3718575249" sldId="688"/>
            <ac:spMk id="4" creationId="{BC29E666-2C32-184D-B82B-80D6BE78EA25}"/>
          </ac:spMkLst>
        </pc:spChg>
        <pc:spChg chg="del">
          <ac:chgData name="Schjold, Hanne Røvig" userId="72e82339-bab0-442f-8ca6-e6f386a713ee" providerId="ADAL" clId="{9706D415-2DA0-4D00-90B6-E46BF852F024}" dt="2023-03-16T10:16:09.973" v="164" actId="478"/>
          <ac:spMkLst>
            <pc:docMk/>
            <pc:sldMk cId="3718575249" sldId="688"/>
            <ac:spMk id="6" creationId="{87FB2723-1FE9-A64D-9D5D-2D5DE5006AD6}"/>
          </ac:spMkLst>
        </pc:spChg>
        <pc:picChg chg="del mod modCrop">
          <ac:chgData name="Schjold, Hanne Røvig" userId="72e82339-bab0-442f-8ca6-e6f386a713ee" providerId="ADAL" clId="{9706D415-2DA0-4D00-90B6-E46BF852F024}" dt="2023-03-16T10:32:32.615" v="327" actId="478"/>
          <ac:picMkLst>
            <pc:docMk/>
            <pc:sldMk cId="3718575249" sldId="688"/>
            <ac:picMk id="9" creationId="{A606AFBB-4253-5D29-DD12-D043B51BD67D}"/>
          </ac:picMkLst>
        </pc:picChg>
      </pc:sldChg>
      <pc:sldChg chg="addSp modSp add mod">
        <pc:chgData name="Schjold, Hanne Røvig" userId="72e82339-bab0-442f-8ca6-e6f386a713ee" providerId="ADAL" clId="{9706D415-2DA0-4D00-90B6-E46BF852F024}" dt="2023-03-17T12:08:59.332" v="1999" actId="6549"/>
        <pc:sldMkLst>
          <pc:docMk/>
          <pc:sldMk cId="3770738012" sldId="688"/>
        </pc:sldMkLst>
        <pc:spChg chg="mod">
          <ac:chgData name="Schjold, Hanne Røvig" userId="72e82339-bab0-442f-8ca6-e6f386a713ee" providerId="ADAL" clId="{9706D415-2DA0-4D00-90B6-E46BF852F024}" dt="2023-03-17T12:08:59.332" v="1999" actId="6549"/>
          <ac:spMkLst>
            <pc:docMk/>
            <pc:sldMk cId="3770738012" sldId="688"/>
            <ac:spMk id="3" creationId="{C9D50BA0-7A80-9744-856A-0C7EF7DE166A}"/>
          </ac:spMkLst>
        </pc:spChg>
        <pc:picChg chg="add mod modCrop">
          <ac:chgData name="Schjold, Hanne Røvig" userId="72e82339-bab0-442f-8ca6-e6f386a713ee" providerId="ADAL" clId="{9706D415-2DA0-4D00-90B6-E46BF852F024}" dt="2023-03-17T12:08:33.365" v="1996" actId="1076"/>
          <ac:picMkLst>
            <pc:docMk/>
            <pc:sldMk cId="3770738012" sldId="688"/>
            <ac:picMk id="6" creationId="{19C285DB-BFD7-9FD9-D17E-D88A87018F35}"/>
          </ac:picMkLst>
        </pc:picChg>
      </pc:sldChg>
      <pc:sldChg chg="addSp delSp modSp add mod ord">
        <pc:chgData name="Schjold, Hanne Røvig" userId="72e82339-bab0-442f-8ca6-e6f386a713ee" providerId="ADAL" clId="{9706D415-2DA0-4D00-90B6-E46BF852F024}" dt="2023-03-17T10:12:14.796" v="1335"/>
        <pc:sldMkLst>
          <pc:docMk/>
          <pc:sldMk cId="2292431674" sldId="689"/>
        </pc:sldMkLst>
        <pc:spChg chg="add mod ord">
          <ac:chgData name="Schjold, Hanne Røvig" userId="72e82339-bab0-442f-8ca6-e6f386a713ee" providerId="ADAL" clId="{9706D415-2DA0-4D00-90B6-E46BF852F024}" dt="2023-03-16T10:30:28.305" v="314" actId="167"/>
          <ac:spMkLst>
            <pc:docMk/>
            <pc:sldMk cId="2292431674" sldId="689"/>
            <ac:spMk id="2" creationId="{8309D890-13FF-8A8F-4300-C2F6AB24FD03}"/>
          </ac:spMkLst>
        </pc:spChg>
        <pc:spChg chg="add del mod">
          <ac:chgData name="Schjold, Hanne Røvig" userId="72e82339-bab0-442f-8ca6-e6f386a713ee" providerId="ADAL" clId="{9706D415-2DA0-4D00-90B6-E46BF852F024}" dt="2023-03-16T10:31:23.195" v="323" actId="478"/>
          <ac:spMkLst>
            <pc:docMk/>
            <pc:sldMk cId="2292431674" sldId="689"/>
            <ac:spMk id="4" creationId="{46B64218-6833-C03D-75FB-A74149F9C488}"/>
          </ac:spMkLst>
        </pc:spChg>
        <pc:spChg chg="mod">
          <ac:chgData name="Schjold, Hanne Røvig" userId="72e82339-bab0-442f-8ca6-e6f386a713ee" providerId="ADAL" clId="{9706D415-2DA0-4D00-90B6-E46BF852F024}" dt="2023-03-16T10:30:39.915" v="318" actId="207"/>
          <ac:spMkLst>
            <pc:docMk/>
            <pc:sldMk cId="2292431674" sldId="689"/>
            <ac:spMk id="5" creationId="{AF42AB62-2433-2C48-9C9A-3C2E1E809F3C}"/>
          </ac:spMkLst>
        </pc:spChg>
        <pc:spChg chg="mod">
          <ac:chgData name="Schjold, Hanne Røvig" userId="72e82339-bab0-442f-8ca6-e6f386a713ee" providerId="ADAL" clId="{9706D415-2DA0-4D00-90B6-E46BF852F024}" dt="2023-03-16T10:32:15.991" v="326" actId="403"/>
          <ac:spMkLst>
            <pc:docMk/>
            <pc:sldMk cId="2292431674" sldId="689"/>
            <ac:spMk id="7" creationId="{C15B436B-D5CE-AB4A-A907-98CF827A820F}"/>
          </ac:spMkLst>
        </pc:spChg>
        <pc:picChg chg="add mod">
          <ac:chgData name="Schjold, Hanne Røvig" userId="72e82339-bab0-442f-8ca6-e6f386a713ee" providerId="ADAL" clId="{9706D415-2DA0-4D00-90B6-E46BF852F024}" dt="2023-03-16T10:31:19.517" v="322"/>
          <ac:picMkLst>
            <pc:docMk/>
            <pc:sldMk cId="2292431674" sldId="689"/>
            <ac:picMk id="6" creationId="{23461F00-1B95-AE8E-F3AC-48BAF48E3549}"/>
          </ac:picMkLst>
        </pc:picChg>
        <pc:picChg chg="del mod">
          <ac:chgData name="Schjold, Hanne Røvig" userId="72e82339-bab0-442f-8ca6-e6f386a713ee" providerId="ADAL" clId="{9706D415-2DA0-4D00-90B6-E46BF852F024}" dt="2023-03-16T10:31:18.664" v="321" actId="478"/>
          <ac:picMkLst>
            <pc:docMk/>
            <pc:sldMk cId="2292431674" sldId="689"/>
            <ac:picMk id="8" creationId="{54A9F48A-6A66-7843-B2C6-8A3242E2D651}"/>
          </ac:picMkLst>
        </pc:picChg>
      </pc:sldChg>
      <pc:sldChg chg="del">
        <pc:chgData name="Schjold, Hanne Røvig" userId="72e82339-bab0-442f-8ca6-e6f386a713ee" providerId="ADAL" clId="{9706D415-2DA0-4D00-90B6-E46BF852F024}" dt="2023-03-16T10:16:38.656" v="176" actId="2696"/>
        <pc:sldMkLst>
          <pc:docMk/>
          <pc:sldMk cId="3421265525" sldId="689"/>
        </pc:sldMkLst>
      </pc:sldChg>
      <pc:sldChg chg="del">
        <pc:chgData name="Schjold, Hanne Røvig" userId="72e82339-bab0-442f-8ca6-e6f386a713ee" providerId="ADAL" clId="{9706D415-2DA0-4D00-90B6-E46BF852F024}" dt="2023-03-16T10:50:39.444" v="393" actId="2696"/>
        <pc:sldMkLst>
          <pc:docMk/>
          <pc:sldMk cId="868934792" sldId="690"/>
        </pc:sldMkLst>
      </pc:sldChg>
      <pc:sldChg chg="addSp delSp modSp add mod ord setBg">
        <pc:chgData name="Schjold, Hanne Røvig" userId="72e82339-bab0-442f-8ca6-e6f386a713ee" providerId="ADAL" clId="{9706D415-2DA0-4D00-90B6-E46BF852F024}" dt="2023-03-22T11:18:04.898" v="2598" actId="1036"/>
        <pc:sldMkLst>
          <pc:docMk/>
          <pc:sldMk cId="1313285263" sldId="690"/>
        </pc:sldMkLst>
        <pc:spChg chg="add del mod ord">
          <ac:chgData name="Schjold, Hanne Røvig" userId="72e82339-bab0-442f-8ca6-e6f386a713ee" providerId="ADAL" clId="{9706D415-2DA0-4D00-90B6-E46BF852F024}" dt="2023-03-16T10:59:11.151" v="443" actId="478"/>
          <ac:spMkLst>
            <pc:docMk/>
            <pc:sldMk cId="1313285263" sldId="690"/>
            <ac:spMk id="2" creationId="{67432436-9A1B-EC8E-8752-078B3070DB61}"/>
          </ac:spMkLst>
        </pc:spChg>
        <pc:spChg chg="del">
          <ac:chgData name="Schjold, Hanne Røvig" userId="72e82339-bab0-442f-8ca6-e6f386a713ee" providerId="ADAL" clId="{9706D415-2DA0-4D00-90B6-E46BF852F024}" dt="2023-03-17T12:40:14.543" v="2256" actId="478"/>
          <ac:spMkLst>
            <pc:docMk/>
            <pc:sldMk cId="1313285263" sldId="690"/>
            <ac:spMk id="7" creationId="{4C183D20-C3B9-43C4-B8D2-51673FA386C7}"/>
          </ac:spMkLst>
        </pc:spChg>
        <pc:spChg chg="mod">
          <ac:chgData name="Schjold, Hanne Røvig" userId="72e82339-bab0-442f-8ca6-e6f386a713ee" providerId="ADAL" clId="{9706D415-2DA0-4D00-90B6-E46BF852F024}" dt="2023-03-17T12:40:49.906" v="2260" actId="1076"/>
          <ac:spMkLst>
            <pc:docMk/>
            <pc:sldMk cId="1313285263" sldId="690"/>
            <ac:spMk id="10" creationId="{DBD4E3B2-CA41-4B1B-9736-BF37F2B9E4B5}"/>
          </ac:spMkLst>
        </pc:spChg>
        <pc:picChg chg="mod modCrop">
          <ac:chgData name="Schjold, Hanne Røvig" userId="72e82339-bab0-442f-8ca6-e6f386a713ee" providerId="ADAL" clId="{9706D415-2DA0-4D00-90B6-E46BF852F024}" dt="2023-03-17T12:40:43.800" v="2259" actId="732"/>
          <ac:picMkLst>
            <pc:docMk/>
            <pc:sldMk cId="1313285263" sldId="690"/>
            <ac:picMk id="15" creationId="{6FC1ABF3-5F19-4B1A-B064-202C78B767E9}"/>
          </ac:picMkLst>
        </pc:picChg>
        <pc:cxnChg chg="add del mod">
          <ac:chgData name="Schjold, Hanne Røvig" userId="72e82339-bab0-442f-8ca6-e6f386a713ee" providerId="ADAL" clId="{9706D415-2DA0-4D00-90B6-E46BF852F024}" dt="2023-03-17T12:39:52.236" v="2249" actId="21"/>
          <ac:cxnSpMkLst>
            <pc:docMk/>
            <pc:sldMk cId="1313285263" sldId="690"/>
            <ac:cxnSpMk id="3" creationId="{70E49B40-4C24-19FF-6039-E2F0AC11DF8F}"/>
          </ac:cxnSpMkLst>
        </pc:cxnChg>
        <pc:cxnChg chg="add mod">
          <ac:chgData name="Schjold, Hanne Røvig" userId="72e82339-bab0-442f-8ca6-e6f386a713ee" providerId="ADAL" clId="{9706D415-2DA0-4D00-90B6-E46BF852F024}" dt="2023-03-22T11:18:04.898" v="2598" actId="1036"/>
          <ac:cxnSpMkLst>
            <pc:docMk/>
            <pc:sldMk cId="1313285263" sldId="690"/>
            <ac:cxnSpMk id="8" creationId="{755D50C6-240A-2BC1-52B2-5361EAEA02ED}"/>
          </ac:cxnSpMkLst>
        </pc:cxnChg>
      </pc:sldChg>
      <pc:sldChg chg="modSp add mod ord setBg">
        <pc:chgData name="Schjold, Hanne Røvig" userId="72e82339-bab0-442f-8ca6-e6f386a713ee" providerId="ADAL" clId="{9706D415-2DA0-4D00-90B6-E46BF852F024}" dt="2023-03-17T10:15:41.283" v="1375"/>
        <pc:sldMkLst>
          <pc:docMk/>
          <pc:sldMk cId="223454079" sldId="691"/>
        </pc:sldMkLst>
        <pc:spChg chg="mod">
          <ac:chgData name="Schjold, Hanne Røvig" userId="72e82339-bab0-442f-8ca6-e6f386a713ee" providerId="ADAL" clId="{9706D415-2DA0-4D00-90B6-E46BF852F024}" dt="2023-03-16T10:55:43.720" v="425" actId="207"/>
          <ac:spMkLst>
            <pc:docMk/>
            <pc:sldMk cId="223454079" sldId="691"/>
            <ac:spMk id="4" creationId="{0E5765D7-7FCD-614A-B025-4CC03904B46D}"/>
          </ac:spMkLst>
        </pc:spChg>
      </pc:sldChg>
      <pc:sldChg chg="del">
        <pc:chgData name="Schjold, Hanne Røvig" userId="72e82339-bab0-442f-8ca6-e6f386a713ee" providerId="ADAL" clId="{9706D415-2DA0-4D00-90B6-E46BF852F024}" dt="2023-03-16T10:50:39.444" v="393" actId="2696"/>
        <pc:sldMkLst>
          <pc:docMk/>
          <pc:sldMk cId="3394483629" sldId="691"/>
        </pc:sldMkLst>
      </pc:sldChg>
      <pc:sldChg chg="ord">
        <pc:chgData name="Schjold, Hanne Røvig" userId="72e82339-bab0-442f-8ca6-e6f386a713ee" providerId="ADAL" clId="{9706D415-2DA0-4D00-90B6-E46BF852F024}" dt="2023-03-17T10:09:03.346" v="1317"/>
        <pc:sldMkLst>
          <pc:docMk/>
          <pc:sldMk cId="2992498367" sldId="694"/>
        </pc:sldMkLst>
      </pc:sldChg>
      <pc:sldChg chg="modSp mod ord setBg">
        <pc:chgData name="Schjold, Hanne Røvig" userId="72e82339-bab0-442f-8ca6-e6f386a713ee" providerId="ADAL" clId="{9706D415-2DA0-4D00-90B6-E46BF852F024}" dt="2023-03-22T11:11:50.965" v="2556" actId="20577"/>
        <pc:sldMkLst>
          <pc:docMk/>
          <pc:sldMk cId="2427734624" sldId="696"/>
        </pc:sldMkLst>
        <pc:spChg chg="mod">
          <ac:chgData name="Schjold, Hanne Røvig" userId="72e82339-bab0-442f-8ca6-e6f386a713ee" providerId="ADAL" clId="{9706D415-2DA0-4D00-90B6-E46BF852F024}" dt="2023-03-22T11:11:50.965" v="2556" actId="20577"/>
          <ac:spMkLst>
            <pc:docMk/>
            <pc:sldMk cId="2427734624" sldId="696"/>
            <ac:spMk id="2" creationId="{53244626-4D81-33D2-8513-113440363D7E}"/>
          </ac:spMkLst>
        </pc:spChg>
        <pc:spChg chg="mod">
          <ac:chgData name="Schjold, Hanne Røvig" userId="72e82339-bab0-442f-8ca6-e6f386a713ee" providerId="ADAL" clId="{9706D415-2DA0-4D00-90B6-E46BF852F024}" dt="2023-03-16T14:19:55.883" v="1135" actId="14100"/>
          <ac:spMkLst>
            <pc:docMk/>
            <pc:sldMk cId="2427734624" sldId="696"/>
            <ac:spMk id="4" creationId="{E7CAE6A9-2F94-FE49-8F4C-C9197ED5A83B}"/>
          </ac:spMkLst>
        </pc:spChg>
        <pc:spChg chg="mod">
          <ac:chgData name="Schjold, Hanne Røvig" userId="72e82339-bab0-442f-8ca6-e6f386a713ee" providerId="ADAL" clId="{9706D415-2DA0-4D00-90B6-E46BF852F024}" dt="2023-03-22T11:11:16.544" v="2543" actId="1076"/>
          <ac:spMkLst>
            <pc:docMk/>
            <pc:sldMk cId="2427734624" sldId="696"/>
            <ac:spMk id="7" creationId="{74D97012-5243-7643-A741-DA1B30601511}"/>
          </ac:spMkLst>
        </pc:spChg>
        <pc:graphicFrameChg chg="mod">
          <ac:chgData name="Schjold, Hanne Røvig" userId="72e82339-bab0-442f-8ca6-e6f386a713ee" providerId="ADAL" clId="{9706D415-2DA0-4D00-90B6-E46BF852F024}" dt="2023-03-22T11:11:42.476" v="2548" actId="404"/>
          <ac:graphicFrameMkLst>
            <pc:docMk/>
            <pc:sldMk cId="2427734624" sldId="696"/>
            <ac:graphicFrameMk id="6" creationId="{1C87C3DB-0DCD-4AE2-96DD-634D86192073}"/>
          </ac:graphicFrameMkLst>
        </pc:graphicFrameChg>
      </pc:sldChg>
      <pc:sldChg chg="addSp modSp mod ord">
        <pc:chgData name="Schjold, Hanne Røvig" userId="72e82339-bab0-442f-8ca6-e6f386a713ee" providerId="ADAL" clId="{9706D415-2DA0-4D00-90B6-E46BF852F024}" dt="2023-03-22T11:10:55.156" v="2542" actId="20577"/>
        <pc:sldMkLst>
          <pc:docMk/>
          <pc:sldMk cId="3633088076" sldId="697"/>
        </pc:sldMkLst>
        <pc:spChg chg="add mod ord">
          <ac:chgData name="Schjold, Hanne Røvig" userId="72e82339-bab0-442f-8ca6-e6f386a713ee" providerId="ADAL" clId="{9706D415-2DA0-4D00-90B6-E46BF852F024}" dt="2023-03-22T11:10:19.722" v="2531" actId="207"/>
          <ac:spMkLst>
            <pc:docMk/>
            <pc:sldMk cId="3633088076" sldId="697"/>
            <ac:spMk id="2" creationId="{DE0DED30-818E-D79E-8E8E-5DEA1577A494}"/>
          </ac:spMkLst>
        </pc:spChg>
        <pc:spChg chg="mod">
          <ac:chgData name="Schjold, Hanne Røvig" userId="72e82339-bab0-442f-8ca6-e6f386a713ee" providerId="ADAL" clId="{9706D415-2DA0-4D00-90B6-E46BF852F024}" dt="2023-03-22T11:10:55.156" v="2542" actId="20577"/>
          <ac:spMkLst>
            <pc:docMk/>
            <pc:sldMk cId="3633088076" sldId="697"/>
            <ac:spMk id="3" creationId="{812483EE-F63C-D162-AD66-80A9589A805E}"/>
          </ac:spMkLst>
        </pc:spChg>
        <pc:graphicFrameChg chg="mod">
          <ac:chgData name="Schjold, Hanne Røvig" userId="72e82339-bab0-442f-8ca6-e6f386a713ee" providerId="ADAL" clId="{9706D415-2DA0-4D00-90B6-E46BF852F024}" dt="2023-03-22T11:10:38.574" v="2533" actId="2711"/>
          <ac:graphicFrameMkLst>
            <pc:docMk/>
            <pc:sldMk cId="3633088076" sldId="697"/>
            <ac:graphicFrameMk id="9" creationId="{1C87C3DB-0DCD-4AE2-96DD-634D86192073}"/>
          </ac:graphicFrameMkLst>
        </pc:graphicFrameChg>
      </pc:sldChg>
      <pc:sldChg chg="modSp mod ord">
        <pc:chgData name="Schjold, Hanne Røvig" userId="72e82339-bab0-442f-8ca6-e6f386a713ee" providerId="ADAL" clId="{9706D415-2DA0-4D00-90B6-E46BF852F024}" dt="2023-03-28T13:44:32.314" v="2647" actId="1076"/>
        <pc:sldMkLst>
          <pc:docMk/>
          <pc:sldMk cId="2011306900" sldId="712"/>
        </pc:sldMkLst>
        <pc:picChg chg="mod">
          <ac:chgData name="Schjold, Hanne Røvig" userId="72e82339-bab0-442f-8ca6-e6f386a713ee" providerId="ADAL" clId="{9706D415-2DA0-4D00-90B6-E46BF852F024}" dt="2023-03-28T13:44:32.314" v="2647" actId="1076"/>
          <ac:picMkLst>
            <pc:docMk/>
            <pc:sldMk cId="2011306900" sldId="712"/>
            <ac:picMk id="9" creationId="{0C71897B-7CD3-77EC-D22B-91A80833A7D5}"/>
          </ac:picMkLst>
        </pc:picChg>
      </pc:sldChg>
      <pc:sldChg chg="addSp delSp modSp del mod ord delAnim modAnim">
        <pc:chgData name="Schjold, Hanne Røvig" userId="72e82339-bab0-442f-8ca6-e6f386a713ee" providerId="ADAL" clId="{9706D415-2DA0-4D00-90B6-E46BF852F024}" dt="2023-03-16T13:06:24.903" v="1111" actId="47"/>
        <pc:sldMkLst>
          <pc:docMk/>
          <pc:sldMk cId="2278995086" sldId="729"/>
        </pc:sldMkLst>
        <pc:spChg chg="del">
          <ac:chgData name="Schjold, Hanne Røvig" userId="72e82339-bab0-442f-8ca6-e6f386a713ee" providerId="ADAL" clId="{9706D415-2DA0-4D00-90B6-E46BF852F024}" dt="2023-03-16T12:47:21.406" v="710" actId="478"/>
          <ac:spMkLst>
            <pc:docMk/>
            <pc:sldMk cId="2278995086" sldId="729"/>
            <ac:spMk id="5" creationId="{819C3158-1538-7EF6-FD41-F700CE488375}"/>
          </ac:spMkLst>
        </pc:spChg>
        <pc:spChg chg="del">
          <ac:chgData name="Schjold, Hanne Røvig" userId="72e82339-bab0-442f-8ca6-e6f386a713ee" providerId="ADAL" clId="{9706D415-2DA0-4D00-90B6-E46BF852F024}" dt="2023-03-16T12:47:21.406" v="710" actId="478"/>
          <ac:spMkLst>
            <pc:docMk/>
            <pc:sldMk cId="2278995086" sldId="729"/>
            <ac:spMk id="6" creationId="{0BA35C42-B586-5579-198C-633E6261106F}"/>
          </ac:spMkLst>
        </pc:spChg>
        <pc:spChg chg="del">
          <ac:chgData name="Schjold, Hanne Røvig" userId="72e82339-bab0-442f-8ca6-e6f386a713ee" providerId="ADAL" clId="{9706D415-2DA0-4D00-90B6-E46BF852F024}" dt="2023-03-16T12:47:21.406" v="710" actId="478"/>
          <ac:spMkLst>
            <pc:docMk/>
            <pc:sldMk cId="2278995086" sldId="729"/>
            <ac:spMk id="7" creationId="{664C07C0-1C91-49A6-95C4-A7B2C63DA89F}"/>
          </ac:spMkLst>
        </pc:spChg>
        <pc:spChg chg="del">
          <ac:chgData name="Schjold, Hanne Røvig" userId="72e82339-bab0-442f-8ca6-e6f386a713ee" providerId="ADAL" clId="{9706D415-2DA0-4D00-90B6-E46BF852F024}" dt="2023-03-16T12:47:21.406" v="710" actId="478"/>
          <ac:spMkLst>
            <pc:docMk/>
            <pc:sldMk cId="2278995086" sldId="729"/>
            <ac:spMk id="8" creationId="{964D08BA-B3C7-7CDE-9E9A-BB517ACA783C}"/>
          </ac:spMkLst>
        </pc:spChg>
        <pc:spChg chg="del mod">
          <ac:chgData name="Schjold, Hanne Røvig" userId="72e82339-bab0-442f-8ca6-e6f386a713ee" providerId="ADAL" clId="{9706D415-2DA0-4D00-90B6-E46BF852F024}" dt="2023-03-16T12:58:31.808" v="854" actId="478"/>
          <ac:spMkLst>
            <pc:docMk/>
            <pc:sldMk cId="2278995086" sldId="729"/>
            <ac:spMk id="13" creationId="{520C2CE7-15BE-F49E-8D0C-68CB3D9AC65F}"/>
          </ac:spMkLst>
        </pc:spChg>
        <pc:spChg chg="del">
          <ac:chgData name="Schjold, Hanne Røvig" userId="72e82339-bab0-442f-8ca6-e6f386a713ee" providerId="ADAL" clId="{9706D415-2DA0-4D00-90B6-E46BF852F024}" dt="2023-03-16T12:47:21.406" v="710" actId="478"/>
          <ac:spMkLst>
            <pc:docMk/>
            <pc:sldMk cId="2278995086" sldId="729"/>
            <ac:spMk id="15" creationId="{A9A80C0E-8C76-64E6-6AD5-0E9323B6E172}"/>
          </ac:spMkLst>
        </pc:spChg>
        <pc:spChg chg="del">
          <ac:chgData name="Schjold, Hanne Røvig" userId="72e82339-bab0-442f-8ca6-e6f386a713ee" providerId="ADAL" clId="{9706D415-2DA0-4D00-90B6-E46BF852F024}" dt="2023-03-16T12:47:21.406" v="710" actId="478"/>
          <ac:spMkLst>
            <pc:docMk/>
            <pc:sldMk cId="2278995086" sldId="729"/>
            <ac:spMk id="16" creationId="{656947B1-652D-0860-4A19-1034E85E7593}"/>
          </ac:spMkLst>
        </pc:spChg>
        <pc:spChg chg="del mod">
          <ac:chgData name="Schjold, Hanne Røvig" userId="72e82339-bab0-442f-8ca6-e6f386a713ee" providerId="ADAL" clId="{9706D415-2DA0-4D00-90B6-E46BF852F024}" dt="2023-03-16T12:58:44.243" v="863" actId="478"/>
          <ac:spMkLst>
            <pc:docMk/>
            <pc:sldMk cId="2278995086" sldId="729"/>
            <ac:spMk id="17" creationId="{CCC28839-40E9-3F2B-8A09-D074232A2A0C}"/>
          </ac:spMkLst>
        </pc:spChg>
        <pc:spChg chg="mod">
          <ac:chgData name="Schjold, Hanne Røvig" userId="72e82339-bab0-442f-8ca6-e6f386a713ee" providerId="ADAL" clId="{9706D415-2DA0-4D00-90B6-E46BF852F024}" dt="2023-03-16T12:50:50.287" v="789" actId="1076"/>
          <ac:spMkLst>
            <pc:docMk/>
            <pc:sldMk cId="2278995086" sldId="729"/>
            <ac:spMk id="18" creationId="{53C227C8-ABB7-5798-83E1-27957B6EB080}"/>
          </ac:spMkLst>
        </pc:spChg>
        <pc:spChg chg="mod">
          <ac:chgData name="Schjold, Hanne Røvig" userId="72e82339-bab0-442f-8ca6-e6f386a713ee" providerId="ADAL" clId="{9706D415-2DA0-4D00-90B6-E46BF852F024}" dt="2023-03-16T12:50:37.253" v="787" actId="1076"/>
          <ac:spMkLst>
            <pc:docMk/>
            <pc:sldMk cId="2278995086" sldId="729"/>
            <ac:spMk id="19" creationId="{5478A8F5-CCBC-C7AA-C041-20AEBA56AE74}"/>
          </ac:spMkLst>
        </pc:spChg>
        <pc:spChg chg="del">
          <ac:chgData name="Schjold, Hanne Røvig" userId="72e82339-bab0-442f-8ca6-e6f386a713ee" providerId="ADAL" clId="{9706D415-2DA0-4D00-90B6-E46BF852F024}" dt="2023-03-16T12:47:21.406" v="710" actId="478"/>
          <ac:spMkLst>
            <pc:docMk/>
            <pc:sldMk cId="2278995086" sldId="729"/>
            <ac:spMk id="28" creationId="{D7C19932-2D3F-DDD7-64EC-60ED1244EB92}"/>
          </ac:spMkLst>
        </pc:spChg>
        <pc:spChg chg="del">
          <ac:chgData name="Schjold, Hanne Røvig" userId="72e82339-bab0-442f-8ca6-e6f386a713ee" providerId="ADAL" clId="{9706D415-2DA0-4D00-90B6-E46BF852F024}" dt="2023-03-16T12:47:21.406" v="710" actId="478"/>
          <ac:spMkLst>
            <pc:docMk/>
            <pc:sldMk cId="2278995086" sldId="729"/>
            <ac:spMk id="29" creationId="{BBFDD450-1730-1D67-A2A4-51F2CCF8744E}"/>
          </ac:spMkLst>
        </pc:spChg>
        <pc:spChg chg="del">
          <ac:chgData name="Schjold, Hanne Røvig" userId="72e82339-bab0-442f-8ca6-e6f386a713ee" providerId="ADAL" clId="{9706D415-2DA0-4D00-90B6-E46BF852F024}" dt="2023-03-16T12:47:21.406" v="710" actId="478"/>
          <ac:spMkLst>
            <pc:docMk/>
            <pc:sldMk cId="2278995086" sldId="729"/>
            <ac:spMk id="30" creationId="{5279F0A8-C779-39B0-52B1-0CB5397A9896}"/>
          </ac:spMkLst>
        </pc:spChg>
        <pc:spChg chg="del">
          <ac:chgData name="Schjold, Hanne Røvig" userId="72e82339-bab0-442f-8ca6-e6f386a713ee" providerId="ADAL" clId="{9706D415-2DA0-4D00-90B6-E46BF852F024}" dt="2023-03-16T12:47:21.406" v="710" actId="478"/>
          <ac:spMkLst>
            <pc:docMk/>
            <pc:sldMk cId="2278995086" sldId="729"/>
            <ac:spMk id="31" creationId="{95256DB2-BB8A-05F8-587B-66746F16905D}"/>
          </ac:spMkLst>
        </pc:spChg>
        <pc:spChg chg="del mod">
          <ac:chgData name="Schjold, Hanne Røvig" userId="72e82339-bab0-442f-8ca6-e6f386a713ee" providerId="ADAL" clId="{9706D415-2DA0-4D00-90B6-E46BF852F024}" dt="2023-03-16T12:58:33.692" v="856" actId="478"/>
          <ac:spMkLst>
            <pc:docMk/>
            <pc:sldMk cId="2278995086" sldId="729"/>
            <ac:spMk id="2593" creationId="{9680810C-B792-C2E6-0A53-DE13A6318625}"/>
          </ac:spMkLst>
        </pc:spChg>
        <pc:spChg chg="mod">
          <ac:chgData name="Schjold, Hanne Røvig" userId="72e82339-bab0-442f-8ca6-e6f386a713ee" providerId="ADAL" clId="{9706D415-2DA0-4D00-90B6-E46BF852F024}" dt="2023-03-16T12:51:46.926" v="796" actId="1076"/>
          <ac:spMkLst>
            <pc:docMk/>
            <pc:sldMk cId="2278995086" sldId="729"/>
            <ac:spMk id="2594" creationId="{8142DBAD-8FEB-E7BC-7620-21E11200B5AF}"/>
          </ac:spMkLst>
        </pc:spChg>
        <pc:spChg chg="del mod">
          <ac:chgData name="Schjold, Hanne Røvig" userId="72e82339-bab0-442f-8ca6-e6f386a713ee" providerId="ADAL" clId="{9706D415-2DA0-4D00-90B6-E46BF852F024}" dt="2023-03-16T12:58:34.506" v="857" actId="478"/>
          <ac:spMkLst>
            <pc:docMk/>
            <pc:sldMk cId="2278995086" sldId="729"/>
            <ac:spMk id="2595" creationId="{1EA4508F-AA52-1B5F-7C82-7600697B2D4F}"/>
          </ac:spMkLst>
        </pc:spChg>
        <pc:spChg chg="del mod">
          <ac:chgData name="Schjold, Hanne Røvig" userId="72e82339-bab0-442f-8ca6-e6f386a713ee" providerId="ADAL" clId="{9706D415-2DA0-4D00-90B6-E46BF852F024}" dt="2023-03-16T12:58:44.964" v="864" actId="478"/>
          <ac:spMkLst>
            <pc:docMk/>
            <pc:sldMk cId="2278995086" sldId="729"/>
            <ac:spMk id="2596" creationId="{A4B6000D-1EF5-0A54-8BDE-6A34DB4B70EB}"/>
          </ac:spMkLst>
        </pc:spChg>
        <pc:spChg chg="mod">
          <ac:chgData name="Schjold, Hanne Røvig" userId="72e82339-bab0-442f-8ca6-e6f386a713ee" providerId="ADAL" clId="{9706D415-2DA0-4D00-90B6-E46BF852F024}" dt="2023-03-16T12:59:34.133" v="897" actId="552"/>
          <ac:spMkLst>
            <pc:docMk/>
            <pc:sldMk cId="2278995086" sldId="729"/>
            <ac:spMk id="2597" creationId="{791511C4-98B2-48FA-BB12-28F07F35FAFF}"/>
          </ac:spMkLst>
        </pc:spChg>
        <pc:spChg chg="mod">
          <ac:chgData name="Schjold, Hanne Røvig" userId="72e82339-bab0-442f-8ca6-e6f386a713ee" providerId="ADAL" clId="{9706D415-2DA0-4D00-90B6-E46BF852F024}" dt="2023-03-16T12:50:32.434" v="786" actId="1076"/>
          <ac:spMkLst>
            <pc:docMk/>
            <pc:sldMk cId="2278995086" sldId="729"/>
            <ac:spMk id="2598" creationId="{E9DF8017-1A79-79CE-6EFB-91A4AED7B7E7}"/>
          </ac:spMkLst>
        </pc:spChg>
        <pc:spChg chg="del mod">
          <ac:chgData name="Schjold, Hanne Røvig" userId="72e82339-bab0-442f-8ca6-e6f386a713ee" providerId="ADAL" clId="{9706D415-2DA0-4D00-90B6-E46BF852F024}" dt="2023-03-16T12:58:30.892" v="853" actId="478"/>
          <ac:spMkLst>
            <pc:docMk/>
            <pc:sldMk cId="2278995086" sldId="729"/>
            <ac:spMk id="2599" creationId="{9518E6A2-1563-CD12-9467-AD6F153D7DB9}"/>
          </ac:spMkLst>
        </pc:spChg>
        <pc:spChg chg="del mod">
          <ac:chgData name="Schjold, Hanne Røvig" userId="72e82339-bab0-442f-8ca6-e6f386a713ee" providerId="ADAL" clId="{9706D415-2DA0-4D00-90B6-E46BF852F024}" dt="2023-03-16T12:58:37.460" v="860" actId="478"/>
          <ac:spMkLst>
            <pc:docMk/>
            <pc:sldMk cId="2278995086" sldId="729"/>
            <ac:spMk id="2600" creationId="{A9F81B10-B695-5244-628B-BBE673093825}"/>
          </ac:spMkLst>
        </pc:spChg>
        <pc:spChg chg="mod">
          <ac:chgData name="Schjold, Hanne Røvig" userId="72e82339-bab0-442f-8ca6-e6f386a713ee" providerId="ADAL" clId="{9706D415-2DA0-4D00-90B6-E46BF852F024}" dt="2023-03-16T12:50:43.884" v="788" actId="1076"/>
          <ac:spMkLst>
            <pc:docMk/>
            <pc:sldMk cId="2278995086" sldId="729"/>
            <ac:spMk id="2601" creationId="{82E200AD-2620-1B74-2979-1BC09EE67E3E}"/>
          </ac:spMkLst>
        </pc:spChg>
        <pc:spChg chg="mod">
          <ac:chgData name="Schjold, Hanne Røvig" userId="72e82339-bab0-442f-8ca6-e6f386a713ee" providerId="ADAL" clId="{9706D415-2DA0-4D00-90B6-E46BF852F024}" dt="2023-03-16T12:59:34.133" v="897" actId="552"/>
          <ac:spMkLst>
            <pc:docMk/>
            <pc:sldMk cId="2278995086" sldId="729"/>
            <ac:spMk id="2602" creationId="{B41C6FAB-D30E-A397-D560-598BE7C0DA07}"/>
          </ac:spMkLst>
        </pc:spChg>
        <pc:spChg chg="del mod">
          <ac:chgData name="Schjold, Hanne Røvig" userId="72e82339-bab0-442f-8ca6-e6f386a713ee" providerId="ADAL" clId="{9706D415-2DA0-4D00-90B6-E46BF852F024}" dt="2023-03-16T12:58:36.588" v="859" actId="478"/>
          <ac:spMkLst>
            <pc:docMk/>
            <pc:sldMk cId="2278995086" sldId="729"/>
            <ac:spMk id="2603" creationId="{65E54E9A-2C46-30C0-8260-CDB90EBAE931}"/>
          </ac:spMkLst>
        </pc:spChg>
        <pc:spChg chg="del mod">
          <ac:chgData name="Schjold, Hanne Røvig" userId="72e82339-bab0-442f-8ca6-e6f386a713ee" providerId="ADAL" clId="{9706D415-2DA0-4D00-90B6-E46BF852F024}" dt="2023-03-16T12:58:32.630" v="855" actId="478"/>
          <ac:spMkLst>
            <pc:docMk/>
            <pc:sldMk cId="2278995086" sldId="729"/>
            <ac:spMk id="2604" creationId="{4EB6F3C2-6D00-3C78-97A6-7BC3EC7305ED}"/>
          </ac:spMkLst>
        </pc:spChg>
        <pc:spChg chg="mod">
          <ac:chgData name="Schjold, Hanne Røvig" userId="72e82339-bab0-442f-8ca6-e6f386a713ee" providerId="ADAL" clId="{9706D415-2DA0-4D00-90B6-E46BF852F024}" dt="2023-03-16T12:51:40.927" v="795" actId="1076"/>
          <ac:spMkLst>
            <pc:docMk/>
            <pc:sldMk cId="2278995086" sldId="729"/>
            <ac:spMk id="2605" creationId="{700DE1B7-CBA9-E726-D76D-556E9AF69C40}"/>
          </ac:spMkLst>
        </pc:spChg>
        <pc:spChg chg="mod">
          <ac:chgData name="Schjold, Hanne Røvig" userId="72e82339-bab0-442f-8ca6-e6f386a713ee" providerId="ADAL" clId="{9706D415-2DA0-4D00-90B6-E46BF852F024}" dt="2023-03-16T12:59:34.133" v="897" actId="552"/>
          <ac:spMkLst>
            <pc:docMk/>
            <pc:sldMk cId="2278995086" sldId="729"/>
            <ac:spMk id="2606" creationId="{2BAF1050-F930-766D-81FE-59249E3164C0}"/>
          </ac:spMkLst>
        </pc:spChg>
        <pc:spChg chg="del mod">
          <ac:chgData name="Schjold, Hanne Røvig" userId="72e82339-bab0-442f-8ca6-e6f386a713ee" providerId="ADAL" clId="{9706D415-2DA0-4D00-90B6-E46BF852F024}" dt="2023-03-16T12:58:35.651" v="858" actId="478"/>
          <ac:spMkLst>
            <pc:docMk/>
            <pc:sldMk cId="2278995086" sldId="729"/>
            <ac:spMk id="2607" creationId="{2C1C87F4-C662-E819-7B42-3ADEAF005D8D}"/>
          </ac:spMkLst>
        </pc:spChg>
        <pc:spChg chg="mod">
          <ac:chgData name="Schjold, Hanne Røvig" userId="72e82339-bab0-442f-8ca6-e6f386a713ee" providerId="ADAL" clId="{9706D415-2DA0-4D00-90B6-E46BF852F024}" dt="2023-03-16T12:49:25.666" v="782" actId="1038"/>
          <ac:spMkLst>
            <pc:docMk/>
            <pc:sldMk cId="2278995086" sldId="729"/>
            <ac:spMk id="2621" creationId="{00000000-0008-0000-0300-000009000000}"/>
          </ac:spMkLst>
        </pc:spChg>
        <pc:spChg chg="mod">
          <ac:chgData name="Schjold, Hanne Røvig" userId="72e82339-bab0-442f-8ca6-e6f386a713ee" providerId="ADAL" clId="{9706D415-2DA0-4D00-90B6-E46BF852F024}" dt="2023-03-16T12:49:25.666" v="782" actId="1038"/>
          <ac:spMkLst>
            <pc:docMk/>
            <pc:sldMk cId="2278995086" sldId="729"/>
            <ac:spMk id="2622" creationId="{00000000-0008-0000-0300-00000A000000}"/>
          </ac:spMkLst>
        </pc:spChg>
        <pc:spChg chg="mod">
          <ac:chgData name="Schjold, Hanne Røvig" userId="72e82339-bab0-442f-8ca6-e6f386a713ee" providerId="ADAL" clId="{9706D415-2DA0-4D00-90B6-E46BF852F024}" dt="2023-03-16T12:49:25.666" v="782" actId="1038"/>
          <ac:spMkLst>
            <pc:docMk/>
            <pc:sldMk cId="2278995086" sldId="729"/>
            <ac:spMk id="2623" creationId="{00000000-0008-0000-0300-00000B000000}"/>
          </ac:spMkLst>
        </pc:spChg>
        <pc:spChg chg="mod">
          <ac:chgData name="Schjold, Hanne Røvig" userId="72e82339-bab0-442f-8ca6-e6f386a713ee" providerId="ADAL" clId="{9706D415-2DA0-4D00-90B6-E46BF852F024}" dt="2023-03-16T12:49:25.666" v="782" actId="1038"/>
          <ac:spMkLst>
            <pc:docMk/>
            <pc:sldMk cId="2278995086" sldId="729"/>
            <ac:spMk id="2624" creationId="{00000000-0008-0000-0300-00000C000000}"/>
          </ac:spMkLst>
        </pc:spChg>
        <pc:spChg chg="mod">
          <ac:chgData name="Schjold, Hanne Røvig" userId="72e82339-bab0-442f-8ca6-e6f386a713ee" providerId="ADAL" clId="{9706D415-2DA0-4D00-90B6-E46BF852F024}" dt="2023-03-16T12:49:25.666" v="782" actId="1038"/>
          <ac:spMkLst>
            <pc:docMk/>
            <pc:sldMk cId="2278995086" sldId="729"/>
            <ac:spMk id="2625" creationId="{00000000-0008-0000-0300-00000D000000}"/>
          </ac:spMkLst>
        </pc:spChg>
        <pc:spChg chg="mod">
          <ac:chgData name="Schjold, Hanne Røvig" userId="72e82339-bab0-442f-8ca6-e6f386a713ee" providerId="ADAL" clId="{9706D415-2DA0-4D00-90B6-E46BF852F024}" dt="2023-03-16T12:49:25.666" v="782" actId="1038"/>
          <ac:spMkLst>
            <pc:docMk/>
            <pc:sldMk cId="2278995086" sldId="729"/>
            <ac:spMk id="2626" creationId="{00000000-0008-0000-0300-00000E000000}"/>
          </ac:spMkLst>
        </pc:spChg>
        <pc:spChg chg="mod">
          <ac:chgData name="Schjold, Hanne Røvig" userId="72e82339-bab0-442f-8ca6-e6f386a713ee" providerId="ADAL" clId="{9706D415-2DA0-4D00-90B6-E46BF852F024}" dt="2023-03-16T12:49:25.666" v="782" actId="1038"/>
          <ac:spMkLst>
            <pc:docMk/>
            <pc:sldMk cId="2278995086" sldId="729"/>
            <ac:spMk id="2627" creationId="{00000000-0008-0000-0300-00000F000000}"/>
          </ac:spMkLst>
        </pc:spChg>
        <pc:spChg chg="mod">
          <ac:chgData name="Schjold, Hanne Røvig" userId="72e82339-bab0-442f-8ca6-e6f386a713ee" providerId="ADAL" clId="{9706D415-2DA0-4D00-90B6-E46BF852F024}" dt="2023-03-16T12:49:25.666" v="782" actId="1038"/>
          <ac:spMkLst>
            <pc:docMk/>
            <pc:sldMk cId="2278995086" sldId="729"/>
            <ac:spMk id="2628" creationId="{00000000-0008-0000-0300-000010000000}"/>
          </ac:spMkLst>
        </pc:spChg>
        <pc:spChg chg="mod">
          <ac:chgData name="Schjold, Hanne Røvig" userId="72e82339-bab0-442f-8ca6-e6f386a713ee" providerId="ADAL" clId="{9706D415-2DA0-4D00-90B6-E46BF852F024}" dt="2023-03-16T12:49:25.666" v="782" actId="1038"/>
          <ac:spMkLst>
            <pc:docMk/>
            <pc:sldMk cId="2278995086" sldId="729"/>
            <ac:spMk id="2629" creationId="{00000000-0008-0000-0300-000011000000}"/>
          </ac:spMkLst>
        </pc:spChg>
        <pc:spChg chg="mod">
          <ac:chgData name="Schjold, Hanne Røvig" userId="72e82339-bab0-442f-8ca6-e6f386a713ee" providerId="ADAL" clId="{9706D415-2DA0-4D00-90B6-E46BF852F024}" dt="2023-03-16T12:49:25.666" v="782" actId="1038"/>
          <ac:spMkLst>
            <pc:docMk/>
            <pc:sldMk cId="2278995086" sldId="729"/>
            <ac:spMk id="2630" creationId="{00000000-0008-0000-0300-000012000000}"/>
          </ac:spMkLst>
        </pc:spChg>
        <pc:spChg chg="mod">
          <ac:chgData name="Schjold, Hanne Røvig" userId="72e82339-bab0-442f-8ca6-e6f386a713ee" providerId="ADAL" clId="{9706D415-2DA0-4D00-90B6-E46BF852F024}" dt="2023-03-16T12:49:25.666" v="782" actId="1038"/>
          <ac:spMkLst>
            <pc:docMk/>
            <pc:sldMk cId="2278995086" sldId="729"/>
            <ac:spMk id="2631" creationId="{00000000-0008-0000-0300-000013000000}"/>
          </ac:spMkLst>
        </pc:spChg>
        <pc:spChg chg="mod">
          <ac:chgData name="Schjold, Hanne Røvig" userId="72e82339-bab0-442f-8ca6-e6f386a713ee" providerId="ADAL" clId="{9706D415-2DA0-4D00-90B6-E46BF852F024}" dt="2023-03-16T12:49:25.666" v="782" actId="1038"/>
          <ac:spMkLst>
            <pc:docMk/>
            <pc:sldMk cId="2278995086" sldId="729"/>
            <ac:spMk id="2632" creationId="{00000000-0008-0000-0300-000014000000}"/>
          </ac:spMkLst>
        </pc:spChg>
        <pc:spChg chg="mod">
          <ac:chgData name="Schjold, Hanne Røvig" userId="72e82339-bab0-442f-8ca6-e6f386a713ee" providerId="ADAL" clId="{9706D415-2DA0-4D00-90B6-E46BF852F024}" dt="2023-03-16T12:49:25.666" v="782" actId="1038"/>
          <ac:spMkLst>
            <pc:docMk/>
            <pc:sldMk cId="2278995086" sldId="729"/>
            <ac:spMk id="2633" creationId="{00000000-0008-0000-0300-000015000000}"/>
          </ac:spMkLst>
        </pc:spChg>
        <pc:spChg chg="mod">
          <ac:chgData name="Schjold, Hanne Røvig" userId="72e82339-bab0-442f-8ca6-e6f386a713ee" providerId="ADAL" clId="{9706D415-2DA0-4D00-90B6-E46BF852F024}" dt="2023-03-16T12:49:25.666" v="782" actId="1038"/>
          <ac:spMkLst>
            <pc:docMk/>
            <pc:sldMk cId="2278995086" sldId="729"/>
            <ac:spMk id="2634" creationId="{00000000-0008-0000-0300-000016000000}"/>
          </ac:spMkLst>
        </pc:spChg>
        <pc:spChg chg="mod">
          <ac:chgData name="Schjold, Hanne Røvig" userId="72e82339-bab0-442f-8ca6-e6f386a713ee" providerId="ADAL" clId="{9706D415-2DA0-4D00-90B6-E46BF852F024}" dt="2023-03-16T12:49:25.666" v="782" actId="1038"/>
          <ac:spMkLst>
            <pc:docMk/>
            <pc:sldMk cId="2278995086" sldId="729"/>
            <ac:spMk id="2635" creationId="{00000000-0008-0000-0300-000017000000}"/>
          </ac:spMkLst>
        </pc:spChg>
        <pc:spChg chg="mod">
          <ac:chgData name="Schjold, Hanne Røvig" userId="72e82339-bab0-442f-8ca6-e6f386a713ee" providerId="ADAL" clId="{9706D415-2DA0-4D00-90B6-E46BF852F024}" dt="2023-03-16T12:49:25.666" v="782" actId="1038"/>
          <ac:spMkLst>
            <pc:docMk/>
            <pc:sldMk cId="2278995086" sldId="729"/>
            <ac:spMk id="2636" creationId="{00000000-0008-0000-0300-000018000000}"/>
          </ac:spMkLst>
        </pc:spChg>
        <pc:spChg chg="mod">
          <ac:chgData name="Schjold, Hanne Røvig" userId="72e82339-bab0-442f-8ca6-e6f386a713ee" providerId="ADAL" clId="{9706D415-2DA0-4D00-90B6-E46BF852F024}" dt="2023-03-16T12:49:25.666" v="782" actId="1038"/>
          <ac:spMkLst>
            <pc:docMk/>
            <pc:sldMk cId="2278995086" sldId="729"/>
            <ac:spMk id="2637" creationId="{00000000-0008-0000-0300-000019000000}"/>
          </ac:spMkLst>
        </pc:spChg>
        <pc:spChg chg="mod">
          <ac:chgData name="Schjold, Hanne Røvig" userId="72e82339-bab0-442f-8ca6-e6f386a713ee" providerId="ADAL" clId="{9706D415-2DA0-4D00-90B6-E46BF852F024}" dt="2023-03-16T12:49:25.666" v="782" actId="1038"/>
          <ac:spMkLst>
            <pc:docMk/>
            <pc:sldMk cId="2278995086" sldId="729"/>
            <ac:spMk id="2638" creationId="{00000000-0008-0000-0300-00001A000000}"/>
          </ac:spMkLst>
        </pc:spChg>
        <pc:spChg chg="mod">
          <ac:chgData name="Schjold, Hanne Røvig" userId="72e82339-bab0-442f-8ca6-e6f386a713ee" providerId="ADAL" clId="{9706D415-2DA0-4D00-90B6-E46BF852F024}" dt="2023-03-16T12:49:25.666" v="782" actId="1038"/>
          <ac:spMkLst>
            <pc:docMk/>
            <pc:sldMk cId="2278995086" sldId="729"/>
            <ac:spMk id="2639" creationId="{00000000-0008-0000-0300-00001B000000}"/>
          </ac:spMkLst>
        </pc:spChg>
        <pc:spChg chg="mod">
          <ac:chgData name="Schjold, Hanne Røvig" userId="72e82339-bab0-442f-8ca6-e6f386a713ee" providerId="ADAL" clId="{9706D415-2DA0-4D00-90B6-E46BF852F024}" dt="2023-03-16T12:49:25.666" v="782" actId="1038"/>
          <ac:spMkLst>
            <pc:docMk/>
            <pc:sldMk cId="2278995086" sldId="729"/>
            <ac:spMk id="2640" creationId="{00000000-0008-0000-0300-00001C000000}"/>
          </ac:spMkLst>
        </pc:spChg>
        <pc:spChg chg="mod">
          <ac:chgData name="Schjold, Hanne Røvig" userId="72e82339-bab0-442f-8ca6-e6f386a713ee" providerId="ADAL" clId="{9706D415-2DA0-4D00-90B6-E46BF852F024}" dt="2023-03-16T12:49:25.666" v="782" actId="1038"/>
          <ac:spMkLst>
            <pc:docMk/>
            <pc:sldMk cId="2278995086" sldId="729"/>
            <ac:spMk id="2641" creationId="{00000000-0008-0000-0300-00001D000000}"/>
          </ac:spMkLst>
        </pc:spChg>
        <pc:spChg chg="mod">
          <ac:chgData name="Schjold, Hanne Røvig" userId="72e82339-bab0-442f-8ca6-e6f386a713ee" providerId="ADAL" clId="{9706D415-2DA0-4D00-90B6-E46BF852F024}" dt="2023-03-16T12:49:25.666" v="782" actId="1038"/>
          <ac:spMkLst>
            <pc:docMk/>
            <pc:sldMk cId="2278995086" sldId="729"/>
            <ac:spMk id="2642" creationId="{00000000-0008-0000-0300-00001E000000}"/>
          </ac:spMkLst>
        </pc:spChg>
        <pc:spChg chg="mod">
          <ac:chgData name="Schjold, Hanne Røvig" userId="72e82339-bab0-442f-8ca6-e6f386a713ee" providerId="ADAL" clId="{9706D415-2DA0-4D00-90B6-E46BF852F024}" dt="2023-03-16T12:49:25.666" v="782" actId="1038"/>
          <ac:spMkLst>
            <pc:docMk/>
            <pc:sldMk cId="2278995086" sldId="729"/>
            <ac:spMk id="2643" creationId="{00000000-0008-0000-0300-00001F000000}"/>
          </ac:spMkLst>
        </pc:spChg>
        <pc:spChg chg="mod">
          <ac:chgData name="Schjold, Hanne Røvig" userId="72e82339-bab0-442f-8ca6-e6f386a713ee" providerId="ADAL" clId="{9706D415-2DA0-4D00-90B6-E46BF852F024}" dt="2023-03-16T12:49:25.666" v="782" actId="1038"/>
          <ac:spMkLst>
            <pc:docMk/>
            <pc:sldMk cId="2278995086" sldId="729"/>
            <ac:spMk id="2644" creationId="{00000000-0008-0000-0300-000020000000}"/>
          </ac:spMkLst>
        </pc:spChg>
        <pc:spChg chg="mod">
          <ac:chgData name="Schjold, Hanne Røvig" userId="72e82339-bab0-442f-8ca6-e6f386a713ee" providerId="ADAL" clId="{9706D415-2DA0-4D00-90B6-E46BF852F024}" dt="2023-03-16T12:49:25.666" v="782" actId="1038"/>
          <ac:spMkLst>
            <pc:docMk/>
            <pc:sldMk cId="2278995086" sldId="729"/>
            <ac:spMk id="2645" creationId="{00000000-0008-0000-0300-000021000000}"/>
          </ac:spMkLst>
        </pc:spChg>
        <pc:spChg chg="mod">
          <ac:chgData name="Schjold, Hanne Røvig" userId="72e82339-bab0-442f-8ca6-e6f386a713ee" providerId="ADAL" clId="{9706D415-2DA0-4D00-90B6-E46BF852F024}" dt="2023-03-16T12:49:25.666" v="782" actId="1038"/>
          <ac:spMkLst>
            <pc:docMk/>
            <pc:sldMk cId="2278995086" sldId="729"/>
            <ac:spMk id="2646" creationId="{00000000-0008-0000-0300-000022000000}"/>
          </ac:spMkLst>
        </pc:spChg>
        <pc:spChg chg="mod">
          <ac:chgData name="Schjold, Hanne Røvig" userId="72e82339-bab0-442f-8ca6-e6f386a713ee" providerId="ADAL" clId="{9706D415-2DA0-4D00-90B6-E46BF852F024}" dt="2023-03-16T12:49:25.666" v="782" actId="1038"/>
          <ac:spMkLst>
            <pc:docMk/>
            <pc:sldMk cId="2278995086" sldId="729"/>
            <ac:spMk id="2647" creationId="{00000000-0008-0000-0300-000023000000}"/>
          </ac:spMkLst>
        </pc:spChg>
        <pc:spChg chg="mod">
          <ac:chgData name="Schjold, Hanne Røvig" userId="72e82339-bab0-442f-8ca6-e6f386a713ee" providerId="ADAL" clId="{9706D415-2DA0-4D00-90B6-E46BF852F024}" dt="2023-03-16T12:49:25.666" v="782" actId="1038"/>
          <ac:spMkLst>
            <pc:docMk/>
            <pc:sldMk cId="2278995086" sldId="729"/>
            <ac:spMk id="2648" creationId="{00000000-0008-0000-0300-000024000000}"/>
          </ac:spMkLst>
        </pc:spChg>
        <pc:spChg chg="mod">
          <ac:chgData name="Schjold, Hanne Røvig" userId="72e82339-bab0-442f-8ca6-e6f386a713ee" providerId="ADAL" clId="{9706D415-2DA0-4D00-90B6-E46BF852F024}" dt="2023-03-16T12:49:25.666" v="782" actId="1038"/>
          <ac:spMkLst>
            <pc:docMk/>
            <pc:sldMk cId="2278995086" sldId="729"/>
            <ac:spMk id="2649" creationId="{00000000-0008-0000-0300-000025000000}"/>
          </ac:spMkLst>
        </pc:spChg>
        <pc:spChg chg="mod">
          <ac:chgData name="Schjold, Hanne Røvig" userId="72e82339-bab0-442f-8ca6-e6f386a713ee" providerId="ADAL" clId="{9706D415-2DA0-4D00-90B6-E46BF852F024}" dt="2023-03-16T12:49:25.666" v="782" actId="1038"/>
          <ac:spMkLst>
            <pc:docMk/>
            <pc:sldMk cId="2278995086" sldId="729"/>
            <ac:spMk id="2650" creationId="{00000000-0008-0000-0300-000026000000}"/>
          </ac:spMkLst>
        </pc:spChg>
        <pc:spChg chg="mod">
          <ac:chgData name="Schjold, Hanne Røvig" userId="72e82339-bab0-442f-8ca6-e6f386a713ee" providerId="ADAL" clId="{9706D415-2DA0-4D00-90B6-E46BF852F024}" dt="2023-03-16T12:49:25.666" v="782" actId="1038"/>
          <ac:spMkLst>
            <pc:docMk/>
            <pc:sldMk cId="2278995086" sldId="729"/>
            <ac:spMk id="2651" creationId="{00000000-0008-0000-0300-000027000000}"/>
          </ac:spMkLst>
        </pc:spChg>
        <pc:spChg chg="mod">
          <ac:chgData name="Schjold, Hanne Røvig" userId="72e82339-bab0-442f-8ca6-e6f386a713ee" providerId="ADAL" clId="{9706D415-2DA0-4D00-90B6-E46BF852F024}" dt="2023-03-16T12:49:25.666" v="782" actId="1038"/>
          <ac:spMkLst>
            <pc:docMk/>
            <pc:sldMk cId="2278995086" sldId="729"/>
            <ac:spMk id="2652" creationId="{00000000-0008-0000-0300-000028000000}"/>
          </ac:spMkLst>
        </pc:spChg>
        <pc:spChg chg="mod">
          <ac:chgData name="Schjold, Hanne Røvig" userId="72e82339-bab0-442f-8ca6-e6f386a713ee" providerId="ADAL" clId="{9706D415-2DA0-4D00-90B6-E46BF852F024}" dt="2023-03-16T12:49:25.666" v="782" actId="1038"/>
          <ac:spMkLst>
            <pc:docMk/>
            <pc:sldMk cId="2278995086" sldId="729"/>
            <ac:spMk id="2653" creationId="{00000000-0008-0000-0300-000029000000}"/>
          </ac:spMkLst>
        </pc:spChg>
        <pc:spChg chg="mod">
          <ac:chgData name="Schjold, Hanne Røvig" userId="72e82339-bab0-442f-8ca6-e6f386a713ee" providerId="ADAL" clId="{9706D415-2DA0-4D00-90B6-E46BF852F024}" dt="2023-03-16T12:49:25.666" v="782" actId="1038"/>
          <ac:spMkLst>
            <pc:docMk/>
            <pc:sldMk cId="2278995086" sldId="729"/>
            <ac:spMk id="2654" creationId="{00000000-0008-0000-0300-00002A000000}"/>
          </ac:spMkLst>
        </pc:spChg>
        <pc:spChg chg="mod">
          <ac:chgData name="Schjold, Hanne Røvig" userId="72e82339-bab0-442f-8ca6-e6f386a713ee" providerId="ADAL" clId="{9706D415-2DA0-4D00-90B6-E46BF852F024}" dt="2023-03-16T12:49:25.666" v="782" actId="1038"/>
          <ac:spMkLst>
            <pc:docMk/>
            <pc:sldMk cId="2278995086" sldId="729"/>
            <ac:spMk id="2655" creationId="{00000000-0008-0000-0300-00002B000000}"/>
          </ac:spMkLst>
        </pc:spChg>
        <pc:spChg chg="mod">
          <ac:chgData name="Schjold, Hanne Røvig" userId="72e82339-bab0-442f-8ca6-e6f386a713ee" providerId="ADAL" clId="{9706D415-2DA0-4D00-90B6-E46BF852F024}" dt="2023-03-16T12:49:25.666" v="782" actId="1038"/>
          <ac:spMkLst>
            <pc:docMk/>
            <pc:sldMk cId="2278995086" sldId="729"/>
            <ac:spMk id="2656" creationId="{00000000-0008-0000-0300-00002C000000}"/>
          </ac:spMkLst>
        </pc:spChg>
        <pc:spChg chg="mod">
          <ac:chgData name="Schjold, Hanne Røvig" userId="72e82339-bab0-442f-8ca6-e6f386a713ee" providerId="ADAL" clId="{9706D415-2DA0-4D00-90B6-E46BF852F024}" dt="2023-03-16T12:49:25.666" v="782" actId="1038"/>
          <ac:spMkLst>
            <pc:docMk/>
            <pc:sldMk cId="2278995086" sldId="729"/>
            <ac:spMk id="2657" creationId="{00000000-0008-0000-0300-00002D000000}"/>
          </ac:spMkLst>
        </pc:spChg>
        <pc:spChg chg="mod">
          <ac:chgData name="Schjold, Hanne Røvig" userId="72e82339-bab0-442f-8ca6-e6f386a713ee" providerId="ADAL" clId="{9706D415-2DA0-4D00-90B6-E46BF852F024}" dt="2023-03-16T12:49:25.666" v="782" actId="1038"/>
          <ac:spMkLst>
            <pc:docMk/>
            <pc:sldMk cId="2278995086" sldId="729"/>
            <ac:spMk id="2658" creationId="{00000000-0008-0000-0300-00002E000000}"/>
          </ac:spMkLst>
        </pc:spChg>
        <pc:spChg chg="mod">
          <ac:chgData name="Schjold, Hanne Røvig" userId="72e82339-bab0-442f-8ca6-e6f386a713ee" providerId="ADAL" clId="{9706D415-2DA0-4D00-90B6-E46BF852F024}" dt="2023-03-16T12:49:25.666" v="782" actId="1038"/>
          <ac:spMkLst>
            <pc:docMk/>
            <pc:sldMk cId="2278995086" sldId="729"/>
            <ac:spMk id="2659" creationId="{00000000-0008-0000-0300-00002F000000}"/>
          </ac:spMkLst>
        </pc:spChg>
        <pc:spChg chg="mod">
          <ac:chgData name="Schjold, Hanne Røvig" userId="72e82339-bab0-442f-8ca6-e6f386a713ee" providerId="ADAL" clId="{9706D415-2DA0-4D00-90B6-E46BF852F024}" dt="2023-03-16T12:49:25.666" v="782" actId="1038"/>
          <ac:spMkLst>
            <pc:docMk/>
            <pc:sldMk cId="2278995086" sldId="729"/>
            <ac:spMk id="2660" creationId="{00000000-0008-0000-0300-000030000000}"/>
          </ac:spMkLst>
        </pc:spChg>
        <pc:spChg chg="mod">
          <ac:chgData name="Schjold, Hanne Røvig" userId="72e82339-bab0-442f-8ca6-e6f386a713ee" providerId="ADAL" clId="{9706D415-2DA0-4D00-90B6-E46BF852F024}" dt="2023-03-16T12:49:25.666" v="782" actId="1038"/>
          <ac:spMkLst>
            <pc:docMk/>
            <pc:sldMk cId="2278995086" sldId="729"/>
            <ac:spMk id="2661" creationId="{00000000-0008-0000-0300-000031000000}"/>
          </ac:spMkLst>
        </pc:spChg>
        <pc:spChg chg="mod">
          <ac:chgData name="Schjold, Hanne Røvig" userId="72e82339-bab0-442f-8ca6-e6f386a713ee" providerId="ADAL" clId="{9706D415-2DA0-4D00-90B6-E46BF852F024}" dt="2023-03-16T12:49:25.666" v="782" actId="1038"/>
          <ac:spMkLst>
            <pc:docMk/>
            <pc:sldMk cId="2278995086" sldId="729"/>
            <ac:spMk id="2662" creationId="{00000000-0008-0000-0300-000032000000}"/>
          </ac:spMkLst>
        </pc:spChg>
        <pc:spChg chg="mod">
          <ac:chgData name="Schjold, Hanne Røvig" userId="72e82339-bab0-442f-8ca6-e6f386a713ee" providerId="ADAL" clId="{9706D415-2DA0-4D00-90B6-E46BF852F024}" dt="2023-03-16T12:49:25.666" v="782" actId="1038"/>
          <ac:spMkLst>
            <pc:docMk/>
            <pc:sldMk cId="2278995086" sldId="729"/>
            <ac:spMk id="2663" creationId="{00000000-0008-0000-0300-000033000000}"/>
          </ac:spMkLst>
        </pc:spChg>
        <pc:spChg chg="mod">
          <ac:chgData name="Schjold, Hanne Røvig" userId="72e82339-bab0-442f-8ca6-e6f386a713ee" providerId="ADAL" clId="{9706D415-2DA0-4D00-90B6-E46BF852F024}" dt="2023-03-16T12:49:25.666" v="782" actId="1038"/>
          <ac:spMkLst>
            <pc:docMk/>
            <pc:sldMk cId="2278995086" sldId="729"/>
            <ac:spMk id="2664" creationId="{00000000-0008-0000-0300-000034000000}"/>
          </ac:spMkLst>
        </pc:spChg>
        <pc:spChg chg="mod">
          <ac:chgData name="Schjold, Hanne Røvig" userId="72e82339-bab0-442f-8ca6-e6f386a713ee" providerId="ADAL" clId="{9706D415-2DA0-4D00-90B6-E46BF852F024}" dt="2023-03-16T12:49:25.666" v="782" actId="1038"/>
          <ac:spMkLst>
            <pc:docMk/>
            <pc:sldMk cId="2278995086" sldId="729"/>
            <ac:spMk id="2665" creationId="{00000000-0008-0000-0300-000035000000}"/>
          </ac:spMkLst>
        </pc:spChg>
        <pc:spChg chg="mod">
          <ac:chgData name="Schjold, Hanne Røvig" userId="72e82339-bab0-442f-8ca6-e6f386a713ee" providerId="ADAL" clId="{9706D415-2DA0-4D00-90B6-E46BF852F024}" dt="2023-03-16T12:49:25.666" v="782" actId="1038"/>
          <ac:spMkLst>
            <pc:docMk/>
            <pc:sldMk cId="2278995086" sldId="729"/>
            <ac:spMk id="2666" creationId="{00000000-0008-0000-0300-000036000000}"/>
          </ac:spMkLst>
        </pc:spChg>
        <pc:spChg chg="mod">
          <ac:chgData name="Schjold, Hanne Røvig" userId="72e82339-bab0-442f-8ca6-e6f386a713ee" providerId="ADAL" clId="{9706D415-2DA0-4D00-90B6-E46BF852F024}" dt="2023-03-16T12:49:25.666" v="782" actId="1038"/>
          <ac:spMkLst>
            <pc:docMk/>
            <pc:sldMk cId="2278995086" sldId="729"/>
            <ac:spMk id="2667" creationId="{00000000-0008-0000-0300-000037000000}"/>
          </ac:spMkLst>
        </pc:spChg>
        <pc:spChg chg="mod">
          <ac:chgData name="Schjold, Hanne Røvig" userId="72e82339-bab0-442f-8ca6-e6f386a713ee" providerId="ADAL" clId="{9706D415-2DA0-4D00-90B6-E46BF852F024}" dt="2023-03-16T12:49:25.666" v="782" actId="1038"/>
          <ac:spMkLst>
            <pc:docMk/>
            <pc:sldMk cId="2278995086" sldId="729"/>
            <ac:spMk id="2668" creationId="{00000000-0008-0000-0300-000038000000}"/>
          </ac:spMkLst>
        </pc:spChg>
        <pc:spChg chg="mod">
          <ac:chgData name="Schjold, Hanne Røvig" userId="72e82339-bab0-442f-8ca6-e6f386a713ee" providerId="ADAL" clId="{9706D415-2DA0-4D00-90B6-E46BF852F024}" dt="2023-03-16T12:49:25.666" v="782" actId="1038"/>
          <ac:spMkLst>
            <pc:docMk/>
            <pc:sldMk cId="2278995086" sldId="729"/>
            <ac:spMk id="2669" creationId="{00000000-0008-0000-0300-000039000000}"/>
          </ac:spMkLst>
        </pc:spChg>
        <pc:spChg chg="mod">
          <ac:chgData name="Schjold, Hanne Røvig" userId="72e82339-bab0-442f-8ca6-e6f386a713ee" providerId="ADAL" clId="{9706D415-2DA0-4D00-90B6-E46BF852F024}" dt="2023-03-16T12:49:25.666" v="782" actId="1038"/>
          <ac:spMkLst>
            <pc:docMk/>
            <pc:sldMk cId="2278995086" sldId="729"/>
            <ac:spMk id="2670" creationId="{00000000-0008-0000-0300-00003A000000}"/>
          </ac:spMkLst>
        </pc:spChg>
        <pc:spChg chg="mod">
          <ac:chgData name="Schjold, Hanne Røvig" userId="72e82339-bab0-442f-8ca6-e6f386a713ee" providerId="ADAL" clId="{9706D415-2DA0-4D00-90B6-E46BF852F024}" dt="2023-03-16T12:49:25.666" v="782" actId="1038"/>
          <ac:spMkLst>
            <pc:docMk/>
            <pc:sldMk cId="2278995086" sldId="729"/>
            <ac:spMk id="2671" creationId="{00000000-0008-0000-0300-00003B000000}"/>
          </ac:spMkLst>
        </pc:spChg>
        <pc:spChg chg="mod">
          <ac:chgData name="Schjold, Hanne Røvig" userId="72e82339-bab0-442f-8ca6-e6f386a713ee" providerId="ADAL" clId="{9706D415-2DA0-4D00-90B6-E46BF852F024}" dt="2023-03-16T12:49:25.666" v="782" actId="1038"/>
          <ac:spMkLst>
            <pc:docMk/>
            <pc:sldMk cId="2278995086" sldId="729"/>
            <ac:spMk id="2672" creationId="{00000000-0008-0000-0300-00003C000000}"/>
          </ac:spMkLst>
        </pc:spChg>
        <pc:spChg chg="mod">
          <ac:chgData name="Schjold, Hanne Røvig" userId="72e82339-bab0-442f-8ca6-e6f386a713ee" providerId="ADAL" clId="{9706D415-2DA0-4D00-90B6-E46BF852F024}" dt="2023-03-16T12:49:25.666" v="782" actId="1038"/>
          <ac:spMkLst>
            <pc:docMk/>
            <pc:sldMk cId="2278995086" sldId="729"/>
            <ac:spMk id="2673" creationId="{00000000-0008-0000-0300-00003D000000}"/>
          </ac:spMkLst>
        </pc:spChg>
        <pc:spChg chg="mod">
          <ac:chgData name="Schjold, Hanne Røvig" userId="72e82339-bab0-442f-8ca6-e6f386a713ee" providerId="ADAL" clId="{9706D415-2DA0-4D00-90B6-E46BF852F024}" dt="2023-03-16T12:49:25.666" v="782" actId="1038"/>
          <ac:spMkLst>
            <pc:docMk/>
            <pc:sldMk cId="2278995086" sldId="729"/>
            <ac:spMk id="2674" creationId="{00000000-0008-0000-0300-00003E000000}"/>
          </ac:spMkLst>
        </pc:spChg>
        <pc:spChg chg="mod">
          <ac:chgData name="Schjold, Hanne Røvig" userId="72e82339-bab0-442f-8ca6-e6f386a713ee" providerId="ADAL" clId="{9706D415-2DA0-4D00-90B6-E46BF852F024}" dt="2023-03-16T12:49:25.666" v="782" actId="1038"/>
          <ac:spMkLst>
            <pc:docMk/>
            <pc:sldMk cId="2278995086" sldId="729"/>
            <ac:spMk id="2675" creationId="{00000000-0008-0000-0300-00003F000000}"/>
          </ac:spMkLst>
        </pc:spChg>
        <pc:spChg chg="mod">
          <ac:chgData name="Schjold, Hanne Røvig" userId="72e82339-bab0-442f-8ca6-e6f386a713ee" providerId="ADAL" clId="{9706D415-2DA0-4D00-90B6-E46BF852F024}" dt="2023-03-16T12:49:25.666" v="782" actId="1038"/>
          <ac:spMkLst>
            <pc:docMk/>
            <pc:sldMk cId="2278995086" sldId="729"/>
            <ac:spMk id="2676" creationId="{00000000-0008-0000-0300-000040000000}"/>
          </ac:spMkLst>
        </pc:spChg>
        <pc:spChg chg="mod">
          <ac:chgData name="Schjold, Hanne Røvig" userId="72e82339-bab0-442f-8ca6-e6f386a713ee" providerId="ADAL" clId="{9706D415-2DA0-4D00-90B6-E46BF852F024}" dt="2023-03-16T12:49:25.666" v="782" actId="1038"/>
          <ac:spMkLst>
            <pc:docMk/>
            <pc:sldMk cId="2278995086" sldId="729"/>
            <ac:spMk id="2677" creationId="{00000000-0008-0000-0300-000041000000}"/>
          </ac:spMkLst>
        </pc:spChg>
        <pc:spChg chg="mod">
          <ac:chgData name="Schjold, Hanne Røvig" userId="72e82339-bab0-442f-8ca6-e6f386a713ee" providerId="ADAL" clId="{9706D415-2DA0-4D00-90B6-E46BF852F024}" dt="2023-03-16T12:49:25.666" v="782" actId="1038"/>
          <ac:spMkLst>
            <pc:docMk/>
            <pc:sldMk cId="2278995086" sldId="729"/>
            <ac:spMk id="2678" creationId="{00000000-0008-0000-0300-000042000000}"/>
          </ac:spMkLst>
        </pc:spChg>
        <pc:spChg chg="mod">
          <ac:chgData name="Schjold, Hanne Røvig" userId="72e82339-bab0-442f-8ca6-e6f386a713ee" providerId="ADAL" clId="{9706D415-2DA0-4D00-90B6-E46BF852F024}" dt="2023-03-16T12:49:25.666" v="782" actId="1038"/>
          <ac:spMkLst>
            <pc:docMk/>
            <pc:sldMk cId="2278995086" sldId="729"/>
            <ac:spMk id="2679" creationId="{00000000-0008-0000-0300-000043000000}"/>
          </ac:spMkLst>
        </pc:spChg>
        <pc:spChg chg="mod">
          <ac:chgData name="Schjold, Hanne Røvig" userId="72e82339-bab0-442f-8ca6-e6f386a713ee" providerId="ADAL" clId="{9706D415-2DA0-4D00-90B6-E46BF852F024}" dt="2023-03-16T12:49:25.666" v="782" actId="1038"/>
          <ac:spMkLst>
            <pc:docMk/>
            <pc:sldMk cId="2278995086" sldId="729"/>
            <ac:spMk id="2680" creationId="{00000000-0008-0000-0300-000044000000}"/>
          </ac:spMkLst>
        </pc:spChg>
        <pc:spChg chg="mod">
          <ac:chgData name="Schjold, Hanne Røvig" userId="72e82339-bab0-442f-8ca6-e6f386a713ee" providerId="ADAL" clId="{9706D415-2DA0-4D00-90B6-E46BF852F024}" dt="2023-03-16T12:49:25.666" v="782" actId="1038"/>
          <ac:spMkLst>
            <pc:docMk/>
            <pc:sldMk cId="2278995086" sldId="729"/>
            <ac:spMk id="2681" creationId="{00000000-0008-0000-0300-000045000000}"/>
          </ac:spMkLst>
        </pc:spChg>
        <pc:spChg chg="mod">
          <ac:chgData name="Schjold, Hanne Røvig" userId="72e82339-bab0-442f-8ca6-e6f386a713ee" providerId="ADAL" clId="{9706D415-2DA0-4D00-90B6-E46BF852F024}" dt="2023-03-16T12:49:25.666" v="782" actId="1038"/>
          <ac:spMkLst>
            <pc:docMk/>
            <pc:sldMk cId="2278995086" sldId="729"/>
            <ac:spMk id="2682" creationId="{00000000-0008-0000-0300-000046000000}"/>
          </ac:spMkLst>
        </pc:spChg>
        <pc:spChg chg="mod">
          <ac:chgData name="Schjold, Hanne Røvig" userId="72e82339-bab0-442f-8ca6-e6f386a713ee" providerId="ADAL" clId="{9706D415-2DA0-4D00-90B6-E46BF852F024}" dt="2023-03-16T12:49:25.666" v="782" actId="1038"/>
          <ac:spMkLst>
            <pc:docMk/>
            <pc:sldMk cId="2278995086" sldId="729"/>
            <ac:spMk id="2683" creationId="{00000000-0008-0000-0300-000047000000}"/>
          </ac:spMkLst>
        </pc:spChg>
        <pc:spChg chg="mod">
          <ac:chgData name="Schjold, Hanne Røvig" userId="72e82339-bab0-442f-8ca6-e6f386a713ee" providerId="ADAL" clId="{9706D415-2DA0-4D00-90B6-E46BF852F024}" dt="2023-03-16T12:49:25.666" v="782" actId="1038"/>
          <ac:spMkLst>
            <pc:docMk/>
            <pc:sldMk cId="2278995086" sldId="729"/>
            <ac:spMk id="2684" creationId="{00000000-0008-0000-0300-000048000000}"/>
          </ac:spMkLst>
        </pc:spChg>
        <pc:spChg chg="mod">
          <ac:chgData name="Schjold, Hanne Røvig" userId="72e82339-bab0-442f-8ca6-e6f386a713ee" providerId="ADAL" clId="{9706D415-2DA0-4D00-90B6-E46BF852F024}" dt="2023-03-16T12:49:25.666" v="782" actId="1038"/>
          <ac:spMkLst>
            <pc:docMk/>
            <pc:sldMk cId="2278995086" sldId="729"/>
            <ac:spMk id="2685" creationId="{00000000-0008-0000-0300-000049000000}"/>
          </ac:spMkLst>
        </pc:spChg>
        <pc:spChg chg="mod">
          <ac:chgData name="Schjold, Hanne Røvig" userId="72e82339-bab0-442f-8ca6-e6f386a713ee" providerId="ADAL" clId="{9706D415-2DA0-4D00-90B6-E46BF852F024}" dt="2023-03-16T12:49:25.666" v="782" actId="1038"/>
          <ac:spMkLst>
            <pc:docMk/>
            <pc:sldMk cId="2278995086" sldId="729"/>
            <ac:spMk id="2686" creationId="{00000000-0008-0000-0300-00004A000000}"/>
          </ac:spMkLst>
        </pc:spChg>
        <pc:spChg chg="mod">
          <ac:chgData name="Schjold, Hanne Røvig" userId="72e82339-bab0-442f-8ca6-e6f386a713ee" providerId="ADAL" clId="{9706D415-2DA0-4D00-90B6-E46BF852F024}" dt="2023-03-16T12:49:25.666" v="782" actId="1038"/>
          <ac:spMkLst>
            <pc:docMk/>
            <pc:sldMk cId="2278995086" sldId="729"/>
            <ac:spMk id="2687" creationId="{00000000-0008-0000-0300-00004B000000}"/>
          </ac:spMkLst>
        </pc:spChg>
        <pc:spChg chg="mod">
          <ac:chgData name="Schjold, Hanne Røvig" userId="72e82339-bab0-442f-8ca6-e6f386a713ee" providerId="ADAL" clId="{9706D415-2DA0-4D00-90B6-E46BF852F024}" dt="2023-03-16T12:49:25.666" v="782" actId="1038"/>
          <ac:spMkLst>
            <pc:docMk/>
            <pc:sldMk cId="2278995086" sldId="729"/>
            <ac:spMk id="2688" creationId="{00000000-0008-0000-0300-00004C000000}"/>
          </ac:spMkLst>
        </pc:spChg>
        <pc:spChg chg="mod">
          <ac:chgData name="Schjold, Hanne Røvig" userId="72e82339-bab0-442f-8ca6-e6f386a713ee" providerId="ADAL" clId="{9706D415-2DA0-4D00-90B6-E46BF852F024}" dt="2023-03-16T12:49:25.666" v="782" actId="1038"/>
          <ac:spMkLst>
            <pc:docMk/>
            <pc:sldMk cId="2278995086" sldId="729"/>
            <ac:spMk id="2689" creationId="{00000000-0008-0000-0300-00004D000000}"/>
          </ac:spMkLst>
        </pc:spChg>
        <pc:spChg chg="mod">
          <ac:chgData name="Schjold, Hanne Røvig" userId="72e82339-bab0-442f-8ca6-e6f386a713ee" providerId="ADAL" clId="{9706D415-2DA0-4D00-90B6-E46BF852F024}" dt="2023-03-16T12:49:25.666" v="782" actId="1038"/>
          <ac:spMkLst>
            <pc:docMk/>
            <pc:sldMk cId="2278995086" sldId="729"/>
            <ac:spMk id="2690" creationId="{00000000-0008-0000-0300-00004E000000}"/>
          </ac:spMkLst>
        </pc:spChg>
        <pc:spChg chg="mod">
          <ac:chgData name="Schjold, Hanne Røvig" userId="72e82339-bab0-442f-8ca6-e6f386a713ee" providerId="ADAL" clId="{9706D415-2DA0-4D00-90B6-E46BF852F024}" dt="2023-03-16T12:49:25.666" v="782" actId="1038"/>
          <ac:spMkLst>
            <pc:docMk/>
            <pc:sldMk cId="2278995086" sldId="729"/>
            <ac:spMk id="2691" creationId="{00000000-0008-0000-0300-00004F000000}"/>
          </ac:spMkLst>
        </pc:spChg>
        <pc:spChg chg="mod">
          <ac:chgData name="Schjold, Hanne Røvig" userId="72e82339-bab0-442f-8ca6-e6f386a713ee" providerId="ADAL" clId="{9706D415-2DA0-4D00-90B6-E46BF852F024}" dt="2023-03-16T12:49:25.666" v="782" actId="1038"/>
          <ac:spMkLst>
            <pc:docMk/>
            <pc:sldMk cId="2278995086" sldId="729"/>
            <ac:spMk id="2692" creationId="{00000000-0008-0000-0300-000050000000}"/>
          </ac:spMkLst>
        </pc:spChg>
        <pc:spChg chg="mod">
          <ac:chgData name="Schjold, Hanne Røvig" userId="72e82339-bab0-442f-8ca6-e6f386a713ee" providerId="ADAL" clId="{9706D415-2DA0-4D00-90B6-E46BF852F024}" dt="2023-03-16T12:49:25.666" v="782" actId="1038"/>
          <ac:spMkLst>
            <pc:docMk/>
            <pc:sldMk cId="2278995086" sldId="729"/>
            <ac:spMk id="2693" creationId="{00000000-0008-0000-0300-000051000000}"/>
          </ac:spMkLst>
        </pc:spChg>
        <pc:spChg chg="mod">
          <ac:chgData name="Schjold, Hanne Røvig" userId="72e82339-bab0-442f-8ca6-e6f386a713ee" providerId="ADAL" clId="{9706D415-2DA0-4D00-90B6-E46BF852F024}" dt="2023-03-16T12:49:25.666" v="782" actId="1038"/>
          <ac:spMkLst>
            <pc:docMk/>
            <pc:sldMk cId="2278995086" sldId="729"/>
            <ac:spMk id="2694" creationId="{00000000-0008-0000-0300-000052000000}"/>
          </ac:spMkLst>
        </pc:spChg>
        <pc:spChg chg="mod">
          <ac:chgData name="Schjold, Hanne Røvig" userId="72e82339-bab0-442f-8ca6-e6f386a713ee" providerId="ADAL" clId="{9706D415-2DA0-4D00-90B6-E46BF852F024}" dt="2023-03-16T12:49:25.666" v="782" actId="1038"/>
          <ac:spMkLst>
            <pc:docMk/>
            <pc:sldMk cId="2278995086" sldId="729"/>
            <ac:spMk id="2695" creationId="{00000000-0008-0000-0300-000053000000}"/>
          </ac:spMkLst>
        </pc:spChg>
        <pc:spChg chg="mod">
          <ac:chgData name="Schjold, Hanne Røvig" userId="72e82339-bab0-442f-8ca6-e6f386a713ee" providerId="ADAL" clId="{9706D415-2DA0-4D00-90B6-E46BF852F024}" dt="2023-03-16T12:49:25.666" v="782" actId="1038"/>
          <ac:spMkLst>
            <pc:docMk/>
            <pc:sldMk cId="2278995086" sldId="729"/>
            <ac:spMk id="2696" creationId="{00000000-0008-0000-0300-000054000000}"/>
          </ac:spMkLst>
        </pc:spChg>
        <pc:spChg chg="mod">
          <ac:chgData name="Schjold, Hanne Røvig" userId="72e82339-bab0-442f-8ca6-e6f386a713ee" providerId="ADAL" clId="{9706D415-2DA0-4D00-90B6-E46BF852F024}" dt="2023-03-16T12:49:25.666" v="782" actId="1038"/>
          <ac:spMkLst>
            <pc:docMk/>
            <pc:sldMk cId="2278995086" sldId="729"/>
            <ac:spMk id="2697" creationId="{00000000-0008-0000-0300-000055000000}"/>
          </ac:spMkLst>
        </pc:spChg>
        <pc:spChg chg="mod">
          <ac:chgData name="Schjold, Hanne Røvig" userId="72e82339-bab0-442f-8ca6-e6f386a713ee" providerId="ADAL" clId="{9706D415-2DA0-4D00-90B6-E46BF852F024}" dt="2023-03-16T12:49:25.666" v="782" actId="1038"/>
          <ac:spMkLst>
            <pc:docMk/>
            <pc:sldMk cId="2278995086" sldId="729"/>
            <ac:spMk id="2698" creationId="{00000000-0008-0000-0300-000056000000}"/>
          </ac:spMkLst>
        </pc:spChg>
        <pc:spChg chg="mod">
          <ac:chgData name="Schjold, Hanne Røvig" userId="72e82339-bab0-442f-8ca6-e6f386a713ee" providerId="ADAL" clId="{9706D415-2DA0-4D00-90B6-E46BF852F024}" dt="2023-03-16T12:49:25.666" v="782" actId="1038"/>
          <ac:spMkLst>
            <pc:docMk/>
            <pc:sldMk cId="2278995086" sldId="729"/>
            <ac:spMk id="2699" creationId="{00000000-0008-0000-0300-000057000000}"/>
          </ac:spMkLst>
        </pc:spChg>
        <pc:spChg chg="mod">
          <ac:chgData name="Schjold, Hanne Røvig" userId="72e82339-bab0-442f-8ca6-e6f386a713ee" providerId="ADAL" clId="{9706D415-2DA0-4D00-90B6-E46BF852F024}" dt="2023-03-16T12:49:25.666" v="782" actId="1038"/>
          <ac:spMkLst>
            <pc:docMk/>
            <pc:sldMk cId="2278995086" sldId="729"/>
            <ac:spMk id="2700" creationId="{00000000-0008-0000-0300-000058000000}"/>
          </ac:spMkLst>
        </pc:spChg>
        <pc:spChg chg="mod">
          <ac:chgData name="Schjold, Hanne Røvig" userId="72e82339-bab0-442f-8ca6-e6f386a713ee" providerId="ADAL" clId="{9706D415-2DA0-4D00-90B6-E46BF852F024}" dt="2023-03-16T12:49:25.666" v="782" actId="1038"/>
          <ac:spMkLst>
            <pc:docMk/>
            <pc:sldMk cId="2278995086" sldId="729"/>
            <ac:spMk id="2701" creationId="{00000000-0008-0000-0300-000059000000}"/>
          </ac:spMkLst>
        </pc:spChg>
        <pc:spChg chg="mod">
          <ac:chgData name="Schjold, Hanne Røvig" userId="72e82339-bab0-442f-8ca6-e6f386a713ee" providerId="ADAL" clId="{9706D415-2DA0-4D00-90B6-E46BF852F024}" dt="2023-03-16T12:49:25.666" v="782" actId="1038"/>
          <ac:spMkLst>
            <pc:docMk/>
            <pc:sldMk cId="2278995086" sldId="729"/>
            <ac:spMk id="2702" creationId="{00000000-0008-0000-0300-00005A000000}"/>
          </ac:spMkLst>
        </pc:spChg>
        <pc:spChg chg="mod">
          <ac:chgData name="Schjold, Hanne Røvig" userId="72e82339-bab0-442f-8ca6-e6f386a713ee" providerId="ADAL" clId="{9706D415-2DA0-4D00-90B6-E46BF852F024}" dt="2023-03-16T12:49:25.666" v="782" actId="1038"/>
          <ac:spMkLst>
            <pc:docMk/>
            <pc:sldMk cId="2278995086" sldId="729"/>
            <ac:spMk id="2703" creationId="{00000000-0008-0000-0300-00005B000000}"/>
          </ac:spMkLst>
        </pc:spChg>
        <pc:spChg chg="mod">
          <ac:chgData name="Schjold, Hanne Røvig" userId="72e82339-bab0-442f-8ca6-e6f386a713ee" providerId="ADAL" clId="{9706D415-2DA0-4D00-90B6-E46BF852F024}" dt="2023-03-16T12:49:25.666" v="782" actId="1038"/>
          <ac:spMkLst>
            <pc:docMk/>
            <pc:sldMk cId="2278995086" sldId="729"/>
            <ac:spMk id="2704" creationId="{00000000-0008-0000-0300-00005C000000}"/>
          </ac:spMkLst>
        </pc:spChg>
        <pc:spChg chg="mod">
          <ac:chgData name="Schjold, Hanne Røvig" userId="72e82339-bab0-442f-8ca6-e6f386a713ee" providerId="ADAL" clId="{9706D415-2DA0-4D00-90B6-E46BF852F024}" dt="2023-03-16T12:49:25.666" v="782" actId="1038"/>
          <ac:spMkLst>
            <pc:docMk/>
            <pc:sldMk cId="2278995086" sldId="729"/>
            <ac:spMk id="2705" creationId="{00000000-0008-0000-0300-00005D000000}"/>
          </ac:spMkLst>
        </pc:spChg>
        <pc:spChg chg="mod">
          <ac:chgData name="Schjold, Hanne Røvig" userId="72e82339-bab0-442f-8ca6-e6f386a713ee" providerId="ADAL" clId="{9706D415-2DA0-4D00-90B6-E46BF852F024}" dt="2023-03-16T12:49:25.666" v="782" actId="1038"/>
          <ac:spMkLst>
            <pc:docMk/>
            <pc:sldMk cId="2278995086" sldId="729"/>
            <ac:spMk id="2706" creationId="{00000000-0008-0000-0300-00005E000000}"/>
          </ac:spMkLst>
        </pc:spChg>
        <pc:spChg chg="mod">
          <ac:chgData name="Schjold, Hanne Røvig" userId="72e82339-bab0-442f-8ca6-e6f386a713ee" providerId="ADAL" clId="{9706D415-2DA0-4D00-90B6-E46BF852F024}" dt="2023-03-16T12:49:25.666" v="782" actId="1038"/>
          <ac:spMkLst>
            <pc:docMk/>
            <pc:sldMk cId="2278995086" sldId="729"/>
            <ac:spMk id="2707" creationId="{00000000-0008-0000-0300-00005F000000}"/>
          </ac:spMkLst>
        </pc:spChg>
        <pc:spChg chg="mod">
          <ac:chgData name="Schjold, Hanne Røvig" userId="72e82339-bab0-442f-8ca6-e6f386a713ee" providerId="ADAL" clId="{9706D415-2DA0-4D00-90B6-E46BF852F024}" dt="2023-03-16T12:49:25.666" v="782" actId="1038"/>
          <ac:spMkLst>
            <pc:docMk/>
            <pc:sldMk cId="2278995086" sldId="729"/>
            <ac:spMk id="2708" creationId="{00000000-0008-0000-0300-000060000000}"/>
          </ac:spMkLst>
        </pc:spChg>
        <pc:spChg chg="mod">
          <ac:chgData name="Schjold, Hanne Røvig" userId="72e82339-bab0-442f-8ca6-e6f386a713ee" providerId="ADAL" clId="{9706D415-2DA0-4D00-90B6-E46BF852F024}" dt="2023-03-16T12:49:25.666" v="782" actId="1038"/>
          <ac:spMkLst>
            <pc:docMk/>
            <pc:sldMk cId="2278995086" sldId="729"/>
            <ac:spMk id="2709" creationId="{00000000-0008-0000-0300-000061000000}"/>
          </ac:spMkLst>
        </pc:spChg>
        <pc:spChg chg="mod">
          <ac:chgData name="Schjold, Hanne Røvig" userId="72e82339-bab0-442f-8ca6-e6f386a713ee" providerId="ADAL" clId="{9706D415-2DA0-4D00-90B6-E46BF852F024}" dt="2023-03-16T12:49:25.666" v="782" actId="1038"/>
          <ac:spMkLst>
            <pc:docMk/>
            <pc:sldMk cId="2278995086" sldId="729"/>
            <ac:spMk id="2710" creationId="{00000000-0008-0000-0300-000062000000}"/>
          </ac:spMkLst>
        </pc:spChg>
        <pc:spChg chg="mod">
          <ac:chgData name="Schjold, Hanne Røvig" userId="72e82339-bab0-442f-8ca6-e6f386a713ee" providerId="ADAL" clId="{9706D415-2DA0-4D00-90B6-E46BF852F024}" dt="2023-03-16T12:49:25.666" v="782" actId="1038"/>
          <ac:spMkLst>
            <pc:docMk/>
            <pc:sldMk cId="2278995086" sldId="729"/>
            <ac:spMk id="2711" creationId="{00000000-0008-0000-0300-000063000000}"/>
          </ac:spMkLst>
        </pc:spChg>
        <pc:spChg chg="mod">
          <ac:chgData name="Schjold, Hanne Røvig" userId="72e82339-bab0-442f-8ca6-e6f386a713ee" providerId="ADAL" clId="{9706D415-2DA0-4D00-90B6-E46BF852F024}" dt="2023-03-16T12:49:25.666" v="782" actId="1038"/>
          <ac:spMkLst>
            <pc:docMk/>
            <pc:sldMk cId="2278995086" sldId="729"/>
            <ac:spMk id="2712" creationId="{00000000-0008-0000-0300-000064000000}"/>
          </ac:spMkLst>
        </pc:spChg>
        <pc:spChg chg="mod">
          <ac:chgData name="Schjold, Hanne Røvig" userId="72e82339-bab0-442f-8ca6-e6f386a713ee" providerId="ADAL" clId="{9706D415-2DA0-4D00-90B6-E46BF852F024}" dt="2023-03-16T12:49:25.666" v="782" actId="1038"/>
          <ac:spMkLst>
            <pc:docMk/>
            <pc:sldMk cId="2278995086" sldId="729"/>
            <ac:spMk id="2713" creationId="{00000000-0008-0000-0300-000065000000}"/>
          </ac:spMkLst>
        </pc:spChg>
        <pc:spChg chg="mod">
          <ac:chgData name="Schjold, Hanne Røvig" userId="72e82339-bab0-442f-8ca6-e6f386a713ee" providerId="ADAL" clId="{9706D415-2DA0-4D00-90B6-E46BF852F024}" dt="2023-03-16T12:49:25.666" v="782" actId="1038"/>
          <ac:spMkLst>
            <pc:docMk/>
            <pc:sldMk cId="2278995086" sldId="729"/>
            <ac:spMk id="2714" creationId="{00000000-0008-0000-0300-000066000000}"/>
          </ac:spMkLst>
        </pc:spChg>
        <pc:spChg chg="mod">
          <ac:chgData name="Schjold, Hanne Røvig" userId="72e82339-bab0-442f-8ca6-e6f386a713ee" providerId="ADAL" clId="{9706D415-2DA0-4D00-90B6-E46BF852F024}" dt="2023-03-16T12:49:25.666" v="782" actId="1038"/>
          <ac:spMkLst>
            <pc:docMk/>
            <pc:sldMk cId="2278995086" sldId="729"/>
            <ac:spMk id="2715" creationId="{00000000-0008-0000-0300-000067000000}"/>
          </ac:spMkLst>
        </pc:spChg>
        <pc:spChg chg="mod">
          <ac:chgData name="Schjold, Hanne Røvig" userId="72e82339-bab0-442f-8ca6-e6f386a713ee" providerId="ADAL" clId="{9706D415-2DA0-4D00-90B6-E46BF852F024}" dt="2023-03-16T12:49:25.666" v="782" actId="1038"/>
          <ac:spMkLst>
            <pc:docMk/>
            <pc:sldMk cId="2278995086" sldId="729"/>
            <ac:spMk id="2716" creationId="{00000000-0008-0000-0300-000068000000}"/>
          </ac:spMkLst>
        </pc:spChg>
        <pc:spChg chg="mod">
          <ac:chgData name="Schjold, Hanne Røvig" userId="72e82339-bab0-442f-8ca6-e6f386a713ee" providerId="ADAL" clId="{9706D415-2DA0-4D00-90B6-E46BF852F024}" dt="2023-03-16T12:49:25.666" v="782" actId="1038"/>
          <ac:spMkLst>
            <pc:docMk/>
            <pc:sldMk cId="2278995086" sldId="729"/>
            <ac:spMk id="2717" creationId="{00000000-0008-0000-0300-000069000000}"/>
          </ac:spMkLst>
        </pc:spChg>
        <pc:spChg chg="mod">
          <ac:chgData name="Schjold, Hanne Røvig" userId="72e82339-bab0-442f-8ca6-e6f386a713ee" providerId="ADAL" clId="{9706D415-2DA0-4D00-90B6-E46BF852F024}" dt="2023-03-16T12:49:25.666" v="782" actId="1038"/>
          <ac:spMkLst>
            <pc:docMk/>
            <pc:sldMk cId="2278995086" sldId="729"/>
            <ac:spMk id="2718" creationId="{00000000-0008-0000-0300-00006A000000}"/>
          </ac:spMkLst>
        </pc:spChg>
        <pc:spChg chg="mod">
          <ac:chgData name="Schjold, Hanne Røvig" userId="72e82339-bab0-442f-8ca6-e6f386a713ee" providerId="ADAL" clId="{9706D415-2DA0-4D00-90B6-E46BF852F024}" dt="2023-03-16T12:49:25.666" v="782" actId="1038"/>
          <ac:spMkLst>
            <pc:docMk/>
            <pc:sldMk cId="2278995086" sldId="729"/>
            <ac:spMk id="2719" creationId="{00000000-0008-0000-0300-00006B000000}"/>
          </ac:spMkLst>
        </pc:spChg>
        <pc:spChg chg="mod">
          <ac:chgData name="Schjold, Hanne Røvig" userId="72e82339-bab0-442f-8ca6-e6f386a713ee" providerId="ADAL" clId="{9706D415-2DA0-4D00-90B6-E46BF852F024}" dt="2023-03-16T12:49:25.666" v="782" actId="1038"/>
          <ac:spMkLst>
            <pc:docMk/>
            <pc:sldMk cId="2278995086" sldId="729"/>
            <ac:spMk id="2720" creationId="{00000000-0008-0000-0300-00006C000000}"/>
          </ac:spMkLst>
        </pc:spChg>
        <pc:spChg chg="mod">
          <ac:chgData name="Schjold, Hanne Røvig" userId="72e82339-bab0-442f-8ca6-e6f386a713ee" providerId="ADAL" clId="{9706D415-2DA0-4D00-90B6-E46BF852F024}" dt="2023-03-16T12:49:25.666" v="782" actId="1038"/>
          <ac:spMkLst>
            <pc:docMk/>
            <pc:sldMk cId="2278995086" sldId="729"/>
            <ac:spMk id="2721" creationId="{00000000-0008-0000-0300-00006D000000}"/>
          </ac:spMkLst>
        </pc:spChg>
        <pc:spChg chg="mod">
          <ac:chgData name="Schjold, Hanne Røvig" userId="72e82339-bab0-442f-8ca6-e6f386a713ee" providerId="ADAL" clId="{9706D415-2DA0-4D00-90B6-E46BF852F024}" dt="2023-03-16T12:49:25.666" v="782" actId="1038"/>
          <ac:spMkLst>
            <pc:docMk/>
            <pc:sldMk cId="2278995086" sldId="729"/>
            <ac:spMk id="2722" creationId="{00000000-0008-0000-0300-00006E000000}"/>
          </ac:spMkLst>
        </pc:spChg>
        <pc:spChg chg="mod">
          <ac:chgData name="Schjold, Hanne Røvig" userId="72e82339-bab0-442f-8ca6-e6f386a713ee" providerId="ADAL" clId="{9706D415-2DA0-4D00-90B6-E46BF852F024}" dt="2023-03-16T12:49:25.666" v="782" actId="1038"/>
          <ac:spMkLst>
            <pc:docMk/>
            <pc:sldMk cId="2278995086" sldId="729"/>
            <ac:spMk id="2723" creationId="{00000000-0008-0000-0300-00006F000000}"/>
          </ac:spMkLst>
        </pc:spChg>
        <pc:spChg chg="mod">
          <ac:chgData name="Schjold, Hanne Røvig" userId="72e82339-bab0-442f-8ca6-e6f386a713ee" providerId="ADAL" clId="{9706D415-2DA0-4D00-90B6-E46BF852F024}" dt="2023-03-16T12:49:25.666" v="782" actId="1038"/>
          <ac:spMkLst>
            <pc:docMk/>
            <pc:sldMk cId="2278995086" sldId="729"/>
            <ac:spMk id="2724" creationId="{00000000-0008-0000-0300-000070000000}"/>
          </ac:spMkLst>
        </pc:spChg>
        <pc:spChg chg="mod">
          <ac:chgData name="Schjold, Hanne Røvig" userId="72e82339-bab0-442f-8ca6-e6f386a713ee" providerId="ADAL" clId="{9706D415-2DA0-4D00-90B6-E46BF852F024}" dt="2023-03-16T12:49:25.666" v="782" actId="1038"/>
          <ac:spMkLst>
            <pc:docMk/>
            <pc:sldMk cId="2278995086" sldId="729"/>
            <ac:spMk id="2725" creationId="{00000000-0008-0000-0300-000071000000}"/>
          </ac:spMkLst>
        </pc:spChg>
        <pc:spChg chg="mod">
          <ac:chgData name="Schjold, Hanne Røvig" userId="72e82339-bab0-442f-8ca6-e6f386a713ee" providerId="ADAL" clId="{9706D415-2DA0-4D00-90B6-E46BF852F024}" dt="2023-03-16T12:49:25.666" v="782" actId="1038"/>
          <ac:spMkLst>
            <pc:docMk/>
            <pc:sldMk cId="2278995086" sldId="729"/>
            <ac:spMk id="2726" creationId="{00000000-0008-0000-0300-000072000000}"/>
          </ac:spMkLst>
        </pc:spChg>
        <pc:spChg chg="mod">
          <ac:chgData name="Schjold, Hanne Røvig" userId="72e82339-bab0-442f-8ca6-e6f386a713ee" providerId="ADAL" clId="{9706D415-2DA0-4D00-90B6-E46BF852F024}" dt="2023-03-16T12:49:25.666" v="782" actId="1038"/>
          <ac:spMkLst>
            <pc:docMk/>
            <pc:sldMk cId="2278995086" sldId="729"/>
            <ac:spMk id="2727" creationId="{00000000-0008-0000-0300-000073000000}"/>
          </ac:spMkLst>
        </pc:spChg>
        <pc:spChg chg="mod">
          <ac:chgData name="Schjold, Hanne Røvig" userId="72e82339-bab0-442f-8ca6-e6f386a713ee" providerId="ADAL" clId="{9706D415-2DA0-4D00-90B6-E46BF852F024}" dt="2023-03-16T12:49:25.666" v="782" actId="1038"/>
          <ac:spMkLst>
            <pc:docMk/>
            <pc:sldMk cId="2278995086" sldId="729"/>
            <ac:spMk id="2728" creationId="{00000000-0008-0000-0300-000074000000}"/>
          </ac:spMkLst>
        </pc:spChg>
        <pc:spChg chg="mod">
          <ac:chgData name="Schjold, Hanne Røvig" userId="72e82339-bab0-442f-8ca6-e6f386a713ee" providerId="ADAL" clId="{9706D415-2DA0-4D00-90B6-E46BF852F024}" dt="2023-03-16T12:49:25.666" v="782" actId="1038"/>
          <ac:spMkLst>
            <pc:docMk/>
            <pc:sldMk cId="2278995086" sldId="729"/>
            <ac:spMk id="2729" creationId="{00000000-0008-0000-0300-000075000000}"/>
          </ac:spMkLst>
        </pc:spChg>
        <pc:spChg chg="mod">
          <ac:chgData name="Schjold, Hanne Røvig" userId="72e82339-bab0-442f-8ca6-e6f386a713ee" providerId="ADAL" clId="{9706D415-2DA0-4D00-90B6-E46BF852F024}" dt="2023-03-16T12:49:25.666" v="782" actId="1038"/>
          <ac:spMkLst>
            <pc:docMk/>
            <pc:sldMk cId="2278995086" sldId="729"/>
            <ac:spMk id="2730" creationId="{00000000-0008-0000-0300-000076000000}"/>
          </ac:spMkLst>
        </pc:spChg>
        <pc:spChg chg="mod">
          <ac:chgData name="Schjold, Hanne Røvig" userId="72e82339-bab0-442f-8ca6-e6f386a713ee" providerId="ADAL" clId="{9706D415-2DA0-4D00-90B6-E46BF852F024}" dt="2023-03-16T12:49:25.666" v="782" actId="1038"/>
          <ac:spMkLst>
            <pc:docMk/>
            <pc:sldMk cId="2278995086" sldId="729"/>
            <ac:spMk id="2731" creationId="{00000000-0008-0000-0300-000077000000}"/>
          </ac:spMkLst>
        </pc:spChg>
        <pc:spChg chg="mod">
          <ac:chgData name="Schjold, Hanne Røvig" userId="72e82339-bab0-442f-8ca6-e6f386a713ee" providerId="ADAL" clId="{9706D415-2DA0-4D00-90B6-E46BF852F024}" dt="2023-03-16T12:49:25.666" v="782" actId="1038"/>
          <ac:spMkLst>
            <pc:docMk/>
            <pc:sldMk cId="2278995086" sldId="729"/>
            <ac:spMk id="2732" creationId="{00000000-0008-0000-0300-000078000000}"/>
          </ac:spMkLst>
        </pc:spChg>
        <pc:spChg chg="mod">
          <ac:chgData name="Schjold, Hanne Røvig" userId="72e82339-bab0-442f-8ca6-e6f386a713ee" providerId="ADAL" clId="{9706D415-2DA0-4D00-90B6-E46BF852F024}" dt="2023-03-16T12:49:25.666" v="782" actId="1038"/>
          <ac:spMkLst>
            <pc:docMk/>
            <pc:sldMk cId="2278995086" sldId="729"/>
            <ac:spMk id="2733" creationId="{00000000-0008-0000-0300-000079000000}"/>
          </ac:spMkLst>
        </pc:spChg>
        <pc:spChg chg="mod">
          <ac:chgData name="Schjold, Hanne Røvig" userId="72e82339-bab0-442f-8ca6-e6f386a713ee" providerId="ADAL" clId="{9706D415-2DA0-4D00-90B6-E46BF852F024}" dt="2023-03-16T12:49:25.666" v="782" actId="1038"/>
          <ac:spMkLst>
            <pc:docMk/>
            <pc:sldMk cId="2278995086" sldId="729"/>
            <ac:spMk id="2734" creationId="{00000000-0008-0000-0300-00007A000000}"/>
          </ac:spMkLst>
        </pc:spChg>
        <pc:spChg chg="mod">
          <ac:chgData name="Schjold, Hanne Røvig" userId="72e82339-bab0-442f-8ca6-e6f386a713ee" providerId="ADAL" clId="{9706D415-2DA0-4D00-90B6-E46BF852F024}" dt="2023-03-16T12:49:25.666" v="782" actId="1038"/>
          <ac:spMkLst>
            <pc:docMk/>
            <pc:sldMk cId="2278995086" sldId="729"/>
            <ac:spMk id="2735" creationId="{00000000-0008-0000-0300-00007B000000}"/>
          </ac:spMkLst>
        </pc:spChg>
        <pc:spChg chg="mod">
          <ac:chgData name="Schjold, Hanne Røvig" userId="72e82339-bab0-442f-8ca6-e6f386a713ee" providerId="ADAL" clId="{9706D415-2DA0-4D00-90B6-E46BF852F024}" dt="2023-03-16T12:49:25.666" v="782" actId="1038"/>
          <ac:spMkLst>
            <pc:docMk/>
            <pc:sldMk cId="2278995086" sldId="729"/>
            <ac:spMk id="2736" creationId="{00000000-0008-0000-0300-00007C000000}"/>
          </ac:spMkLst>
        </pc:spChg>
        <pc:spChg chg="mod">
          <ac:chgData name="Schjold, Hanne Røvig" userId="72e82339-bab0-442f-8ca6-e6f386a713ee" providerId="ADAL" clId="{9706D415-2DA0-4D00-90B6-E46BF852F024}" dt="2023-03-16T12:49:25.666" v="782" actId="1038"/>
          <ac:spMkLst>
            <pc:docMk/>
            <pc:sldMk cId="2278995086" sldId="729"/>
            <ac:spMk id="2737" creationId="{00000000-0008-0000-0300-00007D000000}"/>
          </ac:spMkLst>
        </pc:spChg>
        <pc:spChg chg="mod">
          <ac:chgData name="Schjold, Hanne Røvig" userId="72e82339-bab0-442f-8ca6-e6f386a713ee" providerId="ADAL" clId="{9706D415-2DA0-4D00-90B6-E46BF852F024}" dt="2023-03-16T12:49:25.666" v="782" actId="1038"/>
          <ac:spMkLst>
            <pc:docMk/>
            <pc:sldMk cId="2278995086" sldId="729"/>
            <ac:spMk id="2738" creationId="{00000000-0008-0000-0300-00007E000000}"/>
          </ac:spMkLst>
        </pc:spChg>
        <pc:spChg chg="mod">
          <ac:chgData name="Schjold, Hanne Røvig" userId="72e82339-bab0-442f-8ca6-e6f386a713ee" providerId="ADAL" clId="{9706D415-2DA0-4D00-90B6-E46BF852F024}" dt="2023-03-16T12:49:25.666" v="782" actId="1038"/>
          <ac:spMkLst>
            <pc:docMk/>
            <pc:sldMk cId="2278995086" sldId="729"/>
            <ac:spMk id="2739" creationId="{00000000-0008-0000-0300-00007F000000}"/>
          </ac:spMkLst>
        </pc:spChg>
        <pc:spChg chg="mod">
          <ac:chgData name="Schjold, Hanne Røvig" userId="72e82339-bab0-442f-8ca6-e6f386a713ee" providerId="ADAL" clId="{9706D415-2DA0-4D00-90B6-E46BF852F024}" dt="2023-03-16T12:49:25.666" v="782" actId="1038"/>
          <ac:spMkLst>
            <pc:docMk/>
            <pc:sldMk cId="2278995086" sldId="729"/>
            <ac:spMk id="2740" creationId="{00000000-0008-0000-0300-000080000000}"/>
          </ac:spMkLst>
        </pc:spChg>
        <pc:spChg chg="mod">
          <ac:chgData name="Schjold, Hanne Røvig" userId="72e82339-bab0-442f-8ca6-e6f386a713ee" providerId="ADAL" clId="{9706D415-2DA0-4D00-90B6-E46BF852F024}" dt="2023-03-16T12:49:25.666" v="782" actId="1038"/>
          <ac:spMkLst>
            <pc:docMk/>
            <pc:sldMk cId="2278995086" sldId="729"/>
            <ac:spMk id="2741" creationId="{00000000-0008-0000-0300-000081000000}"/>
          </ac:spMkLst>
        </pc:spChg>
        <pc:spChg chg="mod">
          <ac:chgData name="Schjold, Hanne Røvig" userId="72e82339-bab0-442f-8ca6-e6f386a713ee" providerId="ADAL" clId="{9706D415-2DA0-4D00-90B6-E46BF852F024}" dt="2023-03-16T12:49:25.666" v="782" actId="1038"/>
          <ac:spMkLst>
            <pc:docMk/>
            <pc:sldMk cId="2278995086" sldId="729"/>
            <ac:spMk id="2742" creationId="{00000000-0008-0000-0300-000082000000}"/>
          </ac:spMkLst>
        </pc:spChg>
        <pc:spChg chg="mod">
          <ac:chgData name="Schjold, Hanne Røvig" userId="72e82339-bab0-442f-8ca6-e6f386a713ee" providerId="ADAL" clId="{9706D415-2DA0-4D00-90B6-E46BF852F024}" dt="2023-03-16T12:49:25.666" v="782" actId="1038"/>
          <ac:spMkLst>
            <pc:docMk/>
            <pc:sldMk cId="2278995086" sldId="729"/>
            <ac:spMk id="2743" creationId="{00000000-0008-0000-0300-000083000000}"/>
          </ac:spMkLst>
        </pc:spChg>
        <pc:spChg chg="mod">
          <ac:chgData name="Schjold, Hanne Røvig" userId="72e82339-bab0-442f-8ca6-e6f386a713ee" providerId="ADAL" clId="{9706D415-2DA0-4D00-90B6-E46BF852F024}" dt="2023-03-16T12:49:25.666" v="782" actId="1038"/>
          <ac:spMkLst>
            <pc:docMk/>
            <pc:sldMk cId="2278995086" sldId="729"/>
            <ac:spMk id="2744" creationId="{00000000-0008-0000-0300-000084000000}"/>
          </ac:spMkLst>
        </pc:spChg>
        <pc:spChg chg="mod">
          <ac:chgData name="Schjold, Hanne Røvig" userId="72e82339-bab0-442f-8ca6-e6f386a713ee" providerId="ADAL" clId="{9706D415-2DA0-4D00-90B6-E46BF852F024}" dt="2023-03-16T12:49:25.666" v="782" actId="1038"/>
          <ac:spMkLst>
            <pc:docMk/>
            <pc:sldMk cId="2278995086" sldId="729"/>
            <ac:spMk id="2745" creationId="{00000000-0008-0000-0300-000085000000}"/>
          </ac:spMkLst>
        </pc:spChg>
        <pc:spChg chg="mod">
          <ac:chgData name="Schjold, Hanne Røvig" userId="72e82339-bab0-442f-8ca6-e6f386a713ee" providerId="ADAL" clId="{9706D415-2DA0-4D00-90B6-E46BF852F024}" dt="2023-03-16T12:49:25.666" v="782" actId="1038"/>
          <ac:spMkLst>
            <pc:docMk/>
            <pc:sldMk cId="2278995086" sldId="729"/>
            <ac:spMk id="2746" creationId="{00000000-0008-0000-0300-000086000000}"/>
          </ac:spMkLst>
        </pc:spChg>
        <pc:spChg chg="mod">
          <ac:chgData name="Schjold, Hanne Røvig" userId="72e82339-bab0-442f-8ca6-e6f386a713ee" providerId="ADAL" clId="{9706D415-2DA0-4D00-90B6-E46BF852F024}" dt="2023-03-16T12:49:25.666" v="782" actId="1038"/>
          <ac:spMkLst>
            <pc:docMk/>
            <pc:sldMk cId="2278995086" sldId="729"/>
            <ac:spMk id="2747" creationId="{00000000-0008-0000-0300-000087000000}"/>
          </ac:spMkLst>
        </pc:spChg>
        <pc:spChg chg="mod">
          <ac:chgData name="Schjold, Hanne Røvig" userId="72e82339-bab0-442f-8ca6-e6f386a713ee" providerId="ADAL" clId="{9706D415-2DA0-4D00-90B6-E46BF852F024}" dt="2023-03-16T12:49:25.666" v="782" actId="1038"/>
          <ac:spMkLst>
            <pc:docMk/>
            <pc:sldMk cId="2278995086" sldId="729"/>
            <ac:spMk id="2748" creationId="{00000000-0008-0000-0300-000088000000}"/>
          </ac:spMkLst>
        </pc:spChg>
        <pc:spChg chg="mod">
          <ac:chgData name="Schjold, Hanne Røvig" userId="72e82339-bab0-442f-8ca6-e6f386a713ee" providerId="ADAL" clId="{9706D415-2DA0-4D00-90B6-E46BF852F024}" dt="2023-03-16T12:49:25.666" v="782" actId="1038"/>
          <ac:spMkLst>
            <pc:docMk/>
            <pc:sldMk cId="2278995086" sldId="729"/>
            <ac:spMk id="2749" creationId="{00000000-0008-0000-0300-000089000000}"/>
          </ac:spMkLst>
        </pc:spChg>
        <pc:spChg chg="mod">
          <ac:chgData name="Schjold, Hanne Røvig" userId="72e82339-bab0-442f-8ca6-e6f386a713ee" providerId="ADAL" clId="{9706D415-2DA0-4D00-90B6-E46BF852F024}" dt="2023-03-16T12:49:25.666" v="782" actId="1038"/>
          <ac:spMkLst>
            <pc:docMk/>
            <pc:sldMk cId="2278995086" sldId="729"/>
            <ac:spMk id="2750" creationId="{00000000-0008-0000-0300-00008A000000}"/>
          </ac:spMkLst>
        </pc:spChg>
        <pc:spChg chg="mod">
          <ac:chgData name="Schjold, Hanne Røvig" userId="72e82339-bab0-442f-8ca6-e6f386a713ee" providerId="ADAL" clId="{9706D415-2DA0-4D00-90B6-E46BF852F024}" dt="2023-03-16T12:49:25.666" v="782" actId="1038"/>
          <ac:spMkLst>
            <pc:docMk/>
            <pc:sldMk cId="2278995086" sldId="729"/>
            <ac:spMk id="2751" creationId="{00000000-0008-0000-0300-00008B000000}"/>
          </ac:spMkLst>
        </pc:spChg>
        <pc:spChg chg="mod">
          <ac:chgData name="Schjold, Hanne Røvig" userId="72e82339-bab0-442f-8ca6-e6f386a713ee" providerId="ADAL" clId="{9706D415-2DA0-4D00-90B6-E46BF852F024}" dt="2023-03-16T12:49:25.666" v="782" actId="1038"/>
          <ac:spMkLst>
            <pc:docMk/>
            <pc:sldMk cId="2278995086" sldId="729"/>
            <ac:spMk id="2752" creationId="{00000000-0008-0000-0300-00008C000000}"/>
          </ac:spMkLst>
        </pc:spChg>
        <pc:spChg chg="mod">
          <ac:chgData name="Schjold, Hanne Røvig" userId="72e82339-bab0-442f-8ca6-e6f386a713ee" providerId="ADAL" clId="{9706D415-2DA0-4D00-90B6-E46BF852F024}" dt="2023-03-16T12:49:25.666" v="782" actId="1038"/>
          <ac:spMkLst>
            <pc:docMk/>
            <pc:sldMk cId="2278995086" sldId="729"/>
            <ac:spMk id="2753" creationId="{00000000-0008-0000-0300-00008D000000}"/>
          </ac:spMkLst>
        </pc:spChg>
        <pc:spChg chg="mod">
          <ac:chgData name="Schjold, Hanne Røvig" userId="72e82339-bab0-442f-8ca6-e6f386a713ee" providerId="ADAL" clId="{9706D415-2DA0-4D00-90B6-E46BF852F024}" dt="2023-03-16T12:49:25.666" v="782" actId="1038"/>
          <ac:spMkLst>
            <pc:docMk/>
            <pc:sldMk cId="2278995086" sldId="729"/>
            <ac:spMk id="2754" creationId="{00000000-0008-0000-0300-00008E000000}"/>
          </ac:spMkLst>
        </pc:spChg>
        <pc:spChg chg="mod">
          <ac:chgData name="Schjold, Hanne Røvig" userId="72e82339-bab0-442f-8ca6-e6f386a713ee" providerId="ADAL" clId="{9706D415-2DA0-4D00-90B6-E46BF852F024}" dt="2023-03-16T12:49:25.666" v="782" actId="1038"/>
          <ac:spMkLst>
            <pc:docMk/>
            <pc:sldMk cId="2278995086" sldId="729"/>
            <ac:spMk id="2755" creationId="{00000000-0008-0000-0300-00008F000000}"/>
          </ac:spMkLst>
        </pc:spChg>
        <pc:spChg chg="mod">
          <ac:chgData name="Schjold, Hanne Røvig" userId="72e82339-bab0-442f-8ca6-e6f386a713ee" providerId="ADAL" clId="{9706D415-2DA0-4D00-90B6-E46BF852F024}" dt="2023-03-16T12:49:25.666" v="782" actId="1038"/>
          <ac:spMkLst>
            <pc:docMk/>
            <pc:sldMk cId="2278995086" sldId="729"/>
            <ac:spMk id="2756" creationId="{00000000-0008-0000-0300-000090000000}"/>
          </ac:spMkLst>
        </pc:spChg>
        <pc:spChg chg="mod">
          <ac:chgData name="Schjold, Hanne Røvig" userId="72e82339-bab0-442f-8ca6-e6f386a713ee" providerId="ADAL" clId="{9706D415-2DA0-4D00-90B6-E46BF852F024}" dt="2023-03-16T12:49:25.666" v="782" actId="1038"/>
          <ac:spMkLst>
            <pc:docMk/>
            <pc:sldMk cId="2278995086" sldId="729"/>
            <ac:spMk id="2757" creationId="{00000000-0008-0000-0300-000091000000}"/>
          </ac:spMkLst>
        </pc:spChg>
        <pc:spChg chg="mod">
          <ac:chgData name="Schjold, Hanne Røvig" userId="72e82339-bab0-442f-8ca6-e6f386a713ee" providerId="ADAL" clId="{9706D415-2DA0-4D00-90B6-E46BF852F024}" dt="2023-03-16T12:49:25.666" v="782" actId="1038"/>
          <ac:spMkLst>
            <pc:docMk/>
            <pc:sldMk cId="2278995086" sldId="729"/>
            <ac:spMk id="2758" creationId="{00000000-0008-0000-0300-000092000000}"/>
          </ac:spMkLst>
        </pc:spChg>
        <pc:spChg chg="mod">
          <ac:chgData name="Schjold, Hanne Røvig" userId="72e82339-bab0-442f-8ca6-e6f386a713ee" providerId="ADAL" clId="{9706D415-2DA0-4D00-90B6-E46BF852F024}" dt="2023-03-16T12:49:25.666" v="782" actId="1038"/>
          <ac:spMkLst>
            <pc:docMk/>
            <pc:sldMk cId="2278995086" sldId="729"/>
            <ac:spMk id="2759" creationId="{00000000-0008-0000-0300-000093000000}"/>
          </ac:spMkLst>
        </pc:spChg>
        <pc:spChg chg="mod">
          <ac:chgData name="Schjold, Hanne Røvig" userId="72e82339-bab0-442f-8ca6-e6f386a713ee" providerId="ADAL" clId="{9706D415-2DA0-4D00-90B6-E46BF852F024}" dt="2023-03-16T12:49:25.666" v="782" actId="1038"/>
          <ac:spMkLst>
            <pc:docMk/>
            <pc:sldMk cId="2278995086" sldId="729"/>
            <ac:spMk id="2760" creationId="{00000000-0008-0000-0300-000094000000}"/>
          </ac:spMkLst>
        </pc:spChg>
        <pc:spChg chg="mod">
          <ac:chgData name="Schjold, Hanne Røvig" userId="72e82339-bab0-442f-8ca6-e6f386a713ee" providerId="ADAL" clId="{9706D415-2DA0-4D00-90B6-E46BF852F024}" dt="2023-03-16T12:49:25.666" v="782" actId="1038"/>
          <ac:spMkLst>
            <pc:docMk/>
            <pc:sldMk cId="2278995086" sldId="729"/>
            <ac:spMk id="2761" creationId="{00000000-0008-0000-0300-000095000000}"/>
          </ac:spMkLst>
        </pc:spChg>
        <pc:spChg chg="mod">
          <ac:chgData name="Schjold, Hanne Røvig" userId="72e82339-bab0-442f-8ca6-e6f386a713ee" providerId="ADAL" clId="{9706D415-2DA0-4D00-90B6-E46BF852F024}" dt="2023-03-16T12:49:25.666" v="782" actId="1038"/>
          <ac:spMkLst>
            <pc:docMk/>
            <pc:sldMk cId="2278995086" sldId="729"/>
            <ac:spMk id="2762" creationId="{00000000-0008-0000-0300-000096000000}"/>
          </ac:spMkLst>
        </pc:spChg>
        <pc:spChg chg="mod">
          <ac:chgData name="Schjold, Hanne Røvig" userId="72e82339-bab0-442f-8ca6-e6f386a713ee" providerId="ADAL" clId="{9706D415-2DA0-4D00-90B6-E46BF852F024}" dt="2023-03-16T12:49:25.666" v="782" actId="1038"/>
          <ac:spMkLst>
            <pc:docMk/>
            <pc:sldMk cId="2278995086" sldId="729"/>
            <ac:spMk id="2763" creationId="{00000000-0008-0000-0300-000097000000}"/>
          </ac:spMkLst>
        </pc:spChg>
        <pc:spChg chg="mod">
          <ac:chgData name="Schjold, Hanne Røvig" userId="72e82339-bab0-442f-8ca6-e6f386a713ee" providerId="ADAL" clId="{9706D415-2DA0-4D00-90B6-E46BF852F024}" dt="2023-03-16T12:49:25.666" v="782" actId="1038"/>
          <ac:spMkLst>
            <pc:docMk/>
            <pc:sldMk cId="2278995086" sldId="729"/>
            <ac:spMk id="2764" creationId="{00000000-0008-0000-0300-000098000000}"/>
          </ac:spMkLst>
        </pc:spChg>
        <pc:spChg chg="mod">
          <ac:chgData name="Schjold, Hanne Røvig" userId="72e82339-bab0-442f-8ca6-e6f386a713ee" providerId="ADAL" clId="{9706D415-2DA0-4D00-90B6-E46BF852F024}" dt="2023-03-16T12:49:25.666" v="782" actId="1038"/>
          <ac:spMkLst>
            <pc:docMk/>
            <pc:sldMk cId="2278995086" sldId="729"/>
            <ac:spMk id="2765" creationId="{00000000-0008-0000-0300-000099000000}"/>
          </ac:spMkLst>
        </pc:spChg>
        <pc:spChg chg="mod">
          <ac:chgData name="Schjold, Hanne Røvig" userId="72e82339-bab0-442f-8ca6-e6f386a713ee" providerId="ADAL" clId="{9706D415-2DA0-4D00-90B6-E46BF852F024}" dt="2023-03-16T12:49:25.666" v="782" actId="1038"/>
          <ac:spMkLst>
            <pc:docMk/>
            <pc:sldMk cId="2278995086" sldId="729"/>
            <ac:spMk id="2766" creationId="{00000000-0008-0000-0300-00009A000000}"/>
          </ac:spMkLst>
        </pc:spChg>
        <pc:spChg chg="mod">
          <ac:chgData name="Schjold, Hanne Røvig" userId="72e82339-bab0-442f-8ca6-e6f386a713ee" providerId="ADAL" clId="{9706D415-2DA0-4D00-90B6-E46BF852F024}" dt="2023-03-16T12:49:25.666" v="782" actId="1038"/>
          <ac:spMkLst>
            <pc:docMk/>
            <pc:sldMk cId="2278995086" sldId="729"/>
            <ac:spMk id="2767" creationId="{00000000-0008-0000-0300-00009B000000}"/>
          </ac:spMkLst>
        </pc:spChg>
        <pc:spChg chg="mod">
          <ac:chgData name="Schjold, Hanne Røvig" userId="72e82339-bab0-442f-8ca6-e6f386a713ee" providerId="ADAL" clId="{9706D415-2DA0-4D00-90B6-E46BF852F024}" dt="2023-03-16T12:49:25.666" v="782" actId="1038"/>
          <ac:spMkLst>
            <pc:docMk/>
            <pc:sldMk cId="2278995086" sldId="729"/>
            <ac:spMk id="2768" creationId="{00000000-0008-0000-0300-00009C000000}"/>
          </ac:spMkLst>
        </pc:spChg>
        <pc:spChg chg="mod">
          <ac:chgData name="Schjold, Hanne Røvig" userId="72e82339-bab0-442f-8ca6-e6f386a713ee" providerId="ADAL" clId="{9706D415-2DA0-4D00-90B6-E46BF852F024}" dt="2023-03-16T12:49:25.666" v="782" actId="1038"/>
          <ac:spMkLst>
            <pc:docMk/>
            <pc:sldMk cId="2278995086" sldId="729"/>
            <ac:spMk id="2769" creationId="{00000000-0008-0000-0300-00009D000000}"/>
          </ac:spMkLst>
        </pc:spChg>
        <pc:spChg chg="mod">
          <ac:chgData name="Schjold, Hanne Røvig" userId="72e82339-bab0-442f-8ca6-e6f386a713ee" providerId="ADAL" clId="{9706D415-2DA0-4D00-90B6-E46BF852F024}" dt="2023-03-16T12:49:25.666" v="782" actId="1038"/>
          <ac:spMkLst>
            <pc:docMk/>
            <pc:sldMk cId="2278995086" sldId="729"/>
            <ac:spMk id="2770" creationId="{00000000-0008-0000-0300-00009E000000}"/>
          </ac:spMkLst>
        </pc:spChg>
        <pc:spChg chg="mod">
          <ac:chgData name="Schjold, Hanne Røvig" userId="72e82339-bab0-442f-8ca6-e6f386a713ee" providerId="ADAL" clId="{9706D415-2DA0-4D00-90B6-E46BF852F024}" dt="2023-03-16T12:49:25.666" v="782" actId="1038"/>
          <ac:spMkLst>
            <pc:docMk/>
            <pc:sldMk cId="2278995086" sldId="729"/>
            <ac:spMk id="2771" creationId="{00000000-0008-0000-0300-00009F000000}"/>
          </ac:spMkLst>
        </pc:spChg>
        <pc:spChg chg="mod">
          <ac:chgData name="Schjold, Hanne Røvig" userId="72e82339-bab0-442f-8ca6-e6f386a713ee" providerId="ADAL" clId="{9706D415-2DA0-4D00-90B6-E46BF852F024}" dt="2023-03-16T12:49:25.666" v="782" actId="1038"/>
          <ac:spMkLst>
            <pc:docMk/>
            <pc:sldMk cId="2278995086" sldId="729"/>
            <ac:spMk id="2772" creationId="{00000000-0008-0000-0300-0000A0000000}"/>
          </ac:spMkLst>
        </pc:spChg>
        <pc:spChg chg="mod">
          <ac:chgData name="Schjold, Hanne Røvig" userId="72e82339-bab0-442f-8ca6-e6f386a713ee" providerId="ADAL" clId="{9706D415-2DA0-4D00-90B6-E46BF852F024}" dt="2023-03-16T12:49:25.666" v="782" actId="1038"/>
          <ac:spMkLst>
            <pc:docMk/>
            <pc:sldMk cId="2278995086" sldId="729"/>
            <ac:spMk id="2773" creationId="{00000000-0008-0000-0300-0000A1000000}"/>
          </ac:spMkLst>
        </pc:spChg>
        <pc:spChg chg="mod">
          <ac:chgData name="Schjold, Hanne Røvig" userId="72e82339-bab0-442f-8ca6-e6f386a713ee" providerId="ADAL" clId="{9706D415-2DA0-4D00-90B6-E46BF852F024}" dt="2023-03-16T12:49:25.666" v="782" actId="1038"/>
          <ac:spMkLst>
            <pc:docMk/>
            <pc:sldMk cId="2278995086" sldId="729"/>
            <ac:spMk id="2774" creationId="{00000000-0008-0000-0300-0000A2000000}"/>
          </ac:spMkLst>
        </pc:spChg>
        <pc:spChg chg="mod">
          <ac:chgData name="Schjold, Hanne Røvig" userId="72e82339-bab0-442f-8ca6-e6f386a713ee" providerId="ADAL" clId="{9706D415-2DA0-4D00-90B6-E46BF852F024}" dt="2023-03-16T12:49:25.666" v="782" actId="1038"/>
          <ac:spMkLst>
            <pc:docMk/>
            <pc:sldMk cId="2278995086" sldId="729"/>
            <ac:spMk id="2775" creationId="{00000000-0008-0000-0300-0000A3000000}"/>
          </ac:spMkLst>
        </pc:spChg>
        <pc:spChg chg="mod">
          <ac:chgData name="Schjold, Hanne Røvig" userId="72e82339-bab0-442f-8ca6-e6f386a713ee" providerId="ADAL" clId="{9706D415-2DA0-4D00-90B6-E46BF852F024}" dt="2023-03-16T12:49:25.666" v="782" actId="1038"/>
          <ac:spMkLst>
            <pc:docMk/>
            <pc:sldMk cId="2278995086" sldId="729"/>
            <ac:spMk id="2776" creationId="{00000000-0008-0000-0300-0000A4000000}"/>
          </ac:spMkLst>
        </pc:spChg>
        <pc:spChg chg="mod">
          <ac:chgData name="Schjold, Hanne Røvig" userId="72e82339-bab0-442f-8ca6-e6f386a713ee" providerId="ADAL" clId="{9706D415-2DA0-4D00-90B6-E46BF852F024}" dt="2023-03-16T12:49:25.666" v="782" actId="1038"/>
          <ac:spMkLst>
            <pc:docMk/>
            <pc:sldMk cId="2278995086" sldId="729"/>
            <ac:spMk id="2777" creationId="{00000000-0008-0000-0300-0000A5000000}"/>
          </ac:spMkLst>
        </pc:spChg>
        <pc:spChg chg="mod">
          <ac:chgData name="Schjold, Hanne Røvig" userId="72e82339-bab0-442f-8ca6-e6f386a713ee" providerId="ADAL" clId="{9706D415-2DA0-4D00-90B6-E46BF852F024}" dt="2023-03-16T12:49:25.666" v="782" actId="1038"/>
          <ac:spMkLst>
            <pc:docMk/>
            <pc:sldMk cId="2278995086" sldId="729"/>
            <ac:spMk id="2778" creationId="{00000000-0008-0000-0300-0000A6000000}"/>
          </ac:spMkLst>
        </pc:spChg>
        <pc:spChg chg="mod">
          <ac:chgData name="Schjold, Hanne Røvig" userId="72e82339-bab0-442f-8ca6-e6f386a713ee" providerId="ADAL" clId="{9706D415-2DA0-4D00-90B6-E46BF852F024}" dt="2023-03-16T12:49:25.666" v="782" actId="1038"/>
          <ac:spMkLst>
            <pc:docMk/>
            <pc:sldMk cId="2278995086" sldId="729"/>
            <ac:spMk id="2779" creationId="{00000000-0008-0000-0300-0000A7000000}"/>
          </ac:spMkLst>
        </pc:spChg>
        <pc:spChg chg="mod">
          <ac:chgData name="Schjold, Hanne Røvig" userId="72e82339-bab0-442f-8ca6-e6f386a713ee" providerId="ADAL" clId="{9706D415-2DA0-4D00-90B6-E46BF852F024}" dt="2023-03-16T12:49:25.666" v="782" actId="1038"/>
          <ac:spMkLst>
            <pc:docMk/>
            <pc:sldMk cId="2278995086" sldId="729"/>
            <ac:spMk id="2780" creationId="{00000000-0008-0000-0300-0000A8000000}"/>
          </ac:spMkLst>
        </pc:spChg>
        <pc:spChg chg="mod">
          <ac:chgData name="Schjold, Hanne Røvig" userId="72e82339-bab0-442f-8ca6-e6f386a713ee" providerId="ADAL" clId="{9706D415-2DA0-4D00-90B6-E46BF852F024}" dt="2023-03-16T12:49:25.666" v="782" actId="1038"/>
          <ac:spMkLst>
            <pc:docMk/>
            <pc:sldMk cId="2278995086" sldId="729"/>
            <ac:spMk id="2781" creationId="{00000000-0008-0000-0300-0000A9000000}"/>
          </ac:spMkLst>
        </pc:spChg>
        <pc:spChg chg="mod">
          <ac:chgData name="Schjold, Hanne Røvig" userId="72e82339-bab0-442f-8ca6-e6f386a713ee" providerId="ADAL" clId="{9706D415-2DA0-4D00-90B6-E46BF852F024}" dt="2023-03-16T12:49:25.666" v="782" actId="1038"/>
          <ac:spMkLst>
            <pc:docMk/>
            <pc:sldMk cId="2278995086" sldId="729"/>
            <ac:spMk id="2782" creationId="{00000000-0008-0000-0300-0000AA000000}"/>
          </ac:spMkLst>
        </pc:spChg>
        <pc:spChg chg="mod">
          <ac:chgData name="Schjold, Hanne Røvig" userId="72e82339-bab0-442f-8ca6-e6f386a713ee" providerId="ADAL" clId="{9706D415-2DA0-4D00-90B6-E46BF852F024}" dt="2023-03-16T12:49:25.666" v="782" actId="1038"/>
          <ac:spMkLst>
            <pc:docMk/>
            <pc:sldMk cId="2278995086" sldId="729"/>
            <ac:spMk id="2783" creationId="{00000000-0008-0000-0300-0000AB000000}"/>
          </ac:spMkLst>
        </pc:spChg>
        <pc:spChg chg="mod">
          <ac:chgData name="Schjold, Hanne Røvig" userId="72e82339-bab0-442f-8ca6-e6f386a713ee" providerId="ADAL" clId="{9706D415-2DA0-4D00-90B6-E46BF852F024}" dt="2023-03-16T12:49:25.666" v="782" actId="1038"/>
          <ac:spMkLst>
            <pc:docMk/>
            <pc:sldMk cId="2278995086" sldId="729"/>
            <ac:spMk id="2784" creationId="{00000000-0008-0000-0300-0000AC000000}"/>
          </ac:spMkLst>
        </pc:spChg>
        <pc:spChg chg="mod">
          <ac:chgData name="Schjold, Hanne Røvig" userId="72e82339-bab0-442f-8ca6-e6f386a713ee" providerId="ADAL" clId="{9706D415-2DA0-4D00-90B6-E46BF852F024}" dt="2023-03-16T12:49:25.666" v="782" actId="1038"/>
          <ac:spMkLst>
            <pc:docMk/>
            <pc:sldMk cId="2278995086" sldId="729"/>
            <ac:spMk id="2785" creationId="{00000000-0008-0000-0300-0000AD000000}"/>
          </ac:spMkLst>
        </pc:spChg>
        <pc:spChg chg="mod">
          <ac:chgData name="Schjold, Hanne Røvig" userId="72e82339-bab0-442f-8ca6-e6f386a713ee" providerId="ADAL" clId="{9706D415-2DA0-4D00-90B6-E46BF852F024}" dt="2023-03-16T12:49:25.666" v="782" actId="1038"/>
          <ac:spMkLst>
            <pc:docMk/>
            <pc:sldMk cId="2278995086" sldId="729"/>
            <ac:spMk id="2786" creationId="{00000000-0008-0000-0300-0000AE000000}"/>
          </ac:spMkLst>
        </pc:spChg>
        <pc:spChg chg="mod">
          <ac:chgData name="Schjold, Hanne Røvig" userId="72e82339-bab0-442f-8ca6-e6f386a713ee" providerId="ADAL" clId="{9706D415-2DA0-4D00-90B6-E46BF852F024}" dt="2023-03-16T12:49:25.666" v="782" actId="1038"/>
          <ac:spMkLst>
            <pc:docMk/>
            <pc:sldMk cId="2278995086" sldId="729"/>
            <ac:spMk id="2787" creationId="{00000000-0008-0000-0300-0000AF000000}"/>
          </ac:spMkLst>
        </pc:spChg>
        <pc:spChg chg="mod">
          <ac:chgData name="Schjold, Hanne Røvig" userId="72e82339-bab0-442f-8ca6-e6f386a713ee" providerId="ADAL" clId="{9706D415-2DA0-4D00-90B6-E46BF852F024}" dt="2023-03-16T12:49:25.666" v="782" actId="1038"/>
          <ac:spMkLst>
            <pc:docMk/>
            <pc:sldMk cId="2278995086" sldId="729"/>
            <ac:spMk id="2788" creationId="{00000000-0008-0000-0300-0000B0000000}"/>
          </ac:spMkLst>
        </pc:spChg>
        <pc:spChg chg="mod">
          <ac:chgData name="Schjold, Hanne Røvig" userId="72e82339-bab0-442f-8ca6-e6f386a713ee" providerId="ADAL" clId="{9706D415-2DA0-4D00-90B6-E46BF852F024}" dt="2023-03-16T12:49:25.666" v="782" actId="1038"/>
          <ac:spMkLst>
            <pc:docMk/>
            <pc:sldMk cId="2278995086" sldId="729"/>
            <ac:spMk id="2789" creationId="{00000000-0008-0000-0300-0000B1000000}"/>
          </ac:spMkLst>
        </pc:spChg>
        <pc:spChg chg="mod">
          <ac:chgData name="Schjold, Hanne Røvig" userId="72e82339-bab0-442f-8ca6-e6f386a713ee" providerId="ADAL" clId="{9706D415-2DA0-4D00-90B6-E46BF852F024}" dt="2023-03-16T12:49:25.666" v="782" actId="1038"/>
          <ac:spMkLst>
            <pc:docMk/>
            <pc:sldMk cId="2278995086" sldId="729"/>
            <ac:spMk id="2790" creationId="{00000000-0008-0000-0300-0000B2000000}"/>
          </ac:spMkLst>
        </pc:spChg>
        <pc:spChg chg="mod">
          <ac:chgData name="Schjold, Hanne Røvig" userId="72e82339-bab0-442f-8ca6-e6f386a713ee" providerId="ADAL" clId="{9706D415-2DA0-4D00-90B6-E46BF852F024}" dt="2023-03-16T12:49:25.666" v="782" actId="1038"/>
          <ac:spMkLst>
            <pc:docMk/>
            <pc:sldMk cId="2278995086" sldId="729"/>
            <ac:spMk id="2791" creationId="{00000000-0008-0000-0300-0000B3000000}"/>
          </ac:spMkLst>
        </pc:spChg>
        <pc:spChg chg="mod">
          <ac:chgData name="Schjold, Hanne Røvig" userId="72e82339-bab0-442f-8ca6-e6f386a713ee" providerId="ADAL" clId="{9706D415-2DA0-4D00-90B6-E46BF852F024}" dt="2023-03-16T12:49:25.666" v="782" actId="1038"/>
          <ac:spMkLst>
            <pc:docMk/>
            <pc:sldMk cId="2278995086" sldId="729"/>
            <ac:spMk id="2792" creationId="{00000000-0008-0000-0300-0000B4000000}"/>
          </ac:spMkLst>
        </pc:spChg>
        <pc:spChg chg="mod">
          <ac:chgData name="Schjold, Hanne Røvig" userId="72e82339-bab0-442f-8ca6-e6f386a713ee" providerId="ADAL" clId="{9706D415-2DA0-4D00-90B6-E46BF852F024}" dt="2023-03-16T12:49:25.666" v="782" actId="1038"/>
          <ac:spMkLst>
            <pc:docMk/>
            <pc:sldMk cId="2278995086" sldId="729"/>
            <ac:spMk id="2793" creationId="{00000000-0008-0000-0300-0000B5000000}"/>
          </ac:spMkLst>
        </pc:spChg>
        <pc:spChg chg="mod">
          <ac:chgData name="Schjold, Hanne Røvig" userId="72e82339-bab0-442f-8ca6-e6f386a713ee" providerId="ADAL" clId="{9706D415-2DA0-4D00-90B6-E46BF852F024}" dt="2023-03-16T12:49:25.666" v="782" actId="1038"/>
          <ac:spMkLst>
            <pc:docMk/>
            <pc:sldMk cId="2278995086" sldId="729"/>
            <ac:spMk id="2794" creationId="{00000000-0008-0000-0300-0000B6000000}"/>
          </ac:spMkLst>
        </pc:spChg>
        <pc:spChg chg="mod">
          <ac:chgData name="Schjold, Hanne Røvig" userId="72e82339-bab0-442f-8ca6-e6f386a713ee" providerId="ADAL" clId="{9706D415-2DA0-4D00-90B6-E46BF852F024}" dt="2023-03-16T12:49:25.666" v="782" actId="1038"/>
          <ac:spMkLst>
            <pc:docMk/>
            <pc:sldMk cId="2278995086" sldId="729"/>
            <ac:spMk id="2795" creationId="{00000000-0008-0000-0300-0000B7000000}"/>
          </ac:spMkLst>
        </pc:spChg>
        <pc:spChg chg="mod">
          <ac:chgData name="Schjold, Hanne Røvig" userId="72e82339-bab0-442f-8ca6-e6f386a713ee" providerId="ADAL" clId="{9706D415-2DA0-4D00-90B6-E46BF852F024}" dt="2023-03-16T12:49:25.666" v="782" actId="1038"/>
          <ac:spMkLst>
            <pc:docMk/>
            <pc:sldMk cId="2278995086" sldId="729"/>
            <ac:spMk id="2796" creationId="{00000000-0008-0000-0300-0000B8000000}"/>
          </ac:spMkLst>
        </pc:spChg>
        <pc:spChg chg="mod">
          <ac:chgData name="Schjold, Hanne Røvig" userId="72e82339-bab0-442f-8ca6-e6f386a713ee" providerId="ADAL" clId="{9706D415-2DA0-4D00-90B6-E46BF852F024}" dt="2023-03-16T12:49:25.666" v="782" actId="1038"/>
          <ac:spMkLst>
            <pc:docMk/>
            <pc:sldMk cId="2278995086" sldId="729"/>
            <ac:spMk id="2797" creationId="{00000000-0008-0000-0300-0000B9000000}"/>
          </ac:spMkLst>
        </pc:spChg>
        <pc:spChg chg="mod">
          <ac:chgData name="Schjold, Hanne Røvig" userId="72e82339-bab0-442f-8ca6-e6f386a713ee" providerId="ADAL" clId="{9706D415-2DA0-4D00-90B6-E46BF852F024}" dt="2023-03-16T12:49:25.666" v="782" actId="1038"/>
          <ac:spMkLst>
            <pc:docMk/>
            <pc:sldMk cId="2278995086" sldId="729"/>
            <ac:spMk id="2798" creationId="{00000000-0008-0000-0300-0000BA000000}"/>
          </ac:spMkLst>
        </pc:spChg>
        <pc:spChg chg="mod">
          <ac:chgData name="Schjold, Hanne Røvig" userId="72e82339-bab0-442f-8ca6-e6f386a713ee" providerId="ADAL" clId="{9706D415-2DA0-4D00-90B6-E46BF852F024}" dt="2023-03-16T12:49:25.666" v="782" actId="1038"/>
          <ac:spMkLst>
            <pc:docMk/>
            <pc:sldMk cId="2278995086" sldId="729"/>
            <ac:spMk id="2799" creationId="{00000000-0008-0000-0300-0000BB000000}"/>
          </ac:spMkLst>
        </pc:spChg>
        <pc:spChg chg="mod">
          <ac:chgData name="Schjold, Hanne Røvig" userId="72e82339-bab0-442f-8ca6-e6f386a713ee" providerId="ADAL" clId="{9706D415-2DA0-4D00-90B6-E46BF852F024}" dt="2023-03-16T12:49:25.666" v="782" actId="1038"/>
          <ac:spMkLst>
            <pc:docMk/>
            <pc:sldMk cId="2278995086" sldId="729"/>
            <ac:spMk id="2800" creationId="{00000000-0008-0000-0300-0000BC000000}"/>
          </ac:spMkLst>
        </pc:spChg>
        <pc:spChg chg="mod">
          <ac:chgData name="Schjold, Hanne Røvig" userId="72e82339-bab0-442f-8ca6-e6f386a713ee" providerId="ADAL" clId="{9706D415-2DA0-4D00-90B6-E46BF852F024}" dt="2023-03-16T12:49:25.666" v="782" actId="1038"/>
          <ac:spMkLst>
            <pc:docMk/>
            <pc:sldMk cId="2278995086" sldId="729"/>
            <ac:spMk id="2801" creationId="{00000000-0008-0000-0300-0000BD000000}"/>
          </ac:spMkLst>
        </pc:spChg>
        <pc:spChg chg="mod">
          <ac:chgData name="Schjold, Hanne Røvig" userId="72e82339-bab0-442f-8ca6-e6f386a713ee" providerId="ADAL" clId="{9706D415-2DA0-4D00-90B6-E46BF852F024}" dt="2023-03-16T12:49:25.666" v="782" actId="1038"/>
          <ac:spMkLst>
            <pc:docMk/>
            <pc:sldMk cId="2278995086" sldId="729"/>
            <ac:spMk id="2802" creationId="{00000000-0008-0000-0300-0000BE000000}"/>
          </ac:spMkLst>
        </pc:spChg>
        <pc:spChg chg="mod">
          <ac:chgData name="Schjold, Hanne Røvig" userId="72e82339-bab0-442f-8ca6-e6f386a713ee" providerId="ADAL" clId="{9706D415-2DA0-4D00-90B6-E46BF852F024}" dt="2023-03-16T12:49:25.666" v="782" actId="1038"/>
          <ac:spMkLst>
            <pc:docMk/>
            <pc:sldMk cId="2278995086" sldId="729"/>
            <ac:spMk id="2803" creationId="{00000000-0008-0000-0300-0000BF000000}"/>
          </ac:spMkLst>
        </pc:spChg>
        <pc:spChg chg="mod">
          <ac:chgData name="Schjold, Hanne Røvig" userId="72e82339-bab0-442f-8ca6-e6f386a713ee" providerId="ADAL" clId="{9706D415-2DA0-4D00-90B6-E46BF852F024}" dt="2023-03-16T12:49:25.666" v="782" actId="1038"/>
          <ac:spMkLst>
            <pc:docMk/>
            <pc:sldMk cId="2278995086" sldId="729"/>
            <ac:spMk id="2804" creationId="{00000000-0008-0000-0300-0000C0000000}"/>
          </ac:spMkLst>
        </pc:spChg>
        <pc:spChg chg="mod">
          <ac:chgData name="Schjold, Hanne Røvig" userId="72e82339-bab0-442f-8ca6-e6f386a713ee" providerId="ADAL" clId="{9706D415-2DA0-4D00-90B6-E46BF852F024}" dt="2023-03-16T12:49:25.666" v="782" actId="1038"/>
          <ac:spMkLst>
            <pc:docMk/>
            <pc:sldMk cId="2278995086" sldId="729"/>
            <ac:spMk id="2805" creationId="{00000000-0008-0000-0300-0000C1000000}"/>
          </ac:spMkLst>
        </pc:spChg>
        <pc:spChg chg="mod">
          <ac:chgData name="Schjold, Hanne Røvig" userId="72e82339-bab0-442f-8ca6-e6f386a713ee" providerId="ADAL" clId="{9706D415-2DA0-4D00-90B6-E46BF852F024}" dt="2023-03-16T12:49:25.666" v="782" actId="1038"/>
          <ac:spMkLst>
            <pc:docMk/>
            <pc:sldMk cId="2278995086" sldId="729"/>
            <ac:spMk id="2806" creationId="{00000000-0008-0000-0300-0000C2000000}"/>
          </ac:spMkLst>
        </pc:spChg>
        <pc:spChg chg="mod">
          <ac:chgData name="Schjold, Hanne Røvig" userId="72e82339-bab0-442f-8ca6-e6f386a713ee" providerId="ADAL" clId="{9706D415-2DA0-4D00-90B6-E46BF852F024}" dt="2023-03-16T12:49:25.666" v="782" actId="1038"/>
          <ac:spMkLst>
            <pc:docMk/>
            <pc:sldMk cId="2278995086" sldId="729"/>
            <ac:spMk id="2807" creationId="{00000000-0008-0000-0300-0000C3000000}"/>
          </ac:spMkLst>
        </pc:spChg>
        <pc:spChg chg="mod">
          <ac:chgData name="Schjold, Hanne Røvig" userId="72e82339-bab0-442f-8ca6-e6f386a713ee" providerId="ADAL" clId="{9706D415-2DA0-4D00-90B6-E46BF852F024}" dt="2023-03-16T12:49:25.666" v="782" actId="1038"/>
          <ac:spMkLst>
            <pc:docMk/>
            <pc:sldMk cId="2278995086" sldId="729"/>
            <ac:spMk id="2808" creationId="{00000000-0008-0000-0300-0000C4000000}"/>
          </ac:spMkLst>
        </pc:spChg>
        <pc:spChg chg="mod">
          <ac:chgData name="Schjold, Hanne Røvig" userId="72e82339-bab0-442f-8ca6-e6f386a713ee" providerId="ADAL" clId="{9706D415-2DA0-4D00-90B6-E46BF852F024}" dt="2023-03-16T12:49:25.666" v="782" actId="1038"/>
          <ac:spMkLst>
            <pc:docMk/>
            <pc:sldMk cId="2278995086" sldId="729"/>
            <ac:spMk id="2809" creationId="{00000000-0008-0000-0300-0000C5000000}"/>
          </ac:spMkLst>
        </pc:spChg>
        <pc:spChg chg="mod">
          <ac:chgData name="Schjold, Hanne Røvig" userId="72e82339-bab0-442f-8ca6-e6f386a713ee" providerId="ADAL" clId="{9706D415-2DA0-4D00-90B6-E46BF852F024}" dt="2023-03-16T12:49:25.666" v="782" actId="1038"/>
          <ac:spMkLst>
            <pc:docMk/>
            <pc:sldMk cId="2278995086" sldId="729"/>
            <ac:spMk id="2810" creationId="{00000000-0008-0000-0300-0000C6000000}"/>
          </ac:spMkLst>
        </pc:spChg>
        <pc:spChg chg="mod">
          <ac:chgData name="Schjold, Hanne Røvig" userId="72e82339-bab0-442f-8ca6-e6f386a713ee" providerId="ADAL" clId="{9706D415-2DA0-4D00-90B6-E46BF852F024}" dt="2023-03-16T12:49:25.666" v="782" actId="1038"/>
          <ac:spMkLst>
            <pc:docMk/>
            <pc:sldMk cId="2278995086" sldId="729"/>
            <ac:spMk id="2811" creationId="{00000000-0008-0000-0300-0000C7000000}"/>
          </ac:spMkLst>
        </pc:spChg>
        <pc:spChg chg="mod">
          <ac:chgData name="Schjold, Hanne Røvig" userId="72e82339-bab0-442f-8ca6-e6f386a713ee" providerId="ADAL" clId="{9706D415-2DA0-4D00-90B6-E46BF852F024}" dt="2023-03-16T12:49:25.666" v="782" actId="1038"/>
          <ac:spMkLst>
            <pc:docMk/>
            <pc:sldMk cId="2278995086" sldId="729"/>
            <ac:spMk id="2812" creationId="{00000000-0008-0000-0300-0000C8000000}"/>
          </ac:spMkLst>
        </pc:spChg>
        <pc:spChg chg="mod">
          <ac:chgData name="Schjold, Hanne Røvig" userId="72e82339-bab0-442f-8ca6-e6f386a713ee" providerId="ADAL" clId="{9706D415-2DA0-4D00-90B6-E46BF852F024}" dt="2023-03-16T12:49:25.666" v="782" actId="1038"/>
          <ac:spMkLst>
            <pc:docMk/>
            <pc:sldMk cId="2278995086" sldId="729"/>
            <ac:spMk id="2813" creationId="{00000000-0008-0000-0300-0000C9000000}"/>
          </ac:spMkLst>
        </pc:spChg>
        <pc:spChg chg="mod">
          <ac:chgData name="Schjold, Hanne Røvig" userId="72e82339-bab0-442f-8ca6-e6f386a713ee" providerId="ADAL" clId="{9706D415-2DA0-4D00-90B6-E46BF852F024}" dt="2023-03-16T12:49:25.666" v="782" actId="1038"/>
          <ac:spMkLst>
            <pc:docMk/>
            <pc:sldMk cId="2278995086" sldId="729"/>
            <ac:spMk id="2814" creationId="{00000000-0008-0000-0300-0000CA000000}"/>
          </ac:spMkLst>
        </pc:spChg>
        <pc:spChg chg="mod">
          <ac:chgData name="Schjold, Hanne Røvig" userId="72e82339-bab0-442f-8ca6-e6f386a713ee" providerId="ADAL" clId="{9706D415-2DA0-4D00-90B6-E46BF852F024}" dt="2023-03-16T12:49:25.666" v="782" actId="1038"/>
          <ac:spMkLst>
            <pc:docMk/>
            <pc:sldMk cId="2278995086" sldId="729"/>
            <ac:spMk id="2815" creationId="{00000000-0008-0000-0300-0000CB000000}"/>
          </ac:spMkLst>
        </pc:spChg>
        <pc:spChg chg="mod">
          <ac:chgData name="Schjold, Hanne Røvig" userId="72e82339-bab0-442f-8ca6-e6f386a713ee" providerId="ADAL" clId="{9706D415-2DA0-4D00-90B6-E46BF852F024}" dt="2023-03-16T12:49:25.666" v="782" actId="1038"/>
          <ac:spMkLst>
            <pc:docMk/>
            <pc:sldMk cId="2278995086" sldId="729"/>
            <ac:spMk id="2816" creationId="{00000000-0008-0000-0300-0000CC000000}"/>
          </ac:spMkLst>
        </pc:spChg>
        <pc:spChg chg="mod">
          <ac:chgData name="Schjold, Hanne Røvig" userId="72e82339-bab0-442f-8ca6-e6f386a713ee" providerId="ADAL" clId="{9706D415-2DA0-4D00-90B6-E46BF852F024}" dt="2023-03-16T12:49:25.666" v="782" actId="1038"/>
          <ac:spMkLst>
            <pc:docMk/>
            <pc:sldMk cId="2278995086" sldId="729"/>
            <ac:spMk id="2817" creationId="{00000000-0008-0000-0300-0000CD000000}"/>
          </ac:spMkLst>
        </pc:spChg>
        <pc:spChg chg="mod">
          <ac:chgData name="Schjold, Hanne Røvig" userId="72e82339-bab0-442f-8ca6-e6f386a713ee" providerId="ADAL" clId="{9706D415-2DA0-4D00-90B6-E46BF852F024}" dt="2023-03-16T12:49:25.666" v="782" actId="1038"/>
          <ac:spMkLst>
            <pc:docMk/>
            <pc:sldMk cId="2278995086" sldId="729"/>
            <ac:spMk id="2818" creationId="{00000000-0008-0000-0300-0000CE000000}"/>
          </ac:spMkLst>
        </pc:spChg>
        <pc:spChg chg="mod">
          <ac:chgData name="Schjold, Hanne Røvig" userId="72e82339-bab0-442f-8ca6-e6f386a713ee" providerId="ADAL" clId="{9706D415-2DA0-4D00-90B6-E46BF852F024}" dt="2023-03-16T12:49:25.666" v="782" actId="1038"/>
          <ac:spMkLst>
            <pc:docMk/>
            <pc:sldMk cId="2278995086" sldId="729"/>
            <ac:spMk id="2819" creationId="{00000000-0008-0000-0300-0000CF000000}"/>
          </ac:spMkLst>
        </pc:spChg>
        <pc:spChg chg="mod">
          <ac:chgData name="Schjold, Hanne Røvig" userId="72e82339-bab0-442f-8ca6-e6f386a713ee" providerId="ADAL" clId="{9706D415-2DA0-4D00-90B6-E46BF852F024}" dt="2023-03-16T12:49:25.666" v="782" actId="1038"/>
          <ac:spMkLst>
            <pc:docMk/>
            <pc:sldMk cId="2278995086" sldId="729"/>
            <ac:spMk id="2820" creationId="{00000000-0008-0000-0300-0000D0000000}"/>
          </ac:spMkLst>
        </pc:spChg>
        <pc:spChg chg="mod">
          <ac:chgData name="Schjold, Hanne Røvig" userId="72e82339-bab0-442f-8ca6-e6f386a713ee" providerId="ADAL" clId="{9706D415-2DA0-4D00-90B6-E46BF852F024}" dt="2023-03-16T12:49:25.666" v="782" actId="1038"/>
          <ac:spMkLst>
            <pc:docMk/>
            <pc:sldMk cId="2278995086" sldId="729"/>
            <ac:spMk id="2821" creationId="{00000000-0008-0000-0300-0000D1000000}"/>
          </ac:spMkLst>
        </pc:spChg>
        <pc:spChg chg="mod">
          <ac:chgData name="Schjold, Hanne Røvig" userId="72e82339-bab0-442f-8ca6-e6f386a713ee" providerId="ADAL" clId="{9706D415-2DA0-4D00-90B6-E46BF852F024}" dt="2023-03-16T12:49:25.666" v="782" actId="1038"/>
          <ac:spMkLst>
            <pc:docMk/>
            <pc:sldMk cId="2278995086" sldId="729"/>
            <ac:spMk id="2822" creationId="{00000000-0008-0000-0300-0000D2000000}"/>
          </ac:spMkLst>
        </pc:spChg>
        <pc:spChg chg="mod">
          <ac:chgData name="Schjold, Hanne Røvig" userId="72e82339-bab0-442f-8ca6-e6f386a713ee" providerId="ADAL" clId="{9706D415-2DA0-4D00-90B6-E46BF852F024}" dt="2023-03-16T12:49:25.666" v="782" actId="1038"/>
          <ac:spMkLst>
            <pc:docMk/>
            <pc:sldMk cId="2278995086" sldId="729"/>
            <ac:spMk id="2823" creationId="{00000000-0008-0000-0300-0000D3000000}"/>
          </ac:spMkLst>
        </pc:spChg>
        <pc:spChg chg="mod">
          <ac:chgData name="Schjold, Hanne Røvig" userId="72e82339-bab0-442f-8ca6-e6f386a713ee" providerId="ADAL" clId="{9706D415-2DA0-4D00-90B6-E46BF852F024}" dt="2023-03-16T12:49:25.666" v="782" actId="1038"/>
          <ac:spMkLst>
            <pc:docMk/>
            <pc:sldMk cId="2278995086" sldId="729"/>
            <ac:spMk id="2824" creationId="{00000000-0008-0000-0300-0000D4000000}"/>
          </ac:spMkLst>
        </pc:spChg>
        <pc:spChg chg="mod">
          <ac:chgData name="Schjold, Hanne Røvig" userId="72e82339-bab0-442f-8ca6-e6f386a713ee" providerId="ADAL" clId="{9706D415-2DA0-4D00-90B6-E46BF852F024}" dt="2023-03-16T12:49:25.666" v="782" actId="1038"/>
          <ac:spMkLst>
            <pc:docMk/>
            <pc:sldMk cId="2278995086" sldId="729"/>
            <ac:spMk id="2825" creationId="{00000000-0008-0000-0300-0000D5000000}"/>
          </ac:spMkLst>
        </pc:spChg>
        <pc:spChg chg="mod">
          <ac:chgData name="Schjold, Hanne Røvig" userId="72e82339-bab0-442f-8ca6-e6f386a713ee" providerId="ADAL" clId="{9706D415-2DA0-4D00-90B6-E46BF852F024}" dt="2023-03-16T12:49:25.666" v="782" actId="1038"/>
          <ac:spMkLst>
            <pc:docMk/>
            <pc:sldMk cId="2278995086" sldId="729"/>
            <ac:spMk id="2826" creationId="{00000000-0008-0000-0300-0000D6000000}"/>
          </ac:spMkLst>
        </pc:spChg>
        <pc:spChg chg="mod">
          <ac:chgData name="Schjold, Hanne Røvig" userId="72e82339-bab0-442f-8ca6-e6f386a713ee" providerId="ADAL" clId="{9706D415-2DA0-4D00-90B6-E46BF852F024}" dt="2023-03-16T12:49:25.666" v="782" actId="1038"/>
          <ac:spMkLst>
            <pc:docMk/>
            <pc:sldMk cId="2278995086" sldId="729"/>
            <ac:spMk id="2827" creationId="{00000000-0008-0000-0300-0000D7000000}"/>
          </ac:spMkLst>
        </pc:spChg>
        <pc:spChg chg="mod">
          <ac:chgData name="Schjold, Hanne Røvig" userId="72e82339-bab0-442f-8ca6-e6f386a713ee" providerId="ADAL" clId="{9706D415-2DA0-4D00-90B6-E46BF852F024}" dt="2023-03-16T12:49:25.666" v="782" actId="1038"/>
          <ac:spMkLst>
            <pc:docMk/>
            <pc:sldMk cId="2278995086" sldId="729"/>
            <ac:spMk id="2828" creationId="{00000000-0008-0000-0300-0000D8000000}"/>
          </ac:spMkLst>
        </pc:spChg>
        <pc:spChg chg="mod">
          <ac:chgData name="Schjold, Hanne Røvig" userId="72e82339-bab0-442f-8ca6-e6f386a713ee" providerId="ADAL" clId="{9706D415-2DA0-4D00-90B6-E46BF852F024}" dt="2023-03-16T12:49:25.666" v="782" actId="1038"/>
          <ac:spMkLst>
            <pc:docMk/>
            <pc:sldMk cId="2278995086" sldId="729"/>
            <ac:spMk id="2829" creationId="{00000000-0008-0000-0300-0000D9000000}"/>
          </ac:spMkLst>
        </pc:spChg>
        <pc:spChg chg="mod">
          <ac:chgData name="Schjold, Hanne Røvig" userId="72e82339-bab0-442f-8ca6-e6f386a713ee" providerId="ADAL" clId="{9706D415-2DA0-4D00-90B6-E46BF852F024}" dt="2023-03-16T12:49:25.666" v="782" actId="1038"/>
          <ac:spMkLst>
            <pc:docMk/>
            <pc:sldMk cId="2278995086" sldId="729"/>
            <ac:spMk id="2830" creationId="{00000000-0008-0000-0300-0000DA000000}"/>
          </ac:spMkLst>
        </pc:spChg>
        <pc:spChg chg="mod">
          <ac:chgData name="Schjold, Hanne Røvig" userId="72e82339-bab0-442f-8ca6-e6f386a713ee" providerId="ADAL" clId="{9706D415-2DA0-4D00-90B6-E46BF852F024}" dt="2023-03-16T12:49:25.666" v="782" actId="1038"/>
          <ac:spMkLst>
            <pc:docMk/>
            <pc:sldMk cId="2278995086" sldId="729"/>
            <ac:spMk id="2831" creationId="{00000000-0008-0000-0300-0000DB000000}"/>
          </ac:spMkLst>
        </pc:spChg>
        <pc:spChg chg="mod">
          <ac:chgData name="Schjold, Hanne Røvig" userId="72e82339-bab0-442f-8ca6-e6f386a713ee" providerId="ADAL" clId="{9706D415-2DA0-4D00-90B6-E46BF852F024}" dt="2023-03-16T12:49:25.666" v="782" actId="1038"/>
          <ac:spMkLst>
            <pc:docMk/>
            <pc:sldMk cId="2278995086" sldId="729"/>
            <ac:spMk id="2832" creationId="{00000000-0008-0000-0300-0000DC000000}"/>
          </ac:spMkLst>
        </pc:spChg>
        <pc:spChg chg="mod">
          <ac:chgData name="Schjold, Hanne Røvig" userId="72e82339-bab0-442f-8ca6-e6f386a713ee" providerId="ADAL" clId="{9706D415-2DA0-4D00-90B6-E46BF852F024}" dt="2023-03-16T12:49:25.666" v="782" actId="1038"/>
          <ac:spMkLst>
            <pc:docMk/>
            <pc:sldMk cId="2278995086" sldId="729"/>
            <ac:spMk id="2833" creationId="{00000000-0008-0000-0300-0000DD000000}"/>
          </ac:spMkLst>
        </pc:spChg>
        <pc:spChg chg="mod">
          <ac:chgData name="Schjold, Hanne Røvig" userId="72e82339-bab0-442f-8ca6-e6f386a713ee" providerId="ADAL" clId="{9706D415-2DA0-4D00-90B6-E46BF852F024}" dt="2023-03-16T12:49:25.666" v="782" actId="1038"/>
          <ac:spMkLst>
            <pc:docMk/>
            <pc:sldMk cId="2278995086" sldId="729"/>
            <ac:spMk id="2834" creationId="{00000000-0008-0000-0300-0000DE000000}"/>
          </ac:spMkLst>
        </pc:spChg>
        <pc:spChg chg="mod">
          <ac:chgData name="Schjold, Hanne Røvig" userId="72e82339-bab0-442f-8ca6-e6f386a713ee" providerId="ADAL" clId="{9706D415-2DA0-4D00-90B6-E46BF852F024}" dt="2023-03-16T12:49:25.666" v="782" actId="1038"/>
          <ac:spMkLst>
            <pc:docMk/>
            <pc:sldMk cId="2278995086" sldId="729"/>
            <ac:spMk id="2835" creationId="{00000000-0008-0000-0300-0000DF000000}"/>
          </ac:spMkLst>
        </pc:spChg>
        <pc:spChg chg="mod">
          <ac:chgData name="Schjold, Hanne Røvig" userId="72e82339-bab0-442f-8ca6-e6f386a713ee" providerId="ADAL" clId="{9706D415-2DA0-4D00-90B6-E46BF852F024}" dt="2023-03-16T12:49:25.666" v="782" actId="1038"/>
          <ac:spMkLst>
            <pc:docMk/>
            <pc:sldMk cId="2278995086" sldId="729"/>
            <ac:spMk id="2836" creationId="{00000000-0008-0000-0300-0000E0000000}"/>
          </ac:spMkLst>
        </pc:spChg>
        <pc:spChg chg="mod">
          <ac:chgData name="Schjold, Hanne Røvig" userId="72e82339-bab0-442f-8ca6-e6f386a713ee" providerId="ADAL" clId="{9706D415-2DA0-4D00-90B6-E46BF852F024}" dt="2023-03-16T12:49:25.666" v="782" actId="1038"/>
          <ac:spMkLst>
            <pc:docMk/>
            <pc:sldMk cId="2278995086" sldId="729"/>
            <ac:spMk id="2837" creationId="{00000000-0008-0000-0300-0000E1000000}"/>
          </ac:spMkLst>
        </pc:spChg>
        <pc:spChg chg="mod">
          <ac:chgData name="Schjold, Hanne Røvig" userId="72e82339-bab0-442f-8ca6-e6f386a713ee" providerId="ADAL" clId="{9706D415-2DA0-4D00-90B6-E46BF852F024}" dt="2023-03-16T12:49:25.666" v="782" actId="1038"/>
          <ac:spMkLst>
            <pc:docMk/>
            <pc:sldMk cId="2278995086" sldId="729"/>
            <ac:spMk id="2838" creationId="{00000000-0008-0000-0300-0000E2000000}"/>
          </ac:spMkLst>
        </pc:spChg>
        <pc:spChg chg="mod">
          <ac:chgData name="Schjold, Hanne Røvig" userId="72e82339-bab0-442f-8ca6-e6f386a713ee" providerId="ADAL" clId="{9706D415-2DA0-4D00-90B6-E46BF852F024}" dt="2023-03-16T12:49:25.666" v="782" actId="1038"/>
          <ac:spMkLst>
            <pc:docMk/>
            <pc:sldMk cId="2278995086" sldId="729"/>
            <ac:spMk id="2839" creationId="{00000000-0008-0000-0300-0000E3000000}"/>
          </ac:spMkLst>
        </pc:spChg>
        <pc:spChg chg="mod">
          <ac:chgData name="Schjold, Hanne Røvig" userId="72e82339-bab0-442f-8ca6-e6f386a713ee" providerId="ADAL" clId="{9706D415-2DA0-4D00-90B6-E46BF852F024}" dt="2023-03-16T12:49:25.666" v="782" actId="1038"/>
          <ac:spMkLst>
            <pc:docMk/>
            <pc:sldMk cId="2278995086" sldId="729"/>
            <ac:spMk id="2840" creationId="{00000000-0008-0000-0300-0000E4000000}"/>
          </ac:spMkLst>
        </pc:spChg>
        <pc:spChg chg="mod">
          <ac:chgData name="Schjold, Hanne Røvig" userId="72e82339-bab0-442f-8ca6-e6f386a713ee" providerId="ADAL" clId="{9706D415-2DA0-4D00-90B6-E46BF852F024}" dt="2023-03-16T12:49:25.666" v="782" actId="1038"/>
          <ac:spMkLst>
            <pc:docMk/>
            <pc:sldMk cId="2278995086" sldId="729"/>
            <ac:spMk id="2841" creationId="{00000000-0008-0000-0300-0000E5000000}"/>
          </ac:spMkLst>
        </pc:spChg>
        <pc:spChg chg="mod">
          <ac:chgData name="Schjold, Hanne Røvig" userId="72e82339-bab0-442f-8ca6-e6f386a713ee" providerId="ADAL" clId="{9706D415-2DA0-4D00-90B6-E46BF852F024}" dt="2023-03-16T12:49:25.666" v="782" actId="1038"/>
          <ac:spMkLst>
            <pc:docMk/>
            <pc:sldMk cId="2278995086" sldId="729"/>
            <ac:spMk id="2842" creationId="{00000000-0008-0000-0300-0000E6000000}"/>
          </ac:spMkLst>
        </pc:spChg>
        <pc:spChg chg="mod">
          <ac:chgData name="Schjold, Hanne Røvig" userId="72e82339-bab0-442f-8ca6-e6f386a713ee" providerId="ADAL" clId="{9706D415-2DA0-4D00-90B6-E46BF852F024}" dt="2023-03-16T12:49:25.666" v="782" actId="1038"/>
          <ac:spMkLst>
            <pc:docMk/>
            <pc:sldMk cId="2278995086" sldId="729"/>
            <ac:spMk id="2843" creationId="{00000000-0008-0000-0300-0000E7000000}"/>
          </ac:spMkLst>
        </pc:spChg>
        <pc:spChg chg="mod">
          <ac:chgData name="Schjold, Hanne Røvig" userId="72e82339-bab0-442f-8ca6-e6f386a713ee" providerId="ADAL" clId="{9706D415-2DA0-4D00-90B6-E46BF852F024}" dt="2023-03-16T12:49:25.666" v="782" actId="1038"/>
          <ac:spMkLst>
            <pc:docMk/>
            <pc:sldMk cId="2278995086" sldId="729"/>
            <ac:spMk id="2844" creationId="{00000000-0008-0000-0300-0000E8000000}"/>
          </ac:spMkLst>
        </pc:spChg>
        <pc:spChg chg="mod">
          <ac:chgData name="Schjold, Hanne Røvig" userId="72e82339-bab0-442f-8ca6-e6f386a713ee" providerId="ADAL" clId="{9706D415-2DA0-4D00-90B6-E46BF852F024}" dt="2023-03-16T12:49:25.666" v="782" actId="1038"/>
          <ac:spMkLst>
            <pc:docMk/>
            <pc:sldMk cId="2278995086" sldId="729"/>
            <ac:spMk id="2845" creationId="{00000000-0008-0000-0300-0000E9000000}"/>
          </ac:spMkLst>
        </pc:spChg>
        <pc:spChg chg="mod">
          <ac:chgData name="Schjold, Hanne Røvig" userId="72e82339-bab0-442f-8ca6-e6f386a713ee" providerId="ADAL" clId="{9706D415-2DA0-4D00-90B6-E46BF852F024}" dt="2023-03-16T12:49:25.666" v="782" actId="1038"/>
          <ac:spMkLst>
            <pc:docMk/>
            <pc:sldMk cId="2278995086" sldId="729"/>
            <ac:spMk id="2846" creationId="{00000000-0008-0000-0300-0000EA000000}"/>
          </ac:spMkLst>
        </pc:spChg>
        <pc:spChg chg="mod">
          <ac:chgData name="Schjold, Hanne Røvig" userId="72e82339-bab0-442f-8ca6-e6f386a713ee" providerId="ADAL" clId="{9706D415-2DA0-4D00-90B6-E46BF852F024}" dt="2023-03-16T12:49:25.666" v="782" actId="1038"/>
          <ac:spMkLst>
            <pc:docMk/>
            <pc:sldMk cId="2278995086" sldId="729"/>
            <ac:spMk id="2847" creationId="{00000000-0008-0000-0300-0000EB000000}"/>
          </ac:spMkLst>
        </pc:spChg>
        <pc:spChg chg="mod">
          <ac:chgData name="Schjold, Hanne Røvig" userId="72e82339-bab0-442f-8ca6-e6f386a713ee" providerId="ADAL" clId="{9706D415-2DA0-4D00-90B6-E46BF852F024}" dt="2023-03-16T12:49:25.666" v="782" actId="1038"/>
          <ac:spMkLst>
            <pc:docMk/>
            <pc:sldMk cId="2278995086" sldId="729"/>
            <ac:spMk id="2848" creationId="{00000000-0008-0000-0300-0000EC000000}"/>
          </ac:spMkLst>
        </pc:spChg>
        <pc:spChg chg="mod">
          <ac:chgData name="Schjold, Hanne Røvig" userId="72e82339-bab0-442f-8ca6-e6f386a713ee" providerId="ADAL" clId="{9706D415-2DA0-4D00-90B6-E46BF852F024}" dt="2023-03-16T12:49:25.666" v="782" actId="1038"/>
          <ac:spMkLst>
            <pc:docMk/>
            <pc:sldMk cId="2278995086" sldId="729"/>
            <ac:spMk id="2849" creationId="{00000000-0008-0000-0300-0000ED000000}"/>
          </ac:spMkLst>
        </pc:spChg>
        <pc:spChg chg="mod">
          <ac:chgData name="Schjold, Hanne Røvig" userId="72e82339-bab0-442f-8ca6-e6f386a713ee" providerId="ADAL" clId="{9706D415-2DA0-4D00-90B6-E46BF852F024}" dt="2023-03-16T12:49:25.666" v="782" actId="1038"/>
          <ac:spMkLst>
            <pc:docMk/>
            <pc:sldMk cId="2278995086" sldId="729"/>
            <ac:spMk id="2850" creationId="{00000000-0008-0000-0300-0000EE000000}"/>
          </ac:spMkLst>
        </pc:spChg>
        <pc:spChg chg="mod">
          <ac:chgData name="Schjold, Hanne Røvig" userId="72e82339-bab0-442f-8ca6-e6f386a713ee" providerId="ADAL" clId="{9706D415-2DA0-4D00-90B6-E46BF852F024}" dt="2023-03-16T12:49:25.666" v="782" actId="1038"/>
          <ac:spMkLst>
            <pc:docMk/>
            <pc:sldMk cId="2278995086" sldId="729"/>
            <ac:spMk id="2851" creationId="{00000000-0008-0000-0300-0000EF000000}"/>
          </ac:spMkLst>
        </pc:spChg>
        <pc:spChg chg="mod">
          <ac:chgData name="Schjold, Hanne Røvig" userId="72e82339-bab0-442f-8ca6-e6f386a713ee" providerId="ADAL" clId="{9706D415-2DA0-4D00-90B6-E46BF852F024}" dt="2023-03-16T12:49:25.666" v="782" actId="1038"/>
          <ac:spMkLst>
            <pc:docMk/>
            <pc:sldMk cId="2278995086" sldId="729"/>
            <ac:spMk id="2852" creationId="{00000000-0008-0000-0300-0000F0000000}"/>
          </ac:spMkLst>
        </pc:spChg>
        <pc:spChg chg="mod">
          <ac:chgData name="Schjold, Hanne Røvig" userId="72e82339-bab0-442f-8ca6-e6f386a713ee" providerId="ADAL" clId="{9706D415-2DA0-4D00-90B6-E46BF852F024}" dt="2023-03-16T12:49:25.666" v="782" actId="1038"/>
          <ac:spMkLst>
            <pc:docMk/>
            <pc:sldMk cId="2278995086" sldId="729"/>
            <ac:spMk id="2853" creationId="{00000000-0008-0000-0300-0000F1000000}"/>
          </ac:spMkLst>
        </pc:spChg>
        <pc:spChg chg="mod">
          <ac:chgData name="Schjold, Hanne Røvig" userId="72e82339-bab0-442f-8ca6-e6f386a713ee" providerId="ADAL" clId="{9706D415-2DA0-4D00-90B6-E46BF852F024}" dt="2023-03-16T12:49:25.666" v="782" actId="1038"/>
          <ac:spMkLst>
            <pc:docMk/>
            <pc:sldMk cId="2278995086" sldId="729"/>
            <ac:spMk id="2854" creationId="{00000000-0008-0000-0300-0000F2000000}"/>
          </ac:spMkLst>
        </pc:spChg>
        <pc:spChg chg="mod">
          <ac:chgData name="Schjold, Hanne Røvig" userId="72e82339-bab0-442f-8ca6-e6f386a713ee" providerId="ADAL" clId="{9706D415-2DA0-4D00-90B6-E46BF852F024}" dt="2023-03-16T12:49:25.666" v="782" actId="1038"/>
          <ac:spMkLst>
            <pc:docMk/>
            <pc:sldMk cId="2278995086" sldId="729"/>
            <ac:spMk id="2855" creationId="{00000000-0008-0000-0300-0000F3000000}"/>
          </ac:spMkLst>
        </pc:spChg>
        <pc:spChg chg="mod">
          <ac:chgData name="Schjold, Hanne Røvig" userId="72e82339-bab0-442f-8ca6-e6f386a713ee" providerId="ADAL" clId="{9706D415-2DA0-4D00-90B6-E46BF852F024}" dt="2023-03-16T12:49:25.666" v="782" actId="1038"/>
          <ac:spMkLst>
            <pc:docMk/>
            <pc:sldMk cId="2278995086" sldId="729"/>
            <ac:spMk id="2856" creationId="{00000000-0008-0000-0300-0000F4000000}"/>
          </ac:spMkLst>
        </pc:spChg>
        <pc:spChg chg="mod">
          <ac:chgData name="Schjold, Hanne Røvig" userId="72e82339-bab0-442f-8ca6-e6f386a713ee" providerId="ADAL" clId="{9706D415-2DA0-4D00-90B6-E46BF852F024}" dt="2023-03-16T12:49:25.666" v="782" actId="1038"/>
          <ac:spMkLst>
            <pc:docMk/>
            <pc:sldMk cId="2278995086" sldId="729"/>
            <ac:spMk id="2857" creationId="{00000000-0008-0000-0300-0000F5000000}"/>
          </ac:spMkLst>
        </pc:spChg>
        <pc:spChg chg="mod">
          <ac:chgData name="Schjold, Hanne Røvig" userId="72e82339-bab0-442f-8ca6-e6f386a713ee" providerId="ADAL" clId="{9706D415-2DA0-4D00-90B6-E46BF852F024}" dt="2023-03-16T12:49:25.666" v="782" actId="1038"/>
          <ac:spMkLst>
            <pc:docMk/>
            <pc:sldMk cId="2278995086" sldId="729"/>
            <ac:spMk id="2858" creationId="{00000000-0008-0000-0300-0000F6000000}"/>
          </ac:spMkLst>
        </pc:spChg>
        <pc:spChg chg="mod">
          <ac:chgData name="Schjold, Hanne Røvig" userId="72e82339-bab0-442f-8ca6-e6f386a713ee" providerId="ADAL" clId="{9706D415-2DA0-4D00-90B6-E46BF852F024}" dt="2023-03-16T12:49:25.666" v="782" actId="1038"/>
          <ac:spMkLst>
            <pc:docMk/>
            <pc:sldMk cId="2278995086" sldId="729"/>
            <ac:spMk id="2859" creationId="{00000000-0008-0000-0300-0000F7000000}"/>
          </ac:spMkLst>
        </pc:spChg>
        <pc:spChg chg="mod">
          <ac:chgData name="Schjold, Hanne Røvig" userId="72e82339-bab0-442f-8ca6-e6f386a713ee" providerId="ADAL" clId="{9706D415-2DA0-4D00-90B6-E46BF852F024}" dt="2023-03-16T12:49:25.666" v="782" actId="1038"/>
          <ac:spMkLst>
            <pc:docMk/>
            <pc:sldMk cId="2278995086" sldId="729"/>
            <ac:spMk id="2860" creationId="{00000000-0008-0000-0300-0000F8000000}"/>
          </ac:spMkLst>
        </pc:spChg>
        <pc:spChg chg="mod">
          <ac:chgData name="Schjold, Hanne Røvig" userId="72e82339-bab0-442f-8ca6-e6f386a713ee" providerId="ADAL" clId="{9706D415-2DA0-4D00-90B6-E46BF852F024}" dt="2023-03-16T12:49:25.666" v="782" actId="1038"/>
          <ac:spMkLst>
            <pc:docMk/>
            <pc:sldMk cId="2278995086" sldId="729"/>
            <ac:spMk id="2861" creationId="{00000000-0008-0000-0300-0000F9000000}"/>
          </ac:spMkLst>
        </pc:spChg>
        <pc:spChg chg="mod">
          <ac:chgData name="Schjold, Hanne Røvig" userId="72e82339-bab0-442f-8ca6-e6f386a713ee" providerId="ADAL" clId="{9706D415-2DA0-4D00-90B6-E46BF852F024}" dt="2023-03-16T12:49:25.666" v="782" actId="1038"/>
          <ac:spMkLst>
            <pc:docMk/>
            <pc:sldMk cId="2278995086" sldId="729"/>
            <ac:spMk id="2862" creationId="{00000000-0008-0000-0300-0000FA000000}"/>
          </ac:spMkLst>
        </pc:spChg>
        <pc:spChg chg="mod">
          <ac:chgData name="Schjold, Hanne Røvig" userId="72e82339-bab0-442f-8ca6-e6f386a713ee" providerId="ADAL" clId="{9706D415-2DA0-4D00-90B6-E46BF852F024}" dt="2023-03-16T12:49:25.666" v="782" actId="1038"/>
          <ac:spMkLst>
            <pc:docMk/>
            <pc:sldMk cId="2278995086" sldId="729"/>
            <ac:spMk id="2863" creationId="{00000000-0008-0000-0300-0000FB000000}"/>
          </ac:spMkLst>
        </pc:spChg>
        <pc:spChg chg="mod">
          <ac:chgData name="Schjold, Hanne Røvig" userId="72e82339-bab0-442f-8ca6-e6f386a713ee" providerId="ADAL" clId="{9706D415-2DA0-4D00-90B6-E46BF852F024}" dt="2023-03-16T12:49:25.666" v="782" actId="1038"/>
          <ac:spMkLst>
            <pc:docMk/>
            <pc:sldMk cId="2278995086" sldId="729"/>
            <ac:spMk id="2864" creationId="{00000000-0008-0000-0300-0000FC000000}"/>
          </ac:spMkLst>
        </pc:spChg>
        <pc:spChg chg="mod">
          <ac:chgData name="Schjold, Hanne Røvig" userId="72e82339-bab0-442f-8ca6-e6f386a713ee" providerId="ADAL" clId="{9706D415-2DA0-4D00-90B6-E46BF852F024}" dt="2023-03-16T12:49:25.666" v="782" actId="1038"/>
          <ac:spMkLst>
            <pc:docMk/>
            <pc:sldMk cId="2278995086" sldId="729"/>
            <ac:spMk id="2865" creationId="{00000000-0008-0000-0300-0000FD000000}"/>
          </ac:spMkLst>
        </pc:spChg>
        <pc:spChg chg="mod">
          <ac:chgData name="Schjold, Hanne Røvig" userId="72e82339-bab0-442f-8ca6-e6f386a713ee" providerId="ADAL" clId="{9706D415-2DA0-4D00-90B6-E46BF852F024}" dt="2023-03-16T12:49:25.666" v="782" actId="1038"/>
          <ac:spMkLst>
            <pc:docMk/>
            <pc:sldMk cId="2278995086" sldId="729"/>
            <ac:spMk id="2866" creationId="{00000000-0008-0000-0300-0000FE000000}"/>
          </ac:spMkLst>
        </pc:spChg>
        <pc:spChg chg="mod">
          <ac:chgData name="Schjold, Hanne Røvig" userId="72e82339-bab0-442f-8ca6-e6f386a713ee" providerId="ADAL" clId="{9706D415-2DA0-4D00-90B6-E46BF852F024}" dt="2023-03-16T12:49:25.666" v="782" actId="1038"/>
          <ac:spMkLst>
            <pc:docMk/>
            <pc:sldMk cId="2278995086" sldId="729"/>
            <ac:spMk id="2867" creationId="{00000000-0008-0000-0300-0000FF000000}"/>
          </ac:spMkLst>
        </pc:spChg>
        <pc:spChg chg="mod">
          <ac:chgData name="Schjold, Hanne Røvig" userId="72e82339-bab0-442f-8ca6-e6f386a713ee" providerId="ADAL" clId="{9706D415-2DA0-4D00-90B6-E46BF852F024}" dt="2023-03-16T12:49:25.666" v="782" actId="1038"/>
          <ac:spMkLst>
            <pc:docMk/>
            <pc:sldMk cId="2278995086" sldId="729"/>
            <ac:spMk id="2868" creationId="{00000000-0008-0000-0300-000000010000}"/>
          </ac:spMkLst>
        </pc:spChg>
        <pc:spChg chg="mod">
          <ac:chgData name="Schjold, Hanne Røvig" userId="72e82339-bab0-442f-8ca6-e6f386a713ee" providerId="ADAL" clId="{9706D415-2DA0-4D00-90B6-E46BF852F024}" dt="2023-03-16T12:49:25.666" v="782" actId="1038"/>
          <ac:spMkLst>
            <pc:docMk/>
            <pc:sldMk cId="2278995086" sldId="729"/>
            <ac:spMk id="2869" creationId="{00000000-0008-0000-0300-000001010000}"/>
          </ac:spMkLst>
        </pc:spChg>
        <pc:spChg chg="mod">
          <ac:chgData name="Schjold, Hanne Røvig" userId="72e82339-bab0-442f-8ca6-e6f386a713ee" providerId="ADAL" clId="{9706D415-2DA0-4D00-90B6-E46BF852F024}" dt="2023-03-16T12:49:25.666" v="782" actId="1038"/>
          <ac:spMkLst>
            <pc:docMk/>
            <pc:sldMk cId="2278995086" sldId="729"/>
            <ac:spMk id="2870" creationId="{00000000-0008-0000-0300-000002010000}"/>
          </ac:spMkLst>
        </pc:spChg>
        <pc:spChg chg="mod">
          <ac:chgData name="Schjold, Hanne Røvig" userId="72e82339-bab0-442f-8ca6-e6f386a713ee" providerId="ADAL" clId="{9706D415-2DA0-4D00-90B6-E46BF852F024}" dt="2023-03-16T12:49:25.666" v="782" actId="1038"/>
          <ac:spMkLst>
            <pc:docMk/>
            <pc:sldMk cId="2278995086" sldId="729"/>
            <ac:spMk id="2871" creationId="{00000000-0008-0000-0300-000003010000}"/>
          </ac:spMkLst>
        </pc:spChg>
        <pc:spChg chg="mod">
          <ac:chgData name="Schjold, Hanne Røvig" userId="72e82339-bab0-442f-8ca6-e6f386a713ee" providerId="ADAL" clId="{9706D415-2DA0-4D00-90B6-E46BF852F024}" dt="2023-03-16T12:49:25.666" v="782" actId="1038"/>
          <ac:spMkLst>
            <pc:docMk/>
            <pc:sldMk cId="2278995086" sldId="729"/>
            <ac:spMk id="2872" creationId="{00000000-0008-0000-0300-000004010000}"/>
          </ac:spMkLst>
        </pc:spChg>
        <pc:spChg chg="mod">
          <ac:chgData name="Schjold, Hanne Røvig" userId="72e82339-bab0-442f-8ca6-e6f386a713ee" providerId="ADAL" clId="{9706D415-2DA0-4D00-90B6-E46BF852F024}" dt="2023-03-16T12:49:25.666" v="782" actId="1038"/>
          <ac:spMkLst>
            <pc:docMk/>
            <pc:sldMk cId="2278995086" sldId="729"/>
            <ac:spMk id="2873" creationId="{00000000-0008-0000-0300-000005010000}"/>
          </ac:spMkLst>
        </pc:spChg>
        <pc:spChg chg="mod">
          <ac:chgData name="Schjold, Hanne Røvig" userId="72e82339-bab0-442f-8ca6-e6f386a713ee" providerId="ADAL" clId="{9706D415-2DA0-4D00-90B6-E46BF852F024}" dt="2023-03-16T12:49:25.666" v="782" actId="1038"/>
          <ac:spMkLst>
            <pc:docMk/>
            <pc:sldMk cId="2278995086" sldId="729"/>
            <ac:spMk id="2874" creationId="{00000000-0008-0000-0300-000006010000}"/>
          </ac:spMkLst>
        </pc:spChg>
        <pc:spChg chg="mod">
          <ac:chgData name="Schjold, Hanne Røvig" userId="72e82339-bab0-442f-8ca6-e6f386a713ee" providerId="ADAL" clId="{9706D415-2DA0-4D00-90B6-E46BF852F024}" dt="2023-03-16T12:49:25.666" v="782" actId="1038"/>
          <ac:spMkLst>
            <pc:docMk/>
            <pc:sldMk cId="2278995086" sldId="729"/>
            <ac:spMk id="2875" creationId="{00000000-0008-0000-0300-000007010000}"/>
          </ac:spMkLst>
        </pc:spChg>
        <pc:spChg chg="mod">
          <ac:chgData name="Schjold, Hanne Røvig" userId="72e82339-bab0-442f-8ca6-e6f386a713ee" providerId="ADAL" clId="{9706D415-2DA0-4D00-90B6-E46BF852F024}" dt="2023-03-16T12:49:25.666" v="782" actId="1038"/>
          <ac:spMkLst>
            <pc:docMk/>
            <pc:sldMk cId="2278995086" sldId="729"/>
            <ac:spMk id="2876" creationId="{00000000-0008-0000-0300-000008010000}"/>
          </ac:spMkLst>
        </pc:spChg>
        <pc:spChg chg="mod">
          <ac:chgData name="Schjold, Hanne Røvig" userId="72e82339-bab0-442f-8ca6-e6f386a713ee" providerId="ADAL" clId="{9706D415-2DA0-4D00-90B6-E46BF852F024}" dt="2023-03-16T12:49:25.666" v="782" actId="1038"/>
          <ac:spMkLst>
            <pc:docMk/>
            <pc:sldMk cId="2278995086" sldId="729"/>
            <ac:spMk id="2877" creationId="{00000000-0008-0000-0300-000009010000}"/>
          </ac:spMkLst>
        </pc:spChg>
        <pc:spChg chg="mod">
          <ac:chgData name="Schjold, Hanne Røvig" userId="72e82339-bab0-442f-8ca6-e6f386a713ee" providerId="ADAL" clId="{9706D415-2DA0-4D00-90B6-E46BF852F024}" dt="2023-03-16T12:49:25.666" v="782" actId="1038"/>
          <ac:spMkLst>
            <pc:docMk/>
            <pc:sldMk cId="2278995086" sldId="729"/>
            <ac:spMk id="2878" creationId="{00000000-0008-0000-0300-00000A010000}"/>
          </ac:spMkLst>
        </pc:spChg>
        <pc:spChg chg="mod">
          <ac:chgData name="Schjold, Hanne Røvig" userId="72e82339-bab0-442f-8ca6-e6f386a713ee" providerId="ADAL" clId="{9706D415-2DA0-4D00-90B6-E46BF852F024}" dt="2023-03-16T12:49:25.666" v="782" actId="1038"/>
          <ac:spMkLst>
            <pc:docMk/>
            <pc:sldMk cId="2278995086" sldId="729"/>
            <ac:spMk id="2879" creationId="{00000000-0008-0000-0300-00000B010000}"/>
          </ac:spMkLst>
        </pc:spChg>
        <pc:spChg chg="mod">
          <ac:chgData name="Schjold, Hanne Røvig" userId="72e82339-bab0-442f-8ca6-e6f386a713ee" providerId="ADAL" clId="{9706D415-2DA0-4D00-90B6-E46BF852F024}" dt="2023-03-16T12:49:25.666" v="782" actId="1038"/>
          <ac:spMkLst>
            <pc:docMk/>
            <pc:sldMk cId="2278995086" sldId="729"/>
            <ac:spMk id="2880" creationId="{00000000-0008-0000-0300-00000C010000}"/>
          </ac:spMkLst>
        </pc:spChg>
        <pc:spChg chg="mod">
          <ac:chgData name="Schjold, Hanne Røvig" userId="72e82339-bab0-442f-8ca6-e6f386a713ee" providerId="ADAL" clId="{9706D415-2DA0-4D00-90B6-E46BF852F024}" dt="2023-03-16T12:49:25.666" v="782" actId="1038"/>
          <ac:spMkLst>
            <pc:docMk/>
            <pc:sldMk cId="2278995086" sldId="729"/>
            <ac:spMk id="2881" creationId="{00000000-0008-0000-0300-00000D010000}"/>
          </ac:spMkLst>
        </pc:spChg>
        <pc:spChg chg="mod">
          <ac:chgData name="Schjold, Hanne Røvig" userId="72e82339-bab0-442f-8ca6-e6f386a713ee" providerId="ADAL" clId="{9706D415-2DA0-4D00-90B6-E46BF852F024}" dt="2023-03-16T12:49:25.666" v="782" actId="1038"/>
          <ac:spMkLst>
            <pc:docMk/>
            <pc:sldMk cId="2278995086" sldId="729"/>
            <ac:spMk id="2882" creationId="{00000000-0008-0000-0300-00000E010000}"/>
          </ac:spMkLst>
        </pc:spChg>
        <pc:spChg chg="mod">
          <ac:chgData name="Schjold, Hanne Røvig" userId="72e82339-bab0-442f-8ca6-e6f386a713ee" providerId="ADAL" clId="{9706D415-2DA0-4D00-90B6-E46BF852F024}" dt="2023-03-16T12:49:25.666" v="782" actId="1038"/>
          <ac:spMkLst>
            <pc:docMk/>
            <pc:sldMk cId="2278995086" sldId="729"/>
            <ac:spMk id="2883" creationId="{00000000-0008-0000-0300-00000F010000}"/>
          </ac:spMkLst>
        </pc:spChg>
        <pc:spChg chg="mod">
          <ac:chgData name="Schjold, Hanne Røvig" userId="72e82339-bab0-442f-8ca6-e6f386a713ee" providerId="ADAL" clId="{9706D415-2DA0-4D00-90B6-E46BF852F024}" dt="2023-03-16T12:49:25.666" v="782" actId="1038"/>
          <ac:spMkLst>
            <pc:docMk/>
            <pc:sldMk cId="2278995086" sldId="729"/>
            <ac:spMk id="2884" creationId="{00000000-0008-0000-0300-000010010000}"/>
          </ac:spMkLst>
        </pc:spChg>
        <pc:spChg chg="mod">
          <ac:chgData name="Schjold, Hanne Røvig" userId="72e82339-bab0-442f-8ca6-e6f386a713ee" providerId="ADAL" clId="{9706D415-2DA0-4D00-90B6-E46BF852F024}" dt="2023-03-16T12:49:25.666" v="782" actId="1038"/>
          <ac:spMkLst>
            <pc:docMk/>
            <pc:sldMk cId="2278995086" sldId="729"/>
            <ac:spMk id="2885" creationId="{00000000-0008-0000-0300-000011010000}"/>
          </ac:spMkLst>
        </pc:spChg>
        <pc:spChg chg="mod">
          <ac:chgData name="Schjold, Hanne Røvig" userId="72e82339-bab0-442f-8ca6-e6f386a713ee" providerId="ADAL" clId="{9706D415-2DA0-4D00-90B6-E46BF852F024}" dt="2023-03-16T12:49:25.666" v="782" actId="1038"/>
          <ac:spMkLst>
            <pc:docMk/>
            <pc:sldMk cId="2278995086" sldId="729"/>
            <ac:spMk id="2886" creationId="{00000000-0008-0000-0300-000012010000}"/>
          </ac:spMkLst>
        </pc:spChg>
        <pc:spChg chg="mod">
          <ac:chgData name="Schjold, Hanne Røvig" userId="72e82339-bab0-442f-8ca6-e6f386a713ee" providerId="ADAL" clId="{9706D415-2DA0-4D00-90B6-E46BF852F024}" dt="2023-03-16T12:49:25.666" v="782" actId="1038"/>
          <ac:spMkLst>
            <pc:docMk/>
            <pc:sldMk cId="2278995086" sldId="729"/>
            <ac:spMk id="2887" creationId="{00000000-0008-0000-0300-000013010000}"/>
          </ac:spMkLst>
        </pc:spChg>
        <pc:spChg chg="mod">
          <ac:chgData name="Schjold, Hanne Røvig" userId="72e82339-bab0-442f-8ca6-e6f386a713ee" providerId="ADAL" clId="{9706D415-2DA0-4D00-90B6-E46BF852F024}" dt="2023-03-16T12:49:25.666" v="782" actId="1038"/>
          <ac:spMkLst>
            <pc:docMk/>
            <pc:sldMk cId="2278995086" sldId="729"/>
            <ac:spMk id="2888" creationId="{00000000-0008-0000-0300-000014010000}"/>
          </ac:spMkLst>
        </pc:spChg>
        <pc:spChg chg="mod">
          <ac:chgData name="Schjold, Hanne Røvig" userId="72e82339-bab0-442f-8ca6-e6f386a713ee" providerId="ADAL" clId="{9706D415-2DA0-4D00-90B6-E46BF852F024}" dt="2023-03-16T12:49:25.666" v="782" actId="1038"/>
          <ac:spMkLst>
            <pc:docMk/>
            <pc:sldMk cId="2278995086" sldId="729"/>
            <ac:spMk id="2889" creationId="{00000000-0008-0000-0300-000015010000}"/>
          </ac:spMkLst>
        </pc:spChg>
        <pc:spChg chg="mod">
          <ac:chgData name="Schjold, Hanne Røvig" userId="72e82339-bab0-442f-8ca6-e6f386a713ee" providerId="ADAL" clId="{9706D415-2DA0-4D00-90B6-E46BF852F024}" dt="2023-03-16T12:49:25.666" v="782" actId="1038"/>
          <ac:spMkLst>
            <pc:docMk/>
            <pc:sldMk cId="2278995086" sldId="729"/>
            <ac:spMk id="2890" creationId="{00000000-0008-0000-0300-000016010000}"/>
          </ac:spMkLst>
        </pc:spChg>
        <pc:spChg chg="mod">
          <ac:chgData name="Schjold, Hanne Røvig" userId="72e82339-bab0-442f-8ca6-e6f386a713ee" providerId="ADAL" clId="{9706D415-2DA0-4D00-90B6-E46BF852F024}" dt="2023-03-16T12:49:25.666" v="782" actId="1038"/>
          <ac:spMkLst>
            <pc:docMk/>
            <pc:sldMk cId="2278995086" sldId="729"/>
            <ac:spMk id="2891" creationId="{00000000-0008-0000-0300-000017010000}"/>
          </ac:spMkLst>
        </pc:spChg>
        <pc:spChg chg="mod">
          <ac:chgData name="Schjold, Hanne Røvig" userId="72e82339-bab0-442f-8ca6-e6f386a713ee" providerId="ADAL" clId="{9706D415-2DA0-4D00-90B6-E46BF852F024}" dt="2023-03-16T12:49:25.666" v="782" actId="1038"/>
          <ac:spMkLst>
            <pc:docMk/>
            <pc:sldMk cId="2278995086" sldId="729"/>
            <ac:spMk id="2892" creationId="{00000000-0008-0000-0300-000018010000}"/>
          </ac:spMkLst>
        </pc:spChg>
        <pc:spChg chg="mod">
          <ac:chgData name="Schjold, Hanne Røvig" userId="72e82339-bab0-442f-8ca6-e6f386a713ee" providerId="ADAL" clId="{9706D415-2DA0-4D00-90B6-E46BF852F024}" dt="2023-03-16T12:49:25.666" v="782" actId="1038"/>
          <ac:spMkLst>
            <pc:docMk/>
            <pc:sldMk cId="2278995086" sldId="729"/>
            <ac:spMk id="2893" creationId="{00000000-0008-0000-0300-000019010000}"/>
          </ac:spMkLst>
        </pc:spChg>
        <pc:spChg chg="mod">
          <ac:chgData name="Schjold, Hanne Røvig" userId="72e82339-bab0-442f-8ca6-e6f386a713ee" providerId="ADAL" clId="{9706D415-2DA0-4D00-90B6-E46BF852F024}" dt="2023-03-16T12:49:25.666" v="782" actId="1038"/>
          <ac:spMkLst>
            <pc:docMk/>
            <pc:sldMk cId="2278995086" sldId="729"/>
            <ac:spMk id="2894" creationId="{00000000-0008-0000-0300-00001A010000}"/>
          </ac:spMkLst>
        </pc:spChg>
        <pc:spChg chg="mod">
          <ac:chgData name="Schjold, Hanne Røvig" userId="72e82339-bab0-442f-8ca6-e6f386a713ee" providerId="ADAL" clId="{9706D415-2DA0-4D00-90B6-E46BF852F024}" dt="2023-03-16T12:49:25.666" v="782" actId="1038"/>
          <ac:spMkLst>
            <pc:docMk/>
            <pc:sldMk cId="2278995086" sldId="729"/>
            <ac:spMk id="2895" creationId="{00000000-0008-0000-0300-00001B010000}"/>
          </ac:spMkLst>
        </pc:spChg>
        <pc:spChg chg="mod">
          <ac:chgData name="Schjold, Hanne Røvig" userId="72e82339-bab0-442f-8ca6-e6f386a713ee" providerId="ADAL" clId="{9706D415-2DA0-4D00-90B6-E46BF852F024}" dt="2023-03-16T12:49:25.666" v="782" actId="1038"/>
          <ac:spMkLst>
            <pc:docMk/>
            <pc:sldMk cId="2278995086" sldId="729"/>
            <ac:spMk id="2896" creationId="{00000000-0008-0000-0300-00001C010000}"/>
          </ac:spMkLst>
        </pc:spChg>
        <pc:spChg chg="mod">
          <ac:chgData name="Schjold, Hanne Røvig" userId="72e82339-bab0-442f-8ca6-e6f386a713ee" providerId="ADAL" clId="{9706D415-2DA0-4D00-90B6-E46BF852F024}" dt="2023-03-16T12:49:25.666" v="782" actId="1038"/>
          <ac:spMkLst>
            <pc:docMk/>
            <pc:sldMk cId="2278995086" sldId="729"/>
            <ac:spMk id="2897" creationId="{00000000-0008-0000-0300-00001D010000}"/>
          </ac:spMkLst>
        </pc:spChg>
        <pc:spChg chg="mod">
          <ac:chgData name="Schjold, Hanne Røvig" userId="72e82339-bab0-442f-8ca6-e6f386a713ee" providerId="ADAL" clId="{9706D415-2DA0-4D00-90B6-E46BF852F024}" dt="2023-03-16T12:49:25.666" v="782" actId="1038"/>
          <ac:spMkLst>
            <pc:docMk/>
            <pc:sldMk cId="2278995086" sldId="729"/>
            <ac:spMk id="2898" creationId="{00000000-0008-0000-0300-00001E010000}"/>
          </ac:spMkLst>
        </pc:spChg>
        <pc:spChg chg="mod">
          <ac:chgData name="Schjold, Hanne Røvig" userId="72e82339-bab0-442f-8ca6-e6f386a713ee" providerId="ADAL" clId="{9706D415-2DA0-4D00-90B6-E46BF852F024}" dt="2023-03-16T12:49:25.666" v="782" actId="1038"/>
          <ac:spMkLst>
            <pc:docMk/>
            <pc:sldMk cId="2278995086" sldId="729"/>
            <ac:spMk id="2899" creationId="{00000000-0008-0000-0300-00001F010000}"/>
          </ac:spMkLst>
        </pc:spChg>
        <pc:spChg chg="mod">
          <ac:chgData name="Schjold, Hanne Røvig" userId="72e82339-bab0-442f-8ca6-e6f386a713ee" providerId="ADAL" clId="{9706D415-2DA0-4D00-90B6-E46BF852F024}" dt="2023-03-16T12:49:25.666" v="782" actId="1038"/>
          <ac:spMkLst>
            <pc:docMk/>
            <pc:sldMk cId="2278995086" sldId="729"/>
            <ac:spMk id="2900" creationId="{00000000-0008-0000-0300-000020010000}"/>
          </ac:spMkLst>
        </pc:spChg>
        <pc:spChg chg="mod">
          <ac:chgData name="Schjold, Hanne Røvig" userId="72e82339-bab0-442f-8ca6-e6f386a713ee" providerId="ADAL" clId="{9706D415-2DA0-4D00-90B6-E46BF852F024}" dt="2023-03-16T12:49:25.666" v="782" actId="1038"/>
          <ac:spMkLst>
            <pc:docMk/>
            <pc:sldMk cId="2278995086" sldId="729"/>
            <ac:spMk id="2901" creationId="{00000000-0008-0000-0300-000021010000}"/>
          </ac:spMkLst>
        </pc:spChg>
        <pc:spChg chg="mod">
          <ac:chgData name="Schjold, Hanne Røvig" userId="72e82339-bab0-442f-8ca6-e6f386a713ee" providerId="ADAL" clId="{9706D415-2DA0-4D00-90B6-E46BF852F024}" dt="2023-03-16T12:49:25.666" v="782" actId="1038"/>
          <ac:spMkLst>
            <pc:docMk/>
            <pc:sldMk cId="2278995086" sldId="729"/>
            <ac:spMk id="2902" creationId="{00000000-0008-0000-0300-000022010000}"/>
          </ac:spMkLst>
        </pc:spChg>
        <pc:spChg chg="mod">
          <ac:chgData name="Schjold, Hanne Røvig" userId="72e82339-bab0-442f-8ca6-e6f386a713ee" providerId="ADAL" clId="{9706D415-2DA0-4D00-90B6-E46BF852F024}" dt="2023-03-16T12:49:25.666" v="782" actId="1038"/>
          <ac:spMkLst>
            <pc:docMk/>
            <pc:sldMk cId="2278995086" sldId="729"/>
            <ac:spMk id="2903" creationId="{00000000-0008-0000-0300-000023010000}"/>
          </ac:spMkLst>
        </pc:spChg>
        <pc:spChg chg="mod">
          <ac:chgData name="Schjold, Hanne Røvig" userId="72e82339-bab0-442f-8ca6-e6f386a713ee" providerId="ADAL" clId="{9706D415-2DA0-4D00-90B6-E46BF852F024}" dt="2023-03-16T12:49:25.666" v="782" actId="1038"/>
          <ac:spMkLst>
            <pc:docMk/>
            <pc:sldMk cId="2278995086" sldId="729"/>
            <ac:spMk id="2904" creationId="{00000000-0008-0000-0300-000024010000}"/>
          </ac:spMkLst>
        </pc:spChg>
        <pc:spChg chg="mod">
          <ac:chgData name="Schjold, Hanne Røvig" userId="72e82339-bab0-442f-8ca6-e6f386a713ee" providerId="ADAL" clId="{9706D415-2DA0-4D00-90B6-E46BF852F024}" dt="2023-03-16T12:49:25.666" v="782" actId="1038"/>
          <ac:spMkLst>
            <pc:docMk/>
            <pc:sldMk cId="2278995086" sldId="729"/>
            <ac:spMk id="2905" creationId="{00000000-0008-0000-0300-000025010000}"/>
          </ac:spMkLst>
        </pc:spChg>
        <pc:spChg chg="mod">
          <ac:chgData name="Schjold, Hanne Røvig" userId="72e82339-bab0-442f-8ca6-e6f386a713ee" providerId="ADAL" clId="{9706D415-2DA0-4D00-90B6-E46BF852F024}" dt="2023-03-16T12:49:25.666" v="782" actId="1038"/>
          <ac:spMkLst>
            <pc:docMk/>
            <pc:sldMk cId="2278995086" sldId="729"/>
            <ac:spMk id="2906" creationId="{00000000-0008-0000-0300-000026010000}"/>
          </ac:spMkLst>
        </pc:spChg>
        <pc:spChg chg="mod">
          <ac:chgData name="Schjold, Hanne Røvig" userId="72e82339-bab0-442f-8ca6-e6f386a713ee" providerId="ADAL" clId="{9706D415-2DA0-4D00-90B6-E46BF852F024}" dt="2023-03-16T12:49:25.666" v="782" actId="1038"/>
          <ac:spMkLst>
            <pc:docMk/>
            <pc:sldMk cId="2278995086" sldId="729"/>
            <ac:spMk id="2907" creationId="{00000000-0008-0000-0300-000027010000}"/>
          </ac:spMkLst>
        </pc:spChg>
        <pc:spChg chg="mod">
          <ac:chgData name="Schjold, Hanne Røvig" userId="72e82339-bab0-442f-8ca6-e6f386a713ee" providerId="ADAL" clId="{9706D415-2DA0-4D00-90B6-E46BF852F024}" dt="2023-03-16T12:49:25.666" v="782" actId="1038"/>
          <ac:spMkLst>
            <pc:docMk/>
            <pc:sldMk cId="2278995086" sldId="729"/>
            <ac:spMk id="2908" creationId="{00000000-0008-0000-0300-000028010000}"/>
          </ac:spMkLst>
        </pc:spChg>
        <pc:spChg chg="mod">
          <ac:chgData name="Schjold, Hanne Røvig" userId="72e82339-bab0-442f-8ca6-e6f386a713ee" providerId="ADAL" clId="{9706D415-2DA0-4D00-90B6-E46BF852F024}" dt="2023-03-16T12:49:25.666" v="782" actId="1038"/>
          <ac:spMkLst>
            <pc:docMk/>
            <pc:sldMk cId="2278995086" sldId="729"/>
            <ac:spMk id="2909" creationId="{00000000-0008-0000-0300-000029010000}"/>
          </ac:spMkLst>
        </pc:spChg>
        <pc:spChg chg="mod">
          <ac:chgData name="Schjold, Hanne Røvig" userId="72e82339-bab0-442f-8ca6-e6f386a713ee" providerId="ADAL" clId="{9706D415-2DA0-4D00-90B6-E46BF852F024}" dt="2023-03-16T12:49:25.666" v="782" actId="1038"/>
          <ac:spMkLst>
            <pc:docMk/>
            <pc:sldMk cId="2278995086" sldId="729"/>
            <ac:spMk id="2910" creationId="{00000000-0008-0000-0300-00002A010000}"/>
          </ac:spMkLst>
        </pc:spChg>
        <pc:spChg chg="mod">
          <ac:chgData name="Schjold, Hanne Røvig" userId="72e82339-bab0-442f-8ca6-e6f386a713ee" providerId="ADAL" clId="{9706D415-2DA0-4D00-90B6-E46BF852F024}" dt="2023-03-16T12:49:25.666" v="782" actId="1038"/>
          <ac:spMkLst>
            <pc:docMk/>
            <pc:sldMk cId="2278995086" sldId="729"/>
            <ac:spMk id="2911" creationId="{00000000-0008-0000-0300-00002B010000}"/>
          </ac:spMkLst>
        </pc:spChg>
        <pc:spChg chg="mod">
          <ac:chgData name="Schjold, Hanne Røvig" userId="72e82339-bab0-442f-8ca6-e6f386a713ee" providerId="ADAL" clId="{9706D415-2DA0-4D00-90B6-E46BF852F024}" dt="2023-03-16T12:49:25.666" v="782" actId="1038"/>
          <ac:spMkLst>
            <pc:docMk/>
            <pc:sldMk cId="2278995086" sldId="729"/>
            <ac:spMk id="2912" creationId="{00000000-0008-0000-0300-00002C010000}"/>
          </ac:spMkLst>
        </pc:spChg>
        <pc:spChg chg="mod">
          <ac:chgData name="Schjold, Hanne Røvig" userId="72e82339-bab0-442f-8ca6-e6f386a713ee" providerId="ADAL" clId="{9706D415-2DA0-4D00-90B6-E46BF852F024}" dt="2023-03-16T12:49:25.666" v="782" actId="1038"/>
          <ac:spMkLst>
            <pc:docMk/>
            <pc:sldMk cId="2278995086" sldId="729"/>
            <ac:spMk id="2913" creationId="{00000000-0008-0000-0300-00002D010000}"/>
          </ac:spMkLst>
        </pc:spChg>
        <pc:spChg chg="mod">
          <ac:chgData name="Schjold, Hanne Røvig" userId="72e82339-bab0-442f-8ca6-e6f386a713ee" providerId="ADAL" clId="{9706D415-2DA0-4D00-90B6-E46BF852F024}" dt="2023-03-16T12:49:25.666" v="782" actId="1038"/>
          <ac:spMkLst>
            <pc:docMk/>
            <pc:sldMk cId="2278995086" sldId="729"/>
            <ac:spMk id="2914" creationId="{00000000-0008-0000-0300-00002E010000}"/>
          </ac:spMkLst>
        </pc:spChg>
        <pc:spChg chg="mod">
          <ac:chgData name="Schjold, Hanne Røvig" userId="72e82339-bab0-442f-8ca6-e6f386a713ee" providerId="ADAL" clId="{9706D415-2DA0-4D00-90B6-E46BF852F024}" dt="2023-03-16T12:49:25.666" v="782" actId="1038"/>
          <ac:spMkLst>
            <pc:docMk/>
            <pc:sldMk cId="2278995086" sldId="729"/>
            <ac:spMk id="2915" creationId="{00000000-0008-0000-0300-00002F010000}"/>
          </ac:spMkLst>
        </pc:spChg>
        <pc:spChg chg="mod">
          <ac:chgData name="Schjold, Hanne Røvig" userId="72e82339-bab0-442f-8ca6-e6f386a713ee" providerId="ADAL" clId="{9706D415-2DA0-4D00-90B6-E46BF852F024}" dt="2023-03-16T12:49:25.666" v="782" actId="1038"/>
          <ac:spMkLst>
            <pc:docMk/>
            <pc:sldMk cId="2278995086" sldId="729"/>
            <ac:spMk id="2916" creationId="{00000000-0008-0000-0300-000030010000}"/>
          </ac:spMkLst>
        </pc:spChg>
        <pc:spChg chg="mod">
          <ac:chgData name="Schjold, Hanne Røvig" userId="72e82339-bab0-442f-8ca6-e6f386a713ee" providerId="ADAL" clId="{9706D415-2DA0-4D00-90B6-E46BF852F024}" dt="2023-03-16T12:49:25.666" v="782" actId="1038"/>
          <ac:spMkLst>
            <pc:docMk/>
            <pc:sldMk cId="2278995086" sldId="729"/>
            <ac:spMk id="2917" creationId="{00000000-0008-0000-0300-000031010000}"/>
          </ac:spMkLst>
        </pc:spChg>
        <pc:spChg chg="mod">
          <ac:chgData name="Schjold, Hanne Røvig" userId="72e82339-bab0-442f-8ca6-e6f386a713ee" providerId="ADAL" clId="{9706D415-2DA0-4D00-90B6-E46BF852F024}" dt="2023-03-16T12:49:25.666" v="782" actId="1038"/>
          <ac:spMkLst>
            <pc:docMk/>
            <pc:sldMk cId="2278995086" sldId="729"/>
            <ac:spMk id="2918" creationId="{00000000-0008-0000-0300-000032010000}"/>
          </ac:spMkLst>
        </pc:spChg>
        <pc:spChg chg="mod">
          <ac:chgData name="Schjold, Hanne Røvig" userId="72e82339-bab0-442f-8ca6-e6f386a713ee" providerId="ADAL" clId="{9706D415-2DA0-4D00-90B6-E46BF852F024}" dt="2023-03-16T12:49:25.666" v="782" actId="1038"/>
          <ac:spMkLst>
            <pc:docMk/>
            <pc:sldMk cId="2278995086" sldId="729"/>
            <ac:spMk id="2919" creationId="{00000000-0008-0000-0300-000033010000}"/>
          </ac:spMkLst>
        </pc:spChg>
        <pc:spChg chg="mod">
          <ac:chgData name="Schjold, Hanne Røvig" userId="72e82339-bab0-442f-8ca6-e6f386a713ee" providerId="ADAL" clId="{9706D415-2DA0-4D00-90B6-E46BF852F024}" dt="2023-03-16T12:49:25.666" v="782" actId="1038"/>
          <ac:spMkLst>
            <pc:docMk/>
            <pc:sldMk cId="2278995086" sldId="729"/>
            <ac:spMk id="2920" creationId="{00000000-0008-0000-0300-000034010000}"/>
          </ac:spMkLst>
        </pc:spChg>
        <pc:spChg chg="mod">
          <ac:chgData name="Schjold, Hanne Røvig" userId="72e82339-bab0-442f-8ca6-e6f386a713ee" providerId="ADAL" clId="{9706D415-2DA0-4D00-90B6-E46BF852F024}" dt="2023-03-16T12:49:25.666" v="782" actId="1038"/>
          <ac:spMkLst>
            <pc:docMk/>
            <pc:sldMk cId="2278995086" sldId="729"/>
            <ac:spMk id="2921" creationId="{00000000-0008-0000-0300-000035010000}"/>
          </ac:spMkLst>
        </pc:spChg>
        <pc:spChg chg="mod">
          <ac:chgData name="Schjold, Hanne Røvig" userId="72e82339-bab0-442f-8ca6-e6f386a713ee" providerId="ADAL" clId="{9706D415-2DA0-4D00-90B6-E46BF852F024}" dt="2023-03-16T12:49:25.666" v="782" actId="1038"/>
          <ac:spMkLst>
            <pc:docMk/>
            <pc:sldMk cId="2278995086" sldId="729"/>
            <ac:spMk id="2922" creationId="{00000000-0008-0000-0300-000036010000}"/>
          </ac:spMkLst>
        </pc:spChg>
        <pc:spChg chg="mod">
          <ac:chgData name="Schjold, Hanne Røvig" userId="72e82339-bab0-442f-8ca6-e6f386a713ee" providerId="ADAL" clId="{9706D415-2DA0-4D00-90B6-E46BF852F024}" dt="2023-03-16T12:49:25.666" v="782" actId="1038"/>
          <ac:spMkLst>
            <pc:docMk/>
            <pc:sldMk cId="2278995086" sldId="729"/>
            <ac:spMk id="2923" creationId="{00000000-0008-0000-0300-000037010000}"/>
          </ac:spMkLst>
        </pc:spChg>
        <pc:spChg chg="mod">
          <ac:chgData name="Schjold, Hanne Røvig" userId="72e82339-bab0-442f-8ca6-e6f386a713ee" providerId="ADAL" clId="{9706D415-2DA0-4D00-90B6-E46BF852F024}" dt="2023-03-16T12:49:25.666" v="782" actId="1038"/>
          <ac:spMkLst>
            <pc:docMk/>
            <pc:sldMk cId="2278995086" sldId="729"/>
            <ac:spMk id="2924" creationId="{00000000-0008-0000-0300-000038010000}"/>
          </ac:spMkLst>
        </pc:spChg>
        <pc:spChg chg="mod">
          <ac:chgData name="Schjold, Hanne Røvig" userId="72e82339-bab0-442f-8ca6-e6f386a713ee" providerId="ADAL" clId="{9706D415-2DA0-4D00-90B6-E46BF852F024}" dt="2023-03-16T12:49:25.666" v="782" actId="1038"/>
          <ac:spMkLst>
            <pc:docMk/>
            <pc:sldMk cId="2278995086" sldId="729"/>
            <ac:spMk id="2925" creationId="{00000000-0008-0000-0300-000039010000}"/>
          </ac:spMkLst>
        </pc:spChg>
        <pc:spChg chg="mod">
          <ac:chgData name="Schjold, Hanne Røvig" userId="72e82339-bab0-442f-8ca6-e6f386a713ee" providerId="ADAL" clId="{9706D415-2DA0-4D00-90B6-E46BF852F024}" dt="2023-03-16T12:49:25.666" v="782" actId="1038"/>
          <ac:spMkLst>
            <pc:docMk/>
            <pc:sldMk cId="2278995086" sldId="729"/>
            <ac:spMk id="2926" creationId="{00000000-0008-0000-0300-00003A010000}"/>
          </ac:spMkLst>
        </pc:spChg>
        <pc:spChg chg="mod">
          <ac:chgData name="Schjold, Hanne Røvig" userId="72e82339-bab0-442f-8ca6-e6f386a713ee" providerId="ADAL" clId="{9706D415-2DA0-4D00-90B6-E46BF852F024}" dt="2023-03-16T12:49:25.666" v="782" actId="1038"/>
          <ac:spMkLst>
            <pc:docMk/>
            <pc:sldMk cId="2278995086" sldId="729"/>
            <ac:spMk id="2927" creationId="{00000000-0008-0000-0300-00003B010000}"/>
          </ac:spMkLst>
        </pc:spChg>
        <pc:spChg chg="mod">
          <ac:chgData name="Schjold, Hanne Røvig" userId="72e82339-bab0-442f-8ca6-e6f386a713ee" providerId="ADAL" clId="{9706D415-2DA0-4D00-90B6-E46BF852F024}" dt="2023-03-16T12:49:25.666" v="782" actId="1038"/>
          <ac:spMkLst>
            <pc:docMk/>
            <pc:sldMk cId="2278995086" sldId="729"/>
            <ac:spMk id="2928" creationId="{00000000-0008-0000-0300-00003C010000}"/>
          </ac:spMkLst>
        </pc:spChg>
        <pc:spChg chg="mod">
          <ac:chgData name="Schjold, Hanne Røvig" userId="72e82339-bab0-442f-8ca6-e6f386a713ee" providerId="ADAL" clId="{9706D415-2DA0-4D00-90B6-E46BF852F024}" dt="2023-03-16T12:49:25.666" v="782" actId="1038"/>
          <ac:spMkLst>
            <pc:docMk/>
            <pc:sldMk cId="2278995086" sldId="729"/>
            <ac:spMk id="2929" creationId="{00000000-0008-0000-0300-00003D010000}"/>
          </ac:spMkLst>
        </pc:spChg>
        <pc:spChg chg="mod">
          <ac:chgData name="Schjold, Hanne Røvig" userId="72e82339-bab0-442f-8ca6-e6f386a713ee" providerId="ADAL" clId="{9706D415-2DA0-4D00-90B6-E46BF852F024}" dt="2023-03-16T12:49:25.666" v="782" actId="1038"/>
          <ac:spMkLst>
            <pc:docMk/>
            <pc:sldMk cId="2278995086" sldId="729"/>
            <ac:spMk id="2930" creationId="{00000000-0008-0000-0300-00003E010000}"/>
          </ac:spMkLst>
        </pc:spChg>
        <pc:spChg chg="mod">
          <ac:chgData name="Schjold, Hanne Røvig" userId="72e82339-bab0-442f-8ca6-e6f386a713ee" providerId="ADAL" clId="{9706D415-2DA0-4D00-90B6-E46BF852F024}" dt="2023-03-16T12:49:25.666" v="782" actId="1038"/>
          <ac:spMkLst>
            <pc:docMk/>
            <pc:sldMk cId="2278995086" sldId="729"/>
            <ac:spMk id="2931" creationId="{00000000-0008-0000-0300-00003F010000}"/>
          </ac:spMkLst>
        </pc:spChg>
        <pc:spChg chg="mod">
          <ac:chgData name="Schjold, Hanne Røvig" userId="72e82339-bab0-442f-8ca6-e6f386a713ee" providerId="ADAL" clId="{9706D415-2DA0-4D00-90B6-E46BF852F024}" dt="2023-03-16T12:49:25.666" v="782" actId="1038"/>
          <ac:spMkLst>
            <pc:docMk/>
            <pc:sldMk cId="2278995086" sldId="729"/>
            <ac:spMk id="2932" creationId="{00000000-0008-0000-0300-000040010000}"/>
          </ac:spMkLst>
        </pc:spChg>
        <pc:spChg chg="mod">
          <ac:chgData name="Schjold, Hanne Røvig" userId="72e82339-bab0-442f-8ca6-e6f386a713ee" providerId="ADAL" clId="{9706D415-2DA0-4D00-90B6-E46BF852F024}" dt="2023-03-16T12:49:25.666" v="782" actId="1038"/>
          <ac:spMkLst>
            <pc:docMk/>
            <pc:sldMk cId="2278995086" sldId="729"/>
            <ac:spMk id="2933" creationId="{00000000-0008-0000-0300-000041010000}"/>
          </ac:spMkLst>
        </pc:spChg>
        <pc:spChg chg="mod">
          <ac:chgData name="Schjold, Hanne Røvig" userId="72e82339-bab0-442f-8ca6-e6f386a713ee" providerId="ADAL" clId="{9706D415-2DA0-4D00-90B6-E46BF852F024}" dt="2023-03-16T12:49:25.666" v="782" actId="1038"/>
          <ac:spMkLst>
            <pc:docMk/>
            <pc:sldMk cId="2278995086" sldId="729"/>
            <ac:spMk id="2934" creationId="{00000000-0008-0000-0300-000042010000}"/>
          </ac:spMkLst>
        </pc:spChg>
        <pc:spChg chg="mod">
          <ac:chgData name="Schjold, Hanne Røvig" userId="72e82339-bab0-442f-8ca6-e6f386a713ee" providerId="ADAL" clId="{9706D415-2DA0-4D00-90B6-E46BF852F024}" dt="2023-03-16T12:49:25.666" v="782" actId="1038"/>
          <ac:spMkLst>
            <pc:docMk/>
            <pc:sldMk cId="2278995086" sldId="729"/>
            <ac:spMk id="2935" creationId="{00000000-0008-0000-0300-000043010000}"/>
          </ac:spMkLst>
        </pc:spChg>
        <pc:spChg chg="mod">
          <ac:chgData name="Schjold, Hanne Røvig" userId="72e82339-bab0-442f-8ca6-e6f386a713ee" providerId="ADAL" clId="{9706D415-2DA0-4D00-90B6-E46BF852F024}" dt="2023-03-16T12:49:25.666" v="782" actId="1038"/>
          <ac:spMkLst>
            <pc:docMk/>
            <pc:sldMk cId="2278995086" sldId="729"/>
            <ac:spMk id="2936" creationId="{00000000-0008-0000-0300-000044010000}"/>
          </ac:spMkLst>
        </pc:spChg>
        <pc:spChg chg="mod">
          <ac:chgData name="Schjold, Hanne Røvig" userId="72e82339-bab0-442f-8ca6-e6f386a713ee" providerId="ADAL" clId="{9706D415-2DA0-4D00-90B6-E46BF852F024}" dt="2023-03-16T12:49:25.666" v="782" actId="1038"/>
          <ac:spMkLst>
            <pc:docMk/>
            <pc:sldMk cId="2278995086" sldId="729"/>
            <ac:spMk id="2937" creationId="{00000000-0008-0000-0300-000045010000}"/>
          </ac:spMkLst>
        </pc:spChg>
        <pc:spChg chg="mod">
          <ac:chgData name="Schjold, Hanne Røvig" userId="72e82339-bab0-442f-8ca6-e6f386a713ee" providerId="ADAL" clId="{9706D415-2DA0-4D00-90B6-E46BF852F024}" dt="2023-03-16T12:49:25.666" v="782" actId="1038"/>
          <ac:spMkLst>
            <pc:docMk/>
            <pc:sldMk cId="2278995086" sldId="729"/>
            <ac:spMk id="2938" creationId="{00000000-0008-0000-0300-000046010000}"/>
          </ac:spMkLst>
        </pc:spChg>
        <pc:spChg chg="mod">
          <ac:chgData name="Schjold, Hanne Røvig" userId="72e82339-bab0-442f-8ca6-e6f386a713ee" providerId="ADAL" clId="{9706D415-2DA0-4D00-90B6-E46BF852F024}" dt="2023-03-16T12:49:25.666" v="782" actId="1038"/>
          <ac:spMkLst>
            <pc:docMk/>
            <pc:sldMk cId="2278995086" sldId="729"/>
            <ac:spMk id="2939" creationId="{00000000-0008-0000-0300-000047010000}"/>
          </ac:spMkLst>
        </pc:spChg>
        <pc:spChg chg="mod">
          <ac:chgData name="Schjold, Hanne Røvig" userId="72e82339-bab0-442f-8ca6-e6f386a713ee" providerId="ADAL" clId="{9706D415-2DA0-4D00-90B6-E46BF852F024}" dt="2023-03-16T12:49:25.666" v="782" actId="1038"/>
          <ac:spMkLst>
            <pc:docMk/>
            <pc:sldMk cId="2278995086" sldId="729"/>
            <ac:spMk id="2940" creationId="{00000000-0008-0000-0300-000048010000}"/>
          </ac:spMkLst>
        </pc:spChg>
        <pc:spChg chg="mod">
          <ac:chgData name="Schjold, Hanne Røvig" userId="72e82339-bab0-442f-8ca6-e6f386a713ee" providerId="ADAL" clId="{9706D415-2DA0-4D00-90B6-E46BF852F024}" dt="2023-03-16T12:49:25.666" v="782" actId="1038"/>
          <ac:spMkLst>
            <pc:docMk/>
            <pc:sldMk cId="2278995086" sldId="729"/>
            <ac:spMk id="2941" creationId="{00000000-0008-0000-0300-000049010000}"/>
          </ac:spMkLst>
        </pc:spChg>
        <pc:spChg chg="mod">
          <ac:chgData name="Schjold, Hanne Røvig" userId="72e82339-bab0-442f-8ca6-e6f386a713ee" providerId="ADAL" clId="{9706D415-2DA0-4D00-90B6-E46BF852F024}" dt="2023-03-16T12:49:25.666" v="782" actId="1038"/>
          <ac:spMkLst>
            <pc:docMk/>
            <pc:sldMk cId="2278995086" sldId="729"/>
            <ac:spMk id="2942" creationId="{00000000-0008-0000-0300-00004A010000}"/>
          </ac:spMkLst>
        </pc:spChg>
        <pc:spChg chg="mod">
          <ac:chgData name="Schjold, Hanne Røvig" userId="72e82339-bab0-442f-8ca6-e6f386a713ee" providerId="ADAL" clId="{9706D415-2DA0-4D00-90B6-E46BF852F024}" dt="2023-03-16T12:49:25.666" v="782" actId="1038"/>
          <ac:spMkLst>
            <pc:docMk/>
            <pc:sldMk cId="2278995086" sldId="729"/>
            <ac:spMk id="2943" creationId="{00000000-0008-0000-0300-00004B010000}"/>
          </ac:spMkLst>
        </pc:spChg>
        <pc:spChg chg="mod">
          <ac:chgData name="Schjold, Hanne Røvig" userId="72e82339-bab0-442f-8ca6-e6f386a713ee" providerId="ADAL" clId="{9706D415-2DA0-4D00-90B6-E46BF852F024}" dt="2023-03-16T12:49:25.666" v="782" actId="1038"/>
          <ac:spMkLst>
            <pc:docMk/>
            <pc:sldMk cId="2278995086" sldId="729"/>
            <ac:spMk id="2944" creationId="{00000000-0008-0000-0300-00004C010000}"/>
          </ac:spMkLst>
        </pc:spChg>
        <pc:spChg chg="mod">
          <ac:chgData name="Schjold, Hanne Røvig" userId="72e82339-bab0-442f-8ca6-e6f386a713ee" providerId="ADAL" clId="{9706D415-2DA0-4D00-90B6-E46BF852F024}" dt="2023-03-16T12:49:25.666" v="782" actId="1038"/>
          <ac:spMkLst>
            <pc:docMk/>
            <pc:sldMk cId="2278995086" sldId="729"/>
            <ac:spMk id="2945" creationId="{00000000-0008-0000-0300-00004D010000}"/>
          </ac:spMkLst>
        </pc:spChg>
        <pc:spChg chg="mod">
          <ac:chgData name="Schjold, Hanne Røvig" userId="72e82339-bab0-442f-8ca6-e6f386a713ee" providerId="ADAL" clId="{9706D415-2DA0-4D00-90B6-E46BF852F024}" dt="2023-03-16T12:49:25.666" v="782" actId="1038"/>
          <ac:spMkLst>
            <pc:docMk/>
            <pc:sldMk cId="2278995086" sldId="729"/>
            <ac:spMk id="2946" creationId="{00000000-0008-0000-0300-00004E010000}"/>
          </ac:spMkLst>
        </pc:spChg>
        <pc:spChg chg="mod">
          <ac:chgData name="Schjold, Hanne Røvig" userId="72e82339-bab0-442f-8ca6-e6f386a713ee" providerId="ADAL" clId="{9706D415-2DA0-4D00-90B6-E46BF852F024}" dt="2023-03-16T12:49:25.666" v="782" actId="1038"/>
          <ac:spMkLst>
            <pc:docMk/>
            <pc:sldMk cId="2278995086" sldId="729"/>
            <ac:spMk id="2947" creationId="{00000000-0008-0000-0300-00004F010000}"/>
          </ac:spMkLst>
        </pc:spChg>
        <pc:spChg chg="mod">
          <ac:chgData name="Schjold, Hanne Røvig" userId="72e82339-bab0-442f-8ca6-e6f386a713ee" providerId="ADAL" clId="{9706D415-2DA0-4D00-90B6-E46BF852F024}" dt="2023-03-16T12:49:25.666" v="782" actId="1038"/>
          <ac:spMkLst>
            <pc:docMk/>
            <pc:sldMk cId="2278995086" sldId="729"/>
            <ac:spMk id="2948" creationId="{00000000-0008-0000-0300-000050010000}"/>
          </ac:spMkLst>
        </pc:spChg>
        <pc:spChg chg="mod">
          <ac:chgData name="Schjold, Hanne Røvig" userId="72e82339-bab0-442f-8ca6-e6f386a713ee" providerId="ADAL" clId="{9706D415-2DA0-4D00-90B6-E46BF852F024}" dt="2023-03-16T12:49:25.666" v="782" actId="1038"/>
          <ac:spMkLst>
            <pc:docMk/>
            <pc:sldMk cId="2278995086" sldId="729"/>
            <ac:spMk id="2949" creationId="{00000000-0008-0000-0300-000051010000}"/>
          </ac:spMkLst>
        </pc:spChg>
        <pc:spChg chg="mod">
          <ac:chgData name="Schjold, Hanne Røvig" userId="72e82339-bab0-442f-8ca6-e6f386a713ee" providerId="ADAL" clId="{9706D415-2DA0-4D00-90B6-E46BF852F024}" dt="2023-03-16T12:49:25.666" v="782" actId="1038"/>
          <ac:spMkLst>
            <pc:docMk/>
            <pc:sldMk cId="2278995086" sldId="729"/>
            <ac:spMk id="2950" creationId="{00000000-0008-0000-0300-000052010000}"/>
          </ac:spMkLst>
        </pc:spChg>
        <pc:spChg chg="mod">
          <ac:chgData name="Schjold, Hanne Røvig" userId="72e82339-bab0-442f-8ca6-e6f386a713ee" providerId="ADAL" clId="{9706D415-2DA0-4D00-90B6-E46BF852F024}" dt="2023-03-16T12:49:25.666" v="782" actId="1038"/>
          <ac:spMkLst>
            <pc:docMk/>
            <pc:sldMk cId="2278995086" sldId="729"/>
            <ac:spMk id="2951" creationId="{00000000-0008-0000-0300-000053010000}"/>
          </ac:spMkLst>
        </pc:spChg>
        <pc:spChg chg="mod">
          <ac:chgData name="Schjold, Hanne Røvig" userId="72e82339-bab0-442f-8ca6-e6f386a713ee" providerId="ADAL" clId="{9706D415-2DA0-4D00-90B6-E46BF852F024}" dt="2023-03-16T12:49:25.666" v="782" actId="1038"/>
          <ac:spMkLst>
            <pc:docMk/>
            <pc:sldMk cId="2278995086" sldId="729"/>
            <ac:spMk id="2952" creationId="{00000000-0008-0000-0300-000054010000}"/>
          </ac:spMkLst>
        </pc:spChg>
        <pc:spChg chg="mod">
          <ac:chgData name="Schjold, Hanne Røvig" userId="72e82339-bab0-442f-8ca6-e6f386a713ee" providerId="ADAL" clId="{9706D415-2DA0-4D00-90B6-E46BF852F024}" dt="2023-03-16T12:49:25.666" v="782" actId="1038"/>
          <ac:spMkLst>
            <pc:docMk/>
            <pc:sldMk cId="2278995086" sldId="729"/>
            <ac:spMk id="2953" creationId="{00000000-0008-0000-0300-000055010000}"/>
          </ac:spMkLst>
        </pc:spChg>
        <pc:spChg chg="mod">
          <ac:chgData name="Schjold, Hanne Røvig" userId="72e82339-bab0-442f-8ca6-e6f386a713ee" providerId="ADAL" clId="{9706D415-2DA0-4D00-90B6-E46BF852F024}" dt="2023-03-16T12:49:25.666" v="782" actId="1038"/>
          <ac:spMkLst>
            <pc:docMk/>
            <pc:sldMk cId="2278995086" sldId="729"/>
            <ac:spMk id="2954" creationId="{00000000-0008-0000-0300-000056010000}"/>
          </ac:spMkLst>
        </pc:spChg>
        <pc:spChg chg="mod">
          <ac:chgData name="Schjold, Hanne Røvig" userId="72e82339-bab0-442f-8ca6-e6f386a713ee" providerId="ADAL" clId="{9706D415-2DA0-4D00-90B6-E46BF852F024}" dt="2023-03-16T12:49:25.666" v="782" actId="1038"/>
          <ac:spMkLst>
            <pc:docMk/>
            <pc:sldMk cId="2278995086" sldId="729"/>
            <ac:spMk id="2955" creationId="{00000000-0008-0000-0300-000057010000}"/>
          </ac:spMkLst>
        </pc:spChg>
        <pc:spChg chg="mod">
          <ac:chgData name="Schjold, Hanne Røvig" userId="72e82339-bab0-442f-8ca6-e6f386a713ee" providerId="ADAL" clId="{9706D415-2DA0-4D00-90B6-E46BF852F024}" dt="2023-03-16T12:49:25.666" v="782" actId="1038"/>
          <ac:spMkLst>
            <pc:docMk/>
            <pc:sldMk cId="2278995086" sldId="729"/>
            <ac:spMk id="2956" creationId="{00000000-0008-0000-0300-000058010000}"/>
          </ac:spMkLst>
        </pc:spChg>
        <pc:spChg chg="mod">
          <ac:chgData name="Schjold, Hanne Røvig" userId="72e82339-bab0-442f-8ca6-e6f386a713ee" providerId="ADAL" clId="{9706D415-2DA0-4D00-90B6-E46BF852F024}" dt="2023-03-16T12:49:25.666" v="782" actId="1038"/>
          <ac:spMkLst>
            <pc:docMk/>
            <pc:sldMk cId="2278995086" sldId="729"/>
            <ac:spMk id="2957" creationId="{00000000-0008-0000-0300-000059010000}"/>
          </ac:spMkLst>
        </pc:spChg>
        <pc:spChg chg="mod">
          <ac:chgData name="Schjold, Hanne Røvig" userId="72e82339-bab0-442f-8ca6-e6f386a713ee" providerId="ADAL" clId="{9706D415-2DA0-4D00-90B6-E46BF852F024}" dt="2023-03-16T12:49:25.666" v="782" actId="1038"/>
          <ac:spMkLst>
            <pc:docMk/>
            <pc:sldMk cId="2278995086" sldId="729"/>
            <ac:spMk id="2958" creationId="{00000000-0008-0000-0300-00005A010000}"/>
          </ac:spMkLst>
        </pc:spChg>
        <pc:spChg chg="mod">
          <ac:chgData name="Schjold, Hanne Røvig" userId="72e82339-bab0-442f-8ca6-e6f386a713ee" providerId="ADAL" clId="{9706D415-2DA0-4D00-90B6-E46BF852F024}" dt="2023-03-16T12:49:25.666" v="782" actId="1038"/>
          <ac:spMkLst>
            <pc:docMk/>
            <pc:sldMk cId="2278995086" sldId="729"/>
            <ac:spMk id="2959" creationId="{00000000-0008-0000-0300-00005B010000}"/>
          </ac:spMkLst>
        </pc:spChg>
        <pc:spChg chg="mod">
          <ac:chgData name="Schjold, Hanne Røvig" userId="72e82339-bab0-442f-8ca6-e6f386a713ee" providerId="ADAL" clId="{9706D415-2DA0-4D00-90B6-E46BF852F024}" dt="2023-03-16T12:49:25.666" v="782" actId="1038"/>
          <ac:spMkLst>
            <pc:docMk/>
            <pc:sldMk cId="2278995086" sldId="729"/>
            <ac:spMk id="2960" creationId="{00000000-0008-0000-0300-00005C010000}"/>
          </ac:spMkLst>
        </pc:spChg>
        <pc:spChg chg="mod">
          <ac:chgData name="Schjold, Hanne Røvig" userId="72e82339-bab0-442f-8ca6-e6f386a713ee" providerId="ADAL" clId="{9706D415-2DA0-4D00-90B6-E46BF852F024}" dt="2023-03-16T12:49:25.666" v="782" actId="1038"/>
          <ac:spMkLst>
            <pc:docMk/>
            <pc:sldMk cId="2278995086" sldId="729"/>
            <ac:spMk id="2961" creationId="{00000000-0008-0000-0300-00005D010000}"/>
          </ac:spMkLst>
        </pc:spChg>
        <pc:spChg chg="mod">
          <ac:chgData name="Schjold, Hanne Røvig" userId="72e82339-bab0-442f-8ca6-e6f386a713ee" providerId="ADAL" clId="{9706D415-2DA0-4D00-90B6-E46BF852F024}" dt="2023-03-16T12:49:25.666" v="782" actId="1038"/>
          <ac:spMkLst>
            <pc:docMk/>
            <pc:sldMk cId="2278995086" sldId="729"/>
            <ac:spMk id="2962" creationId="{00000000-0008-0000-0300-00005E010000}"/>
          </ac:spMkLst>
        </pc:spChg>
        <pc:spChg chg="mod">
          <ac:chgData name="Schjold, Hanne Røvig" userId="72e82339-bab0-442f-8ca6-e6f386a713ee" providerId="ADAL" clId="{9706D415-2DA0-4D00-90B6-E46BF852F024}" dt="2023-03-16T12:49:25.666" v="782" actId="1038"/>
          <ac:spMkLst>
            <pc:docMk/>
            <pc:sldMk cId="2278995086" sldId="729"/>
            <ac:spMk id="2963" creationId="{00000000-0008-0000-0300-00005F010000}"/>
          </ac:spMkLst>
        </pc:spChg>
        <pc:spChg chg="mod">
          <ac:chgData name="Schjold, Hanne Røvig" userId="72e82339-bab0-442f-8ca6-e6f386a713ee" providerId="ADAL" clId="{9706D415-2DA0-4D00-90B6-E46BF852F024}" dt="2023-03-16T12:49:25.666" v="782" actId="1038"/>
          <ac:spMkLst>
            <pc:docMk/>
            <pc:sldMk cId="2278995086" sldId="729"/>
            <ac:spMk id="2964" creationId="{00000000-0008-0000-0300-000060010000}"/>
          </ac:spMkLst>
        </pc:spChg>
        <pc:spChg chg="mod">
          <ac:chgData name="Schjold, Hanne Røvig" userId="72e82339-bab0-442f-8ca6-e6f386a713ee" providerId="ADAL" clId="{9706D415-2DA0-4D00-90B6-E46BF852F024}" dt="2023-03-16T12:49:25.666" v="782" actId="1038"/>
          <ac:spMkLst>
            <pc:docMk/>
            <pc:sldMk cId="2278995086" sldId="729"/>
            <ac:spMk id="2965" creationId="{00000000-0008-0000-0300-000061010000}"/>
          </ac:spMkLst>
        </pc:spChg>
        <pc:spChg chg="mod">
          <ac:chgData name="Schjold, Hanne Røvig" userId="72e82339-bab0-442f-8ca6-e6f386a713ee" providerId="ADAL" clId="{9706D415-2DA0-4D00-90B6-E46BF852F024}" dt="2023-03-16T12:49:25.666" v="782" actId="1038"/>
          <ac:spMkLst>
            <pc:docMk/>
            <pc:sldMk cId="2278995086" sldId="729"/>
            <ac:spMk id="2966" creationId="{00000000-0008-0000-0300-000062010000}"/>
          </ac:spMkLst>
        </pc:spChg>
        <pc:spChg chg="mod">
          <ac:chgData name="Schjold, Hanne Røvig" userId="72e82339-bab0-442f-8ca6-e6f386a713ee" providerId="ADAL" clId="{9706D415-2DA0-4D00-90B6-E46BF852F024}" dt="2023-03-16T12:49:25.666" v="782" actId="1038"/>
          <ac:spMkLst>
            <pc:docMk/>
            <pc:sldMk cId="2278995086" sldId="729"/>
            <ac:spMk id="2967" creationId="{00000000-0008-0000-0300-000063010000}"/>
          </ac:spMkLst>
        </pc:spChg>
        <pc:spChg chg="mod">
          <ac:chgData name="Schjold, Hanne Røvig" userId="72e82339-bab0-442f-8ca6-e6f386a713ee" providerId="ADAL" clId="{9706D415-2DA0-4D00-90B6-E46BF852F024}" dt="2023-03-16T12:49:25.666" v="782" actId="1038"/>
          <ac:spMkLst>
            <pc:docMk/>
            <pc:sldMk cId="2278995086" sldId="729"/>
            <ac:spMk id="2968" creationId="{00000000-0008-0000-0300-000064010000}"/>
          </ac:spMkLst>
        </pc:spChg>
        <pc:spChg chg="mod">
          <ac:chgData name="Schjold, Hanne Røvig" userId="72e82339-bab0-442f-8ca6-e6f386a713ee" providerId="ADAL" clId="{9706D415-2DA0-4D00-90B6-E46BF852F024}" dt="2023-03-16T12:49:25.666" v="782" actId="1038"/>
          <ac:spMkLst>
            <pc:docMk/>
            <pc:sldMk cId="2278995086" sldId="729"/>
            <ac:spMk id="2969" creationId="{00000000-0008-0000-0300-000065010000}"/>
          </ac:spMkLst>
        </pc:spChg>
        <pc:spChg chg="mod">
          <ac:chgData name="Schjold, Hanne Røvig" userId="72e82339-bab0-442f-8ca6-e6f386a713ee" providerId="ADAL" clId="{9706D415-2DA0-4D00-90B6-E46BF852F024}" dt="2023-03-16T12:49:25.666" v="782" actId="1038"/>
          <ac:spMkLst>
            <pc:docMk/>
            <pc:sldMk cId="2278995086" sldId="729"/>
            <ac:spMk id="2970" creationId="{00000000-0008-0000-0300-000066010000}"/>
          </ac:spMkLst>
        </pc:spChg>
        <pc:spChg chg="mod">
          <ac:chgData name="Schjold, Hanne Røvig" userId="72e82339-bab0-442f-8ca6-e6f386a713ee" providerId="ADAL" clId="{9706D415-2DA0-4D00-90B6-E46BF852F024}" dt="2023-03-16T12:49:25.666" v="782" actId="1038"/>
          <ac:spMkLst>
            <pc:docMk/>
            <pc:sldMk cId="2278995086" sldId="729"/>
            <ac:spMk id="2971" creationId="{00000000-0008-0000-0300-000067010000}"/>
          </ac:spMkLst>
        </pc:spChg>
        <pc:spChg chg="mod">
          <ac:chgData name="Schjold, Hanne Røvig" userId="72e82339-bab0-442f-8ca6-e6f386a713ee" providerId="ADAL" clId="{9706D415-2DA0-4D00-90B6-E46BF852F024}" dt="2023-03-16T12:49:25.666" v="782" actId="1038"/>
          <ac:spMkLst>
            <pc:docMk/>
            <pc:sldMk cId="2278995086" sldId="729"/>
            <ac:spMk id="2972" creationId="{00000000-0008-0000-0300-000068010000}"/>
          </ac:spMkLst>
        </pc:spChg>
        <pc:spChg chg="mod">
          <ac:chgData name="Schjold, Hanne Røvig" userId="72e82339-bab0-442f-8ca6-e6f386a713ee" providerId="ADAL" clId="{9706D415-2DA0-4D00-90B6-E46BF852F024}" dt="2023-03-16T12:49:25.666" v="782" actId="1038"/>
          <ac:spMkLst>
            <pc:docMk/>
            <pc:sldMk cId="2278995086" sldId="729"/>
            <ac:spMk id="2973" creationId="{00000000-0008-0000-0300-000069010000}"/>
          </ac:spMkLst>
        </pc:spChg>
        <pc:spChg chg="mod">
          <ac:chgData name="Schjold, Hanne Røvig" userId="72e82339-bab0-442f-8ca6-e6f386a713ee" providerId="ADAL" clId="{9706D415-2DA0-4D00-90B6-E46BF852F024}" dt="2023-03-16T12:49:25.666" v="782" actId="1038"/>
          <ac:spMkLst>
            <pc:docMk/>
            <pc:sldMk cId="2278995086" sldId="729"/>
            <ac:spMk id="2974" creationId="{00000000-0008-0000-0300-00006A010000}"/>
          </ac:spMkLst>
        </pc:spChg>
        <pc:spChg chg="mod">
          <ac:chgData name="Schjold, Hanne Røvig" userId="72e82339-bab0-442f-8ca6-e6f386a713ee" providerId="ADAL" clId="{9706D415-2DA0-4D00-90B6-E46BF852F024}" dt="2023-03-16T12:49:25.666" v="782" actId="1038"/>
          <ac:spMkLst>
            <pc:docMk/>
            <pc:sldMk cId="2278995086" sldId="729"/>
            <ac:spMk id="2975" creationId="{00000000-0008-0000-0300-00006B010000}"/>
          </ac:spMkLst>
        </pc:spChg>
        <pc:spChg chg="mod">
          <ac:chgData name="Schjold, Hanne Røvig" userId="72e82339-bab0-442f-8ca6-e6f386a713ee" providerId="ADAL" clId="{9706D415-2DA0-4D00-90B6-E46BF852F024}" dt="2023-03-16T12:49:25.666" v="782" actId="1038"/>
          <ac:spMkLst>
            <pc:docMk/>
            <pc:sldMk cId="2278995086" sldId="729"/>
            <ac:spMk id="2976" creationId="{00000000-0008-0000-0300-00006C010000}"/>
          </ac:spMkLst>
        </pc:spChg>
        <pc:spChg chg="mod">
          <ac:chgData name="Schjold, Hanne Røvig" userId="72e82339-bab0-442f-8ca6-e6f386a713ee" providerId="ADAL" clId="{9706D415-2DA0-4D00-90B6-E46BF852F024}" dt="2023-03-16T12:49:25.666" v="782" actId="1038"/>
          <ac:spMkLst>
            <pc:docMk/>
            <pc:sldMk cId="2278995086" sldId="729"/>
            <ac:spMk id="2977" creationId="{00000000-0008-0000-0300-00006D010000}"/>
          </ac:spMkLst>
        </pc:spChg>
        <pc:spChg chg="mod">
          <ac:chgData name="Schjold, Hanne Røvig" userId="72e82339-bab0-442f-8ca6-e6f386a713ee" providerId="ADAL" clId="{9706D415-2DA0-4D00-90B6-E46BF852F024}" dt="2023-03-16T12:49:25.666" v="782" actId="1038"/>
          <ac:spMkLst>
            <pc:docMk/>
            <pc:sldMk cId="2278995086" sldId="729"/>
            <ac:spMk id="2978" creationId="{00000000-0008-0000-0300-00006E010000}"/>
          </ac:spMkLst>
        </pc:spChg>
        <pc:spChg chg="mod">
          <ac:chgData name="Schjold, Hanne Røvig" userId="72e82339-bab0-442f-8ca6-e6f386a713ee" providerId="ADAL" clId="{9706D415-2DA0-4D00-90B6-E46BF852F024}" dt="2023-03-16T12:49:25.666" v="782" actId="1038"/>
          <ac:spMkLst>
            <pc:docMk/>
            <pc:sldMk cId="2278995086" sldId="729"/>
            <ac:spMk id="2979" creationId="{00000000-0008-0000-0300-00006F010000}"/>
          </ac:spMkLst>
        </pc:spChg>
        <pc:spChg chg="mod">
          <ac:chgData name="Schjold, Hanne Røvig" userId="72e82339-bab0-442f-8ca6-e6f386a713ee" providerId="ADAL" clId="{9706D415-2DA0-4D00-90B6-E46BF852F024}" dt="2023-03-16T12:49:25.666" v="782" actId="1038"/>
          <ac:spMkLst>
            <pc:docMk/>
            <pc:sldMk cId="2278995086" sldId="729"/>
            <ac:spMk id="2980" creationId="{00000000-0008-0000-0300-000070010000}"/>
          </ac:spMkLst>
        </pc:spChg>
        <pc:spChg chg="mod">
          <ac:chgData name="Schjold, Hanne Røvig" userId="72e82339-bab0-442f-8ca6-e6f386a713ee" providerId="ADAL" clId="{9706D415-2DA0-4D00-90B6-E46BF852F024}" dt="2023-03-16T12:49:25.666" v="782" actId="1038"/>
          <ac:spMkLst>
            <pc:docMk/>
            <pc:sldMk cId="2278995086" sldId="729"/>
            <ac:spMk id="2981" creationId="{00000000-0008-0000-0300-000071010000}"/>
          </ac:spMkLst>
        </pc:spChg>
        <pc:spChg chg="mod">
          <ac:chgData name="Schjold, Hanne Røvig" userId="72e82339-bab0-442f-8ca6-e6f386a713ee" providerId="ADAL" clId="{9706D415-2DA0-4D00-90B6-E46BF852F024}" dt="2023-03-16T12:49:25.666" v="782" actId="1038"/>
          <ac:spMkLst>
            <pc:docMk/>
            <pc:sldMk cId="2278995086" sldId="729"/>
            <ac:spMk id="2982" creationId="{00000000-0008-0000-0300-000072010000}"/>
          </ac:spMkLst>
        </pc:spChg>
        <pc:spChg chg="mod">
          <ac:chgData name="Schjold, Hanne Røvig" userId="72e82339-bab0-442f-8ca6-e6f386a713ee" providerId="ADAL" clId="{9706D415-2DA0-4D00-90B6-E46BF852F024}" dt="2023-03-16T12:49:25.666" v="782" actId="1038"/>
          <ac:spMkLst>
            <pc:docMk/>
            <pc:sldMk cId="2278995086" sldId="729"/>
            <ac:spMk id="2983" creationId="{00000000-0008-0000-0300-000073010000}"/>
          </ac:spMkLst>
        </pc:spChg>
        <pc:spChg chg="mod">
          <ac:chgData name="Schjold, Hanne Røvig" userId="72e82339-bab0-442f-8ca6-e6f386a713ee" providerId="ADAL" clId="{9706D415-2DA0-4D00-90B6-E46BF852F024}" dt="2023-03-16T12:49:25.666" v="782" actId="1038"/>
          <ac:spMkLst>
            <pc:docMk/>
            <pc:sldMk cId="2278995086" sldId="729"/>
            <ac:spMk id="2984" creationId="{00000000-0008-0000-0300-000074010000}"/>
          </ac:spMkLst>
        </pc:spChg>
        <pc:spChg chg="mod">
          <ac:chgData name="Schjold, Hanne Røvig" userId="72e82339-bab0-442f-8ca6-e6f386a713ee" providerId="ADAL" clId="{9706D415-2DA0-4D00-90B6-E46BF852F024}" dt="2023-03-16T12:49:25.666" v="782" actId="1038"/>
          <ac:spMkLst>
            <pc:docMk/>
            <pc:sldMk cId="2278995086" sldId="729"/>
            <ac:spMk id="2985" creationId="{00000000-0008-0000-0300-000075010000}"/>
          </ac:spMkLst>
        </pc:spChg>
        <pc:spChg chg="mod">
          <ac:chgData name="Schjold, Hanne Røvig" userId="72e82339-bab0-442f-8ca6-e6f386a713ee" providerId="ADAL" clId="{9706D415-2DA0-4D00-90B6-E46BF852F024}" dt="2023-03-16T12:49:25.666" v="782" actId="1038"/>
          <ac:spMkLst>
            <pc:docMk/>
            <pc:sldMk cId="2278995086" sldId="729"/>
            <ac:spMk id="2986" creationId="{00000000-0008-0000-0300-000076010000}"/>
          </ac:spMkLst>
        </pc:spChg>
        <pc:spChg chg="mod">
          <ac:chgData name="Schjold, Hanne Røvig" userId="72e82339-bab0-442f-8ca6-e6f386a713ee" providerId="ADAL" clId="{9706D415-2DA0-4D00-90B6-E46BF852F024}" dt="2023-03-16T12:49:25.666" v="782" actId="1038"/>
          <ac:spMkLst>
            <pc:docMk/>
            <pc:sldMk cId="2278995086" sldId="729"/>
            <ac:spMk id="2987" creationId="{00000000-0008-0000-0300-000077010000}"/>
          </ac:spMkLst>
        </pc:spChg>
        <pc:spChg chg="mod">
          <ac:chgData name="Schjold, Hanne Røvig" userId="72e82339-bab0-442f-8ca6-e6f386a713ee" providerId="ADAL" clId="{9706D415-2DA0-4D00-90B6-E46BF852F024}" dt="2023-03-16T12:49:25.666" v="782" actId="1038"/>
          <ac:spMkLst>
            <pc:docMk/>
            <pc:sldMk cId="2278995086" sldId="729"/>
            <ac:spMk id="2988" creationId="{00000000-0008-0000-0300-000078010000}"/>
          </ac:spMkLst>
        </pc:spChg>
        <pc:spChg chg="mod">
          <ac:chgData name="Schjold, Hanne Røvig" userId="72e82339-bab0-442f-8ca6-e6f386a713ee" providerId="ADAL" clId="{9706D415-2DA0-4D00-90B6-E46BF852F024}" dt="2023-03-16T12:49:25.666" v="782" actId="1038"/>
          <ac:spMkLst>
            <pc:docMk/>
            <pc:sldMk cId="2278995086" sldId="729"/>
            <ac:spMk id="2989" creationId="{00000000-0008-0000-0300-000079010000}"/>
          </ac:spMkLst>
        </pc:spChg>
        <pc:spChg chg="mod">
          <ac:chgData name="Schjold, Hanne Røvig" userId="72e82339-bab0-442f-8ca6-e6f386a713ee" providerId="ADAL" clId="{9706D415-2DA0-4D00-90B6-E46BF852F024}" dt="2023-03-16T12:49:25.666" v="782" actId="1038"/>
          <ac:spMkLst>
            <pc:docMk/>
            <pc:sldMk cId="2278995086" sldId="729"/>
            <ac:spMk id="2990" creationId="{00000000-0008-0000-0300-00007A010000}"/>
          </ac:spMkLst>
        </pc:spChg>
        <pc:spChg chg="mod">
          <ac:chgData name="Schjold, Hanne Røvig" userId="72e82339-bab0-442f-8ca6-e6f386a713ee" providerId="ADAL" clId="{9706D415-2DA0-4D00-90B6-E46BF852F024}" dt="2023-03-16T12:49:25.666" v="782" actId="1038"/>
          <ac:spMkLst>
            <pc:docMk/>
            <pc:sldMk cId="2278995086" sldId="729"/>
            <ac:spMk id="2991" creationId="{00000000-0008-0000-0300-00007B010000}"/>
          </ac:spMkLst>
        </pc:spChg>
        <pc:spChg chg="mod">
          <ac:chgData name="Schjold, Hanne Røvig" userId="72e82339-bab0-442f-8ca6-e6f386a713ee" providerId="ADAL" clId="{9706D415-2DA0-4D00-90B6-E46BF852F024}" dt="2023-03-16T12:49:25.666" v="782" actId="1038"/>
          <ac:spMkLst>
            <pc:docMk/>
            <pc:sldMk cId="2278995086" sldId="729"/>
            <ac:spMk id="2992" creationId="{00000000-0008-0000-0300-00007C010000}"/>
          </ac:spMkLst>
        </pc:spChg>
        <pc:spChg chg="mod">
          <ac:chgData name="Schjold, Hanne Røvig" userId="72e82339-bab0-442f-8ca6-e6f386a713ee" providerId="ADAL" clId="{9706D415-2DA0-4D00-90B6-E46BF852F024}" dt="2023-03-16T12:49:25.666" v="782" actId="1038"/>
          <ac:spMkLst>
            <pc:docMk/>
            <pc:sldMk cId="2278995086" sldId="729"/>
            <ac:spMk id="2993" creationId="{00000000-0008-0000-0300-00007D010000}"/>
          </ac:spMkLst>
        </pc:spChg>
        <pc:spChg chg="mod">
          <ac:chgData name="Schjold, Hanne Røvig" userId="72e82339-bab0-442f-8ca6-e6f386a713ee" providerId="ADAL" clId="{9706D415-2DA0-4D00-90B6-E46BF852F024}" dt="2023-03-16T12:49:25.666" v="782" actId="1038"/>
          <ac:spMkLst>
            <pc:docMk/>
            <pc:sldMk cId="2278995086" sldId="729"/>
            <ac:spMk id="2994" creationId="{00000000-0008-0000-0300-00007E010000}"/>
          </ac:spMkLst>
        </pc:spChg>
        <pc:spChg chg="mod">
          <ac:chgData name="Schjold, Hanne Røvig" userId="72e82339-bab0-442f-8ca6-e6f386a713ee" providerId="ADAL" clId="{9706D415-2DA0-4D00-90B6-E46BF852F024}" dt="2023-03-16T12:49:25.666" v="782" actId="1038"/>
          <ac:spMkLst>
            <pc:docMk/>
            <pc:sldMk cId="2278995086" sldId="729"/>
            <ac:spMk id="2995" creationId="{00000000-0008-0000-0300-00007F010000}"/>
          </ac:spMkLst>
        </pc:spChg>
        <pc:spChg chg="mod">
          <ac:chgData name="Schjold, Hanne Røvig" userId="72e82339-bab0-442f-8ca6-e6f386a713ee" providerId="ADAL" clId="{9706D415-2DA0-4D00-90B6-E46BF852F024}" dt="2023-03-16T12:49:25.666" v="782" actId="1038"/>
          <ac:spMkLst>
            <pc:docMk/>
            <pc:sldMk cId="2278995086" sldId="729"/>
            <ac:spMk id="2996" creationId="{00000000-0008-0000-0300-000080010000}"/>
          </ac:spMkLst>
        </pc:spChg>
        <pc:spChg chg="mod">
          <ac:chgData name="Schjold, Hanne Røvig" userId="72e82339-bab0-442f-8ca6-e6f386a713ee" providerId="ADAL" clId="{9706D415-2DA0-4D00-90B6-E46BF852F024}" dt="2023-03-16T12:49:25.666" v="782" actId="1038"/>
          <ac:spMkLst>
            <pc:docMk/>
            <pc:sldMk cId="2278995086" sldId="729"/>
            <ac:spMk id="2997" creationId="{00000000-0008-0000-0300-000081010000}"/>
          </ac:spMkLst>
        </pc:spChg>
        <pc:spChg chg="mod">
          <ac:chgData name="Schjold, Hanne Røvig" userId="72e82339-bab0-442f-8ca6-e6f386a713ee" providerId="ADAL" clId="{9706D415-2DA0-4D00-90B6-E46BF852F024}" dt="2023-03-16T12:49:25.666" v="782" actId="1038"/>
          <ac:spMkLst>
            <pc:docMk/>
            <pc:sldMk cId="2278995086" sldId="729"/>
            <ac:spMk id="2998" creationId="{00000000-0008-0000-0300-000082010000}"/>
          </ac:spMkLst>
        </pc:spChg>
        <pc:spChg chg="mod">
          <ac:chgData name="Schjold, Hanne Røvig" userId="72e82339-bab0-442f-8ca6-e6f386a713ee" providerId="ADAL" clId="{9706D415-2DA0-4D00-90B6-E46BF852F024}" dt="2023-03-16T12:49:25.666" v="782" actId="1038"/>
          <ac:spMkLst>
            <pc:docMk/>
            <pc:sldMk cId="2278995086" sldId="729"/>
            <ac:spMk id="2999" creationId="{00000000-0008-0000-0300-000083010000}"/>
          </ac:spMkLst>
        </pc:spChg>
        <pc:spChg chg="mod">
          <ac:chgData name="Schjold, Hanne Røvig" userId="72e82339-bab0-442f-8ca6-e6f386a713ee" providerId="ADAL" clId="{9706D415-2DA0-4D00-90B6-E46BF852F024}" dt="2023-03-16T12:49:25.666" v="782" actId="1038"/>
          <ac:spMkLst>
            <pc:docMk/>
            <pc:sldMk cId="2278995086" sldId="729"/>
            <ac:spMk id="3000" creationId="{00000000-0008-0000-0300-000084010000}"/>
          </ac:spMkLst>
        </pc:spChg>
        <pc:spChg chg="mod">
          <ac:chgData name="Schjold, Hanne Røvig" userId="72e82339-bab0-442f-8ca6-e6f386a713ee" providerId="ADAL" clId="{9706D415-2DA0-4D00-90B6-E46BF852F024}" dt="2023-03-16T12:49:25.666" v="782" actId="1038"/>
          <ac:spMkLst>
            <pc:docMk/>
            <pc:sldMk cId="2278995086" sldId="729"/>
            <ac:spMk id="3001" creationId="{00000000-0008-0000-0300-000085010000}"/>
          </ac:spMkLst>
        </pc:spChg>
        <pc:spChg chg="mod">
          <ac:chgData name="Schjold, Hanne Røvig" userId="72e82339-bab0-442f-8ca6-e6f386a713ee" providerId="ADAL" clId="{9706D415-2DA0-4D00-90B6-E46BF852F024}" dt="2023-03-16T12:49:25.666" v="782" actId="1038"/>
          <ac:spMkLst>
            <pc:docMk/>
            <pc:sldMk cId="2278995086" sldId="729"/>
            <ac:spMk id="3002" creationId="{00000000-0008-0000-0300-000086010000}"/>
          </ac:spMkLst>
        </pc:spChg>
        <pc:spChg chg="mod">
          <ac:chgData name="Schjold, Hanne Røvig" userId="72e82339-bab0-442f-8ca6-e6f386a713ee" providerId="ADAL" clId="{9706D415-2DA0-4D00-90B6-E46BF852F024}" dt="2023-03-16T12:49:25.666" v="782" actId="1038"/>
          <ac:spMkLst>
            <pc:docMk/>
            <pc:sldMk cId="2278995086" sldId="729"/>
            <ac:spMk id="3003" creationId="{00000000-0008-0000-0300-000087010000}"/>
          </ac:spMkLst>
        </pc:spChg>
        <pc:spChg chg="mod">
          <ac:chgData name="Schjold, Hanne Røvig" userId="72e82339-bab0-442f-8ca6-e6f386a713ee" providerId="ADAL" clId="{9706D415-2DA0-4D00-90B6-E46BF852F024}" dt="2023-03-16T12:49:25.666" v="782" actId="1038"/>
          <ac:spMkLst>
            <pc:docMk/>
            <pc:sldMk cId="2278995086" sldId="729"/>
            <ac:spMk id="3004" creationId="{00000000-0008-0000-0300-000088010000}"/>
          </ac:spMkLst>
        </pc:spChg>
        <pc:spChg chg="mod">
          <ac:chgData name="Schjold, Hanne Røvig" userId="72e82339-bab0-442f-8ca6-e6f386a713ee" providerId="ADAL" clId="{9706D415-2DA0-4D00-90B6-E46BF852F024}" dt="2023-03-16T12:49:25.666" v="782" actId="1038"/>
          <ac:spMkLst>
            <pc:docMk/>
            <pc:sldMk cId="2278995086" sldId="729"/>
            <ac:spMk id="3005" creationId="{00000000-0008-0000-0300-000089010000}"/>
          </ac:spMkLst>
        </pc:spChg>
        <pc:spChg chg="mod">
          <ac:chgData name="Schjold, Hanne Røvig" userId="72e82339-bab0-442f-8ca6-e6f386a713ee" providerId="ADAL" clId="{9706D415-2DA0-4D00-90B6-E46BF852F024}" dt="2023-03-16T12:49:25.666" v="782" actId="1038"/>
          <ac:spMkLst>
            <pc:docMk/>
            <pc:sldMk cId="2278995086" sldId="729"/>
            <ac:spMk id="3006" creationId="{00000000-0008-0000-0300-00008A010000}"/>
          </ac:spMkLst>
        </pc:spChg>
        <pc:spChg chg="mod">
          <ac:chgData name="Schjold, Hanne Røvig" userId="72e82339-bab0-442f-8ca6-e6f386a713ee" providerId="ADAL" clId="{9706D415-2DA0-4D00-90B6-E46BF852F024}" dt="2023-03-16T12:49:25.666" v="782" actId="1038"/>
          <ac:spMkLst>
            <pc:docMk/>
            <pc:sldMk cId="2278995086" sldId="729"/>
            <ac:spMk id="3007" creationId="{00000000-0008-0000-0300-00008B010000}"/>
          </ac:spMkLst>
        </pc:spChg>
        <pc:spChg chg="mod">
          <ac:chgData name="Schjold, Hanne Røvig" userId="72e82339-bab0-442f-8ca6-e6f386a713ee" providerId="ADAL" clId="{9706D415-2DA0-4D00-90B6-E46BF852F024}" dt="2023-03-16T12:49:25.666" v="782" actId="1038"/>
          <ac:spMkLst>
            <pc:docMk/>
            <pc:sldMk cId="2278995086" sldId="729"/>
            <ac:spMk id="3008" creationId="{00000000-0008-0000-0300-00008C010000}"/>
          </ac:spMkLst>
        </pc:spChg>
        <pc:spChg chg="mod">
          <ac:chgData name="Schjold, Hanne Røvig" userId="72e82339-bab0-442f-8ca6-e6f386a713ee" providerId="ADAL" clId="{9706D415-2DA0-4D00-90B6-E46BF852F024}" dt="2023-03-16T12:49:25.666" v="782" actId="1038"/>
          <ac:spMkLst>
            <pc:docMk/>
            <pc:sldMk cId="2278995086" sldId="729"/>
            <ac:spMk id="3009" creationId="{00000000-0008-0000-0300-00008D010000}"/>
          </ac:spMkLst>
        </pc:spChg>
        <pc:spChg chg="mod">
          <ac:chgData name="Schjold, Hanne Røvig" userId="72e82339-bab0-442f-8ca6-e6f386a713ee" providerId="ADAL" clId="{9706D415-2DA0-4D00-90B6-E46BF852F024}" dt="2023-03-16T12:49:25.666" v="782" actId="1038"/>
          <ac:spMkLst>
            <pc:docMk/>
            <pc:sldMk cId="2278995086" sldId="729"/>
            <ac:spMk id="3010" creationId="{00000000-0008-0000-0300-00008E010000}"/>
          </ac:spMkLst>
        </pc:spChg>
        <pc:spChg chg="mod">
          <ac:chgData name="Schjold, Hanne Røvig" userId="72e82339-bab0-442f-8ca6-e6f386a713ee" providerId="ADAL" clId="{9706D415-2DA0-4D00-90B6-E46BF852F024}" dt="2023-03-16T12:49:25.666" v="782" actId="1038"/>
          <ac:spMkLst>
            <pc:docMk/>
            <pc:sldMk cId="2278995086" sldId="729"/>
            <ac:spMk id="3011" creationId="{00000000-0008-0000-0300-00008F010000}"/>
          </ac:spMkLst>
        </pc:spChg>
        <pc:spChg chg="mod">
          <ac:chgData name="Schjold, Hanne Røvig" userId="72e82339-bab0-442f-8ca6-e6f386a713ee" providerId="ADAL" clId="{9706D415-2DA0-4D00-90B6-E46BF852F024}" dt="2023-03-16T12:49:25.666" v="782" actId="1038"/>
          <ac:spMkLst>
            <pc:docMk/>
            <pc:sldMk cId="2278995086" sldId="729"/>
            <ac:spMk id="3012" creationId="{00000000-0008-0000-0300-000090010000}"/>
          </ac:spMkLst>
        </pc:spChg>
        <pc:spChg chg="mod">
          <ac:chgData name="Schjold, Hanne Røvig" userId="72e82339-bab0-442f-8ca6-e6f386a713ee" providerId="ADAL" clId="{9706D415-2DA0-4D00-90B6-E46BF852F024}" dt="2023-03-16T12:49:25.666" v="782" actId="1038"/>
          <ac:spMkLst>
            <pc:docMk/>
            <pc:sldMk cId="2278995086" sldId="729"/>
            <ac:spMk id="3013" creationId="{00000000-0008-0000-0300-000091010000}"/>
          </ac:spMkLst>
        </pc:spChg>
        <pc:spChg chg="mod">
          <ac:chgData name="Schjold, Hanne Røvig" userId="72e82339-bab0-442f-8ca6-e6f386a713ee" providerId="ADAL" clId="{9706D415-2DA0-4D00-90B6-E46BF852F024}" dt="2023-03-16T12:49:25.666" v="782" actId="1038"/>
          <ac:spMkLst>
            <pc:docMk/>
            <pc:sldMk cId="2278995086" sldId="729"/>
            <ac:spMk id="3014" creationId="{00000000-0008-0000-0300-000092010000}"/>
          </ac:spMkLst>
        </pc:spChg>
        <pc:spChg chg="mod">
          <ac:chgData name="Schjold, Hanne Røvig" userId="72e82339-bab0-442f-8ca6-e6f386a713ee" providerId="ADAL" clId="{9706D415-2DA0-4D00-90B6-E46BF852F024}" dt="2023-03-16T12:49:25.666" v="782" actId="1038"/>
          <ac:spMkLst>
            <pc:docMk/>
            <pc:sldMk cId="2278995086" sldId="729"/>
            <ac:spMk id="3015" creationId="{00000000-0008-0000-0300-000093010000}"/>
          </ac:spMkLst>
        </pc:spChg>
        <pc:spChg chg="mod">
          <ac:chgData name="Schjold, Hanne Røvig" userId="72e82339-bab0-442f-8ca6-e6f386a713ee" providerId="ADAL" clId="{9706D415-2DA0-4D00-90B6-E46BF852F024}" dt="2023-03-16T12:49:25.666" v="782" actId="1038"/>
          <ac:spMkLst>
            <pc:docMk/>
            <pc:sldMk cId="2278995086" sldId="729"/>
            <ac:spMk id="3016" creationId="{00000000-0008-0000-0300-000094010000}"/>
          </ac:spMkLst>
        </pc:spChg>
        <pc:spChg chg="mod">
          <ac:chgData name="Schjold, Hanne Røvig" userId="72e82339-bab0-442f-8ca6-e6f386a713ee" providerId="ADAL" clId="{9706D415-2DA0-4D00-90B6-E46BF852F024}" dt="2023-03-16T12:49:25.666" v="782" actId="1038"/>
          <ac:spMkLst>
            <pc:docMk/>
            <pc:sldMk cId="2278995086" sldId="729"/>
            <ac:spMk id="3017" creationId="{00000000-0008-0000-0300-000095010000}"/>
          </ac:spMkLst>
        </pc:spChg>
        <pc:spChg chg="mod">
          <ac:chgData name="Schjold, Hanne Røvig" userId="72e82339-bab0-442f-8ca6-e6f386a713ee" providerId="ADAL" clId="{9706D415-2DA0-4D00-90B6-E46BF852F024}" dt="2023-03-16T12:49:25.666" v="782" actId="1038"/>
          <ac:spMkLst>
            <pc:docMk/>
            <pc:sldMk cId="2278995086" sldId="729"/>
            <ac:spMk id="3018" creationId="{00000000-0008-0000-0300-000096010000}"/>
          </ac:spMkLst>
        </pc:spChg>
        <pc:spChg chg="mod">
          <ac:chgData name="Schjold, Hanne Røvig" userId="72e82339-bab0-442f-8ca6-e6f386a713ee" providerId="ADAL" clId="{9706D415-2DA0-4D00-90B6-E46BF852F024}" dt="2023-03-16T12:49:25.666" v="782" actId="1038"/>
          <ac:spMkLst>
            <pc:docMk/>
            <pc:sldMk cId="2278995086" sldId="729"/>
            <ac:spMk id="3019" creationId="{00000000-0008-0000-0300-000097010000}"/>
          </ac:spMkLst>
        </pc:spChg>
        <pc:spChg chg="mod">
          <ac:chgData name="Schjold, Hanne Røvig" userId="72e82339-bab0-442f-8ca6-e6f386a713ee" providerId="ADAL" clId="{9706D415-2DA0-4D00-90B6-E46BF852F024}" dt="2023-03-16T12:49:25.666" v="782" actId="1038"/>
          <ac:spMkLst>
            <pc:docMk/>
            <pc:sldMk cId="2278995086" sldId="729"/>
            <ac:spMk id="3020" creationId="{00000000-0008-0000-0300-000098010000}"/>
          </ac:spMkLst>
        </pc:spChg>
        <pc:spChg chg="mod">
          <ac:chgData name="Schjold, Hanne Røvig" userId="72e82339-bab0-442f-8ca6-e6f386a713ee" providerId="ADAL" clId="{9706D415-2DA0-4D00-90B6-E46BF852F024}" dt="2023-03-16T12:49:25.666" v="782" actId="1038"/>
          <ac:spMkLst>
            <pc:docMk/>
            <pc:sldMk cId="2278995086" sldId="729"/>
            <ac:spMk id="3021" creationId="{00000000-0008-0000-0300-000099010000}"/>
          </ac:spMkLst>
        </pc:spChg>
        <pc:spChg chg="mod">
          <ac:chgData name="Schjold, Hanne Røvig" userId="72e82339-bab0-442f-8ca6-e6f386a713ee" providerId="ADAL" clId="{9706D415-2DA0-4D00-90B6-E46BF852F024}" dt="2023-03-16T12:49:25.666" v="782" actId="1038"/>
          <ac:spMkLst>
            <pc:docMk/>
            <pc:sldMk cId="2278995086" sldId="729"/>
            <ac:spMk id="3022" creationId="{00000000-0008-0000-0300-00009A010000}"/>
          </ac:spMkLst>
        </pc:spChg>
        <pc:spChg chg="mod">
          <ac:chgData name="Schjold, Hanne Røvig" userId="72e82339-bab0-442f-8ca6-e6f386a713ee" providerId="ADAL" clId="{9706D415-2DA0-4D00-90B6-E46BF852F024}" dt="2023-03-16T12:49:25.666" v="782" actId="1038"/>
          <ac:spMkLst>
            <pc:docMk/>
            <pc:sldMk cId="2278995086" sldId="729"/>
            <ac:spMk id="3023" creationId="{00000000-0008-0000-0300-00009B010000}"/>
          </ac:spMkLst>
        </pc:spChg>
        <pc:spChg chg="mod">
          <ac:chgData name="Schjold, Hanne Røvig" userId="72e82339-bab0-442f-8ca6-e6f386a713ee" providerId="ADAL" clId="{9706D415-2DA0-4D00-90B6-E46BF852F024}" dt="2023-03-16T12:49:25.666" v="782" actId="1038"/>
          <ac:spMkLst>
            <pc:docMk/>
            <pc:sldMk cId="2278995086" sldId="729"/>
            <ac:spMk id="3024" creationId="{00000000-0008-0000-0300-00009C010000}"/>
          </ac:spMkLst>
        </pc:spChg>
        <pc:spChg chg="mod">
          <ac:chgData name="Schjold, Hanne Røvig" userId="72e82339-bab0-442f-8ca6-e6f386a713ee" providerId="ADAL" clId="{9706D415-2DA0-4D00-90B6-E46BF852F024}" dt="2023-03-16T12:49:25.666" v="782" actId="1038"/>
          <ac:spMkLst>
            <pc:docMk/>
            <pc:sldMk cId="2278995086" sldId="729"/>
            <ac:spMk id="3025" creationId="{00000000-0008-0000-0300-00009D010000}"/>
          </ac:spMkLst>
        </pc:spChg>
        <pc:spChg chg="mod">
          <ac:chgData name="Schjold, Hanne Røvig" userId="72e82339-bab0-442f-8ca6-e6f386a713ee" providerId="ADAL" clId="{9706D415-2DA0-4D00-90B6-E46BF852F024}" dt="2023-03-16T12:49:25.666" v="782" actId="1038"/>
          <ac:spMkLst>
            <pc:docMk/>
            <pc:sldMk cId="2278995086" sldId="729"/>
            <ac:spMk id="3026" creationId="{00000000-0008-0000-0300-00009E010000}"/>
          </ac:spMkLst>
        </pc:spChg>
        <pc:spChg chg="mod">
          <ac:chgData name="Schjold, Hanne Røvig" userId="72e82339-bab0-442f-8ca6-e6f386a713ee" providerId="ADAL" clId="{9706D415-2DA0-4D00-90B6-E46BF852F024}" dt="2023-03-16T12:49:25.666" v="782" actId="1038"/>
          <ac:spMkLst>
            <pc:docMk/>
            <pc:sldMk cId="2278995086" sldId="729"/>
            <ac:spMk id="3027" creationId="{00000000-0008-0000-0300-00009F010000}"/>
          </ac:spMkLst>
        </pc:spChg>
        <pc:spChg chg="mod">
          <ac:chgData name="Schjold, Hanne Røvig" userId="72e82339-bab0-442f-8ca6-e6f386a713ee" providerId="ADAL" clId="{9706D415-2DA0-4D00-90B6-E46BF852F024}" dt="2023-03-16T12:49:25.666" v="782" actId="1038"/>
          <ac:spMkLst>
            <pc:docMk/>
            <pc:sldMk cId="2278995086" sldId="729"/>
            <ac:spMk id="3028" creationId="{00000000-0008-0000-0300-0000A0010000}"/>
          </ac:spMkLst>
        </pc:spChg>
        <pc:spChg chg="mod">
          <ac:chgData name="Schjold, Hanne Røvig" userId="72e82339-bab0-442f-8ca6-e6f386a713ee" providerId="ADAL" clId="{9706D415-2DA0-4D00-90B6-E46BF852F024}" dt="2023-03-16T12:49:25.666" v="782" actId="1038"/>
          <ac:spMkLst>
            <pc:docMk/>
            <pc:sldMk cId="2278995086" sldId="729"/>
            <ac:spMk id="3029" creationId="{00000000-0008-0000-0300-0000A1010000}"/>
          </ac:spMkLst>
        </pc:spChg>
        <pc:spChg chg="mod">
          <ac:chgData name="Schjold, Hanne Røvig" userId="72e82339-bab0-442f-8ca6-e6f386a713ee" providerId="ADAL" clId="{9706D415-2DA0-4D00-90B6-E46BF852F024}" dt="2023-03-16T12:49:25.666" v="782" actId="1038"/>
          <ac:spMkLst>
            <pc:docMk/>
            <pc:sldMk cId="2278995086" sldId="729"/>
            <ac:spMk id="3030" creationId="{00000000-0008-0000-0300-0000A2010000}"/>
          </ac:spMkLst>
        </pc:spChg>
        <pc:spChg chg="mod">
          <ac:chgData name="Schjold, Hanne Røvig" userId="72e82339-bab0-442f-8ca6-e6f386a713ee" providerId="ADAL" clId="{9706D415-2DA0-4D00-90B6-E46BF852F024}" dt="2023-03-16T12:49:25.666" v="782" actId="1038"/>
          <ac:spMkLst>
            <pc:docMk/>
            <pc:sldMk cId="2278995086" sldId="729"/>
            <ac:spMk id="3031" creationId="{00000000-0008-0000-0300-0000A3010000}"/>
          </ac:spMkLst>
        </pc:spChg>
        <pc:spChg chg="mod">
          <ac:chgData name="Schjold, Hanne Røvig" userId="72e82339-bab0-442f-8ca6-e6f386a713ee" providerId="ADAL" clId="{9706D415-2DA0-4D00-90B6-E46BF852F024}" dt="2023-03-16T12:49:25.666" v="782" actId="1038"/>
          <ac:spMkLst>
            <pc:docMk/>
            <pc:sldMk cId="2278995086" sldId="729"/>
            <ac:spMk id="3032" creationId="{00000000-0008-0000-0300-0000A4010000}"/>
          </ac:spMkLst>
        </pc:spChg>
        <pc:spChg chg="mod">
          <ac:chgData name="Schjold, Hanne Røvig" userId="72e82339-bab0-442f-8ca6-e6f386a713ee" providerId="ADAL" clId="{9706D415-2DA0-4D00-90B6-E46BF852F024}" dt="2023-03-16T12:49:25.666" v="782" actId="1038"/>
          <ac:spMkLst>
            <pc:docMk/>
            <pc:sldMk cId="2278995086" sldId="729"/>
            <ac:spMk id="3033" creationId="{00000000-0008-0000-0300-0000A5010000}"/>
          </ac:spMkLst>
        </pc:spChg>
        <pc:spChg chg="mod">
          <ac:chgData name="Schjold, Hanne Røvig" userId="72e82339-bab0-442f-8ca6-e6f386a713ee" providerId="ADAL" clId="{9706D415-2DA0-4D00-90B6-E46BF852F024}" dt="2023-03-16T12:49:25.666" v="782" actId="1038"/>
          <ac:spMkLst>
            <pc:docMk/>
            <pc:sldMk cId="2278995086" sldId="729"/>
            <ac:spMk id="3034" creationId="{00000000-0008-0000-0300-0000A6010000}"/>
          </ac:spMkLst>
        </pc:spChg>
        <pc:spChg chg="mod">
          <ac:chgData name="Schjold, Hanne Røvig" userId="72e82339-bab0-442f-8ca6-e6f386a713ee" providerId="ADAL" clId="{9706D415-2DA0-4D00-90B6-E46BF852F024}" dt="2023-03-16T12:49:25.666" v="782" actId="1038"/>
          <ac:spMkLst>
            <pc:docMk/>
            <pc:sldMk cId="2278995086" sldId="729"/>
            <ac:spMk id="3035" creationId="{00000000-0008-0000-0300-0000A7010000}"/>
          </ac:spMkLst>
        </pc:spChg>
        <pc:spChg chg="mod">
          <ac:chgData name="Schjold, Hanne Røvig" userId="72e82339-bab0-442f-8ca6-e6f386a713ee" providerId="ADAL" clId="{9706D415-2DA0-4D00-90B6-E46BF852F024}" dt="2023-03-16T12:49:25.666" v="782" actId="1038"/>
          <ac:spMkLst>
            <pc:docMk/>
            <pc:sldMk cId="2278995086" sldId="729"/>
            <ac:spMk id="3036" creationId="{00000000-0008-0000-0300-0000A8010000}"/>
          </ac:spMkLst>
        </pc:spChg>
        <pc:spChg chg="mod">
          <ac:chgData name="Schjold, Hanne Røvig" userId="72e82339-bab0-442f-8ca6-e6f386a713ee" providerId="ADAL" clId="{9706D415-2DA0-4D00-90B6-E46BF852F024}" dt="2023-03-16T12:49:25.666" v="782" actId="1038"/>
          <ac:spMkLst>
            <pc:docMk/>
            <pc:sldMk cId="2278995086" sldId="729"/>
            <ac:spMk id="3037" creationId="{00000000-0008-0000-0300-0000A9010000}"/>
          </ac:spMkLst>
        </pc:spChg>
        <pc:spChg chg="mod">
          <ac:chgData name="Schjold, Hanne Røvig" userId="72e82339-bab0-442f-8ca6-e6f386a713ee" providerId="ADAL" clId="{9706D415-2DA0-4D00-90B6-E46BF852F024}" dt="2023-03-16T12:49:25.666" v="782" actId="1038"/>
          <ac:spMkLst>
            <pc:docMk/>
            <pc:sldMk cId="2278995086" sldId="729"/>
            <ac:spMk id="3038" creationId="{00000000-0008-0000-0300-0000AA010000}"/>
          </ac:spMkLst>
        </pc:spChg>
        <pc:spChg chg="mod">
          <ac:chgData name="Schjold, Hanne Røvig" userId="72e82339-bab0-442f-8ca6-e6f386a713ee" providerId="ADAL" clId="{9706D415-2DA0-4D00-90B6-E46BF852F024}" dt="2023-03-16T12:49:25.666" v="782" actId="1038"/>
          <ac:spMkLst>
            <pc:docMk/>
            <pc:sldMk cId="2278995086" sldId="729"/>
            <ac:spMk id="3039" creationId="{00000000-0008-0000-0300-0000AB010000}"/>
          </ac:spMkLst>
        </pc:spChg>
        <pc:spChg chg="mod">
          <ac:chgData name="Schjold, Hanne Røvig" userId="72e82339-bab0-442f-8ca6-e6f386a713ee" providerId="ADAL" clId="{9706D415-2DA0-4D00-90B6-E46BF852F024}" dt="2023-03-16T12:49:25.666" v="782" actId="1038"/>
          <ac:spMkLst>
            <pc:docMk/>
            <pc:sldMk cId="2278995086" sldId="729"/>
            <ac:spMk id="3040" creationId="{00000000-0008-0000-0300-0000AC010000}"/>
          </ac:spMkLst>
        </pc:spChg>
        <pc:spChg chg="mod">
          <ac:chgData name="Schjold, Hanne Røvig" userId="72e82339-bab0-442f-8ca6-e6f386a713ee" providerId="ADAL" clId="{9706D415-2DA0-4D00-90B6-E46BF852F024}" dt="2023-03-16T12:49:25.666" v="782" actId="1038"/>
          <ac:spMkLst>
            <pc:docMk/>
            <pc:sldMk cId="2278995086" sldId="729"/>
            <ac:spMk id="3041" creationId="{00000000-0008-0000-0300-0000AD010000}"/>
          </ac:spMkLst>
        </pc:spChg>
        <pc:spChg chg="mod">
          <ac:chgData name="Schjold, Hanne Røvig" userId="72e82339-bab0-442f-8ca6-e6f386a713ee" providerId="ADAL" clId="{9706D415-2DA0-4D00-90B6-E46BF852F024}" dt="2023-03-16T12:49:25.666" v="782" actId="1038"/>
          <ac:spMkLst>
            <pc:docMk/>
            <pc:sldMk cId="2278995086" sldId="729"/>
            <ac:spMk id="3042" creationId="{00000000-0008-0000-0300-0000AE010000}"/>
          </ac:spMkLst>
        </pc:spChg>
        <pc:spChg chg="mod">
          <ac:chgData name="Schjold, Hanne Røvig" userId="72e82339-bab0-442f-8ca6-e6f386a713ee" providerId="ADAL" clId="{9706D415-2DA0-4D00-90B6-E46BF852F024}" dt="2023-03-16T12:49:25.666" v="782" actId="1038"/>
          <ac:spMkLst>
            <pc:docMk/>
            <pc:sldMk cId="2278995086" sldId="729"/>
            <ac:spMk id="3043" creationId="{00000000-0008-0000-0300-0000AF010000}"/>
          </ac:spMkLst>
        </pc:spChg>
        <pc:spChg chg="mod">
          <ac:chgData name="Schjold, Hanne Røvig" userId="72e82339-bab0-442f-8ca6-e6f386a713ee" providerId="ADAL" clId="{9706D415-2DA0-4D00-90B6-E46BF852F024}" dt="2023-03-16T12:49:25.666" v="782" actId="1038"/>
          <ac:spMkLst>
            <pc:docMk/>
            <pc:sldMk cId="2278995086" sldId="729"/>
            <ac:spMk id="3044" creationId="{00000000-0008-0000-0300-0000B0010000}"/>
          </ac:spMkLst>
        </pc:spChg>
        <pc:spChg chg="mod">
          <ac:chgData name="Schjold, Hanne Røvig" userId="72e82339-bab0-442f-8ca6-e6f386a713ee" providerId="ADAL" clId="{9706D415-2DA0-4D00-90B6-E46BF852F024}" dt="2023-03-16T12:49:25.666" v="782" actId="1038"/>
          <ac:spMkLst>
            <pc:docMk/>
            <pc:sldMk cId="2278995086" sldId="729"/>
            <ac:spMk id="3045" creationId="{00000000-0008-0000-0300-0000B1010000}"/>
          </ac:spMkLst>
        </pc:spChg>
        <pc:spChg chg="mod">
          <ac:chgData name="Schjold, Hanne Røvig" userId="72e82339-bab0-442f-8ca6-e6f386a713ee" providerId="ADAL" clId="{9706D415-2DA0-4D00-90B6-E46BF852F024}" dt="2023-03-16T12:49:25.666" v="782" actId="1038"/>
          <ac:spMkLst>
            <pc:docMk/>
            <pc:sldMk cId="2278995086" sldId="729"/>
            <ac:spMk id="3046" creationId="{00000000-0008-0000-0300-0000B2010000}"/>
          </ac:spMkLst>
        </pc:spChg>
        <pc:spChg chg="mod">
          <ac:chgData name="Schjold, Hanne Røvig" userId="72e82339-bab0-442f-8ca6-e6f386a713ee" providerId="ADAL" clId="{9706D415-2DA0-4D00-90B6-E46BF852F024}" dt="2023-03-16T12:49:25.666" v="782" actId="1038"/>
          <ac:spMkLst>
            <pc:docMk/>
            <pc:sldMk cId="2278995086" sldId="729"/>
            <ac:spMk id="3047" creationId="{00000000-0008-0000-0300-0000B3010000}"/>
          </ac:spMkLst>
        </pc:spChg>
        <pc:spChg chg="mod">
          <ac:chgData name="Schjold, Hanne Røvig" userId="72e82339-bab0-442f-8ca6-e6f386a713ee" providerId="ADAL" clId="{9706D415-2DA0-4D00-90B6-E46BF852F024}" dt="2023-03-16T12:49:25.666" v="782" actId="1038"/>
          <ac:spMkLst>
            <pc:docMk/>
            <pc:sldMk cId="2278995086" sldId="729"/>
            <ac:spMk id="3048" creationId="{00000000-0008-0000-0300-0000B4010000}"/>
          </ac:spMkLst>
        </pc:spChg>
        <pc:spChg chg="mod">
          <ac:chgData name="Schjold, Hanne Røvig" userId="72e82339-bab0-442f-8ca6-e6f386a713ee" providerId="ADAL" clId="{9706D415-2DA0-4D00-90B6-E46BF852F024}" dt="2023-03-16T12:49:25.666" v="782" actId="1038"/>
          <ac:spMkLst>
            <pc:docMk/>
            <pc:sldMk cId="2278995086" sldId="729"/>
            <ac:spMk id="3049" creationId="{00000000-0008-0000-0300-0000B5010000}"/>
          </ac:spMkLst>
        </pc:spChg>
        <pc:spChg chg="mod">
          <ac:chgData name="Schjold, Hanne Røvig" userId="72e82339-bab0-442f-8ca6-e6f386a713ee" providerId="ADAL" clId="{9706D415-2DA0-4D00-90B6-E46BF852F024}" dt="2023-03-16T12:49:25.666" v="782" actId="1038"/>
          <ac:spMkLst>
            <pc:docMk/>
            <pc:sldMk cId="2278995086" sldId="729"/>
            <ac:spMk id="3050" creationId="{00000000-0008-0000-0300-0000B6010000}"/>
          </ac:spMkLst>
        </pc:spChg>
        <pc:spChg chg="mod">
          <ac:chgData name="Schjold, Hanne Røvig" userId="72e82339-bab0-442f-8ca6-e6f386a713ee" providerId="ADAL" clId="{9706D415-2DA0-4D00-90B6-E46BF852F024}" dt="2023-03-16T12:49:25.666" v="782" actId="1038"/>
          <ac:spMkLst>
            <pc:docMk/>
            <pc:sldMk cId="2278995086" sldId="729"/>
            <ac:spMk id="3051" creationId="{00000000-0008-0000-0300-0000B7010000}"/>
          </ac:spMkLst>
        </pc:spChg>
        <pc:spChg chg="mod">
          <ac:chgData name="Schjold, Hanne Røvig" userId="72e82339-bab0-442f-8ca6-e6f386a713ee" providerId="ADAL" clId="{9706D415-2DA0-4D00-90B6-E46BF852F024}" dt="2023-03-16T12:49:25.666" v="782" actId="1038"/>
          <ac:spMkLst>
            <pc:docMk/>
            <pc:sldMk cId="2278995086" sldId="729"/>
            <ac:spMk id="3052" creationId="{00000000-0008-0000-0300-0000B8010000}"/>
          </ac:spMkLst>
        </pc:spChg>
        <pc:spChg chg="mod">
          <ac:chgData name="Schjold, Hanne Røvig" userId="72e82339-bab0-442f-8ca6-e6f386a713ee" providerId="ADAL" clId="{9706D415-2DA0-4D00-90B6-E46BF852F024}" dt="2023-03-16T12:49:25.666" v="782" actId="1038"/>
          <ac:spMkLst>
            <pc:docMk/>
            <pc:sldMk cId="2278995086" sldId="729"/>
            <ac:spMk id="3053" creationId="{00000000-0008-0000-0300-0000B9010000}"/>
          </ac:spMkLst>
        </pc:spChg>
        <pc:spChg chg="mod">
          <ac:chgData name="Schjold, Hanne Røvig" userId="72e82339-bab0-442f-8ca6-e6f386a713ee" providerId="ADAL" clId="{9706D415-2DA0-4D00-90B6-E46BF852F024}" dt="2023-03-16T12:49:25.666" v="782" actId="1038"/>
          <ac:spMkLst>
            <pc:docMk/>
            <pc:sldMk cId="2278995086" sldId="729"/>
            <ac:spMk id="3054" creationId="{00000000-0008-0000-0300-0000BA010000}"/>
          </ac:spMkLst>
        </pc:spChg>
        <pc:spChg chg="mod">
          <ac:chgData name="Schjold, Hanne Røvig" userId="72e82339-bab0-442f-8ca6-e6f386a713ee" providerId="ADAL" clId="{9706D415-2DA0-4D00-90B6-E46BF852F024}" dt="2023-03-16T12:49:25.666" v="782" actId="1038"/>
          <ac:spMkLst>
            <pc:docMk/>
            <pc:sldMk cId="2278995086" sldId="729"/>
            <ac:spMk id="3055" creationId="{00000000-0008-0000-0300-0000BB010000}"/>
          </ac:spMkLst>
        </pc:spChg>
        <pc:spChg chg="mod">
          <ac:chgData name="Schjold, Hanne Røvig" userId="72e82339-bab0-442f-8ca6-e6f386a713ee" providerId="ADAL" clId="{9706D415-2DA0-4D00-90B6-E46BF852F024}" dt="2023-03-16T12:49:25.666" v="782" actId="1038"/>
          <ac:spMkLst>
            <pc:docMk/>
            <pc:sldMk cId="2278995086" sldId="729"/>
            <ac:spMk id="3056" creationId="{00000000-0008-0000-0300-0000BC010000}"/>
          </ac:spMkLst>
        </pc:spChg>
        <pc:spChg chg="mod">
          <ac:chgData name="Schjold, Hanne Røvig" userId="72e82339-bab0-442f-8ca6-e6f386a713ee" providerId="ADAL" clId="{9706D415-2DA0-4D00-90B6-E46BF852F024}" dt="2023-03-16T12:49:25.666" v="782" actId="1038"/>
          <ac:spMkLst>
            <pc:docMk/>
            <pc:sldMk cId="2278995086" sldId="729"/>
            <ac:spMk id="3057" creationId="{00000000-0008-0000-0300-0000BD010000}"/>
          </ac:spMkLst>
        </pc:spChg>
        <pc:spChg chg="mod">
          <ac:chgData name="Schjold, Hanne Røvig" userId="72e82339-bab0-442f-8ca6-e6f386a713ee" providerId="ADAL" clId="{9706D415-2DA0-4D00-90B6-E46BF852F024}" dt="2023-03-16T12:49:25.666" v="782" actId="1038"/>
          <ac:spMkLst>
            <pc:docMk/>
            <pc:sldMk cId="2278995086" sldId="729"/>
            <ac:spMk id="3058" creationId="{00000000-0008-0000-0300-0000BE010000}"/>
          </ac:spMkLst>
        </pc:spChg>
        <pc:spChg chg="mod">
          <ac:chgData name="Schjold, Hanne Røvig" userId="72e82339-bab0-442f-8ca6-e6f386a713ee" providerId="ADAL" clId="{9706D415-2DA0-4D00-90B6-E46BF852F024}" dt="2023-03-16T12:49:25.666" v="782" actId="1038"/>
          <ac:spMkLst>
            <pc:docMk/>
            <pc:sldMk cId="2278995086" sldId="729"/>
            <ac:spMk id="3059" creationId="{00000000-0008-0000-0300-0000BF010000}"/>
          </ac:spMkLst>
        </pc:spChg>
        <pc:spChg chg="mod">
          <ac:chgData name="Schjold, Hanne Røvig" userId="72e82339-bab0-442f-8ca6-e6f386a713ee" providerId="ADAL" clId="{9706D415-2DA0-4D00-90B6-E46BF852F024}" dt="2023-03-16T12:49:25.666" v="782" actId="1038"/>
          <ac:spMkLst>
            <pc:docMk/>
            <pc:sldMk cId="2278995086" sldId="729"/>
            <ac:spMk id="3060" creationId="{00000000-0008-0000-0300-0000C0010000}"/>
          </ac:spMkLst>
        </pc:spChg>
        <pc:spChg chg="mod">
          <ac:chgData name="Schjold, Hanne Røvig" userId="72e82339-bab0-442f-8ca6-e6f386a713ee" providerId="ADAL" clId="{9706D415-2DA0-4D00-90B6-E46BF852F024}" dt="2023-03-16T12:49:25.666" v="782" actId="1038"/>
          <ac:spMkLst>
            <pc:docMk/>
            <pc:sldMk cId="2278995086" sldId="729"/>
            <ac:spMk id="3061" creationId="{00000000-0008-0000-0300-0000C1010000}"/>
          </ac:spMkLst>
        </pc:spChg>
        <pc:spChg chg="mod">
          <ac:chgData name="Schjold, Hanne Røvig" userId="72e82339-bab0-442f-8ca6-e6f386a713ee" providerId="ADAL" clId="{9706D415-2DA0-4D00-90B6-E46BF852F024}" dt="2023-03-16T12:49:25.666" v="782" actId="1038"/>
          <ac:spMkLst>
            <pc:docMk/>
            <pc:sldMk cId="2278995086" sldId="729"/>
            <ac:spMk id="3062" creationId="{00000000-0008-0000-0300-0000C2010000}"/>
          </ac:spMkLst>
        </pc:spChg>
        <pc:spChg chg="mod">
          <ac:chgData name="Schjold, Hanne Røvig" userId="72e82339-bab0-442f-8ca6-e6f386a713ee" providerId="ADAL" clId="{9706D415-2DA0-4D00-90B6-E46BF852F024}" dt="2023-03-16T12:49:25.666" v="782" actId="1038"/>
          <ac:spMkLst>
            <pc:docMk/>
            <pc:sldMk cId="2278995086" sldId="729"/>
            <ac:spMk id="3063" creationId="{00000000-0008-0000-0300-0000C3010000}"/>
          </ac:spMkLst>
        </pc:spChg>
        <pc:spChg chg="mod">
          <ac:chgData name="Schjold, Hanne Røvig" userId="72e82339-bab0-442f-8ca6-e6f386a713ee" providerId="ADAL" clId="{9706D415-2DA0-4D00-90B6-E46BF852F024}" dt="2023-03-16T12:49:25.666" v="782" actId="1038"/>
          <ac:spMkLst>
            <pc:docMk/>
            <pc:sldMk cId="2278995086" sldId="729"/>
            <ac:spMk id="3064" creationId="{00000000-0008-0000-0300-0000C4010000}"/>
          </ac:spMkLst>
        </pc:spChg>
        <pc:spChg chg="mod">
          <ac:chgData name="Schjold, Hanne Røvig" userId="72e82339-bab0-442f-8ca6-e6f386a713ee" providerId="ADAL" clId="{9706D415-2DA0-4D00-90B6-E46BF852F024}" dt="2023-03-16T12:49:25.666" v="782" actId="1038"/>
          <ac:spMkLst>
            <pc:docMk/>
            <pc:sldMk cId="2278995086" sldId="729"/>
            <ac:spMk id="3065" creationId="{00000000-0008-0000-0300-0000C5010000}"/>
          </ac:spMkLst>
        </pc:spChg>
        <pc:spChg chg="mod">
          <ac:chgData name="Schjold, Hanne Røvig" userId="72e82339-bab0-442f-8ca6-e6f386a713ee" providerId="ADAL" clId="{9706D415-2DA0-4D00-90B6-E46BF852F024}" dt="2023-03-16T12:49:25.666" v="782" actId="1038"/>
          <ac:spMkLst>
            <pc:docMk/>
            <pc:sldMk cId="2278995086" sldId="729"/>
            <ac:spMk id="3066" creationId="{00000000-0008-0000-0300-0000C6010000}"/>
          </ac:spMkLst>
        </pc:spChg>
        <pc:spChg chg="mod">
          <ac:chgData name="Schjold, Hanne Røvig" userId="72e82339-bab0-442f-8ca6-e6f386a713ee" providerId="ADAL" clId="{9706D415-2DA0-4D00-90B6-E46BF852F024}" dt="2023-03-16T12:49:25.666" v="782" actId="1038"/>
          <ac:spMkLst>
            <pc:docMk/>
            <pc:sldMk cId="2278995086" sldId="729"/>
            <ac:spMk id="3067" creationId="{00000000-0008-0000-0300-0000C7010000}"/>
          </ac:spMkLst>
        </pc:spChg>
        <pc:spChg chg="mod">
          <ac:chgData name="Schjold, Hanne Røvig" userId="72e82339-bab0-442f-8ca6-e6f386a713ee" providerId="ADAL" clId="{9706D415-2DA0-4D00-90B6-E46BF852F024}" dt="2023-03-16T12:49:25.666" v="782" actId="1038"/>
          <ac:spMkLst>
            <pc:docMk/>
            <pc:sldMk cId="2278995086" sldId="729"/>
            <ac:spMk id="3068" creationId="{00000000-0008-0000-0300-0000C8010000}"/>
          </ac:spMkLst>
        </pc:spChg>
        <pc:spChg chg="mod">
          <ac:chgData name="Schjold, Hanne Røvig" userId="72e82339-bab0-442f-8ca6-e6f386a713ee" providerId="ADAL" clId="{9706D415-2DA0-4D00-90B6-E46BF852F024}" dt="2023-03-16T12:49:25.666" v="782" actId="1038"/>
          <ac:spMkLst>
            <pc:docMk/>
            <pc:sldMk cId="2278995086" sldId="729"/>
            <ac:spMk id="3069" creationId="{00000000-0008-0000-0300-0000C9010000}"/>
          </ac:spMkLst>
        </pc:spChg>
        <pc:spChg chg="mod">
          <ac:chgData name="Schjold, Hanne Røvig" userId="72e82339-bab0-442f-8ca6-e6f386a713ee" providerId="ADAL" clId="{9706D415-2DA0-4D00-90B6-E46BF852F024}" dt="2023-03-16T12:49:25.666" v="782" actId="1038"/>
          <ac:spMkLst>
            <pc:docMk/>
            <pc:sldMk cId="2278995086" sldId="729"/>
            <ac:spMk id="3070" creationId="{00000000-0008-0000-0300-0000CA010000}"/>
          </ac:spMkLst>
        </pc:spChg>
        <pc:spChg chg="mod">
          <ac:chgData name="Schjold, Hanne Røvig" userId="72e82339-bab0-442f-8ca6-e6f386a713ee" providerId="ADAL" clId="{9706D415-2DA0-4D00-90B6-E46BF852F024}" dt="2023-03-16T12:49:25.666" v="782" actId="1038"/>
          <ac:spMkLst>
            <pc:docMk/>
            <pc:sldMk cId="2278995086" sldId="729"/>
            <ac:spMk id="3071" creationId="{00000000-0008-0000-0300-0000CB010000}"/>
          </ac:spMkLst>
        </pc:spChg>
        <pc:spChg chg="mod">
          <ac:chgData name="Schjold, Hanne Røvig" userId="72e82339-bab0-442f-8ca6-e6f386a713ee" providerId="ADAL" clId="{9706D415-2DA0-4D00-90B6-E46BF852F024}" dt="2023-03-16T12:49:25.666" v="782" actId="1038"/>
          <ac:spMkLst>
            <pc:docMk/>
            <pc:sldMk cId="2278995086" sldId="729"/>
            <ac:spMk id="3072" creationId="{00000000-0008-0000-0300-0000CC010000}"/>
          </ac:spMkLst>
        </pc:spChg>
        <pc:spChg chg="mod">
          <ac:chgData name="Schjold, Hanne Røvig" userId="72e82339-bab0-442f-8ca6-e6f386a713ee" providerId="ADAL" clId="{9706D415-2DA0-4D00-90B6-E46BF852F024}" dt="2023-03-16T12:49:25.666" v="782" actId="1038"/>
          <ac:spMkLst>
            <pc:docMk/>
            <pc:sldMk cId="2278995086" sldId="729"/>
            <ac:spMk id="3073" creationId="{00000000-0008-0000-0300-0000CD010000}"/>
          </ac:spMkLst>
        </pc:spChg>
        <pc:spChg chg="mod">
          <ac:chgData name="Schjold, Hanne Røvig" userId="72e82339-bab0-442f-8ca6-e6f386a713ee" providerId="ADAL" clId="{9706D415-2DA0-4D00-90B6-E46BF852F024}" dt="2023-03-16T12:49:25.666" v="782" actId="1038"/>
          <ac:spMkLst>
            <pc:docMk/>
            <pc:sldMk cId="2278995086" sldId="729"/>
            <ac:spMk id="3074" creationId="{00000000-0008-0000-0300-0000CE010000}"/>
          </ac:spMkLst>
        </pc:spChg>
        <pc:spChg chg="mod">
          <ac:chgData name="Schjold, Hanne Røvig" userId="72e82339-bab0-442f-8ca6-e6f386a713ee" providerId="ADAL" clId="{9706D415-2DA0-4D00-90B6-E46BF852F024}" dt="2023-03-16T12:49:25.666" v="782" actId="1038"/>
          <ac:spMkLst>
            <pc:docMk/>
            <pc:sldMk cId="2278995086" sldId="729"/>
            <ac:spMk id="3075" creationId="{00000000-0008-0000-0300-0000CF010000}"/>
          </ac:spMkLst>
        </pc:spChg>
        <pc:spChg chg="mod">
          <ac:chgData name="Schjold, Hanne Røvig" userId="72e82339-bab0-442f-8ca6-e6f386a713ee" providerId="ADAL" clId="{9706D415-2DA0-4D00-90B6-E46BF852F024}" dt="2023-03-16T12:49:25.666" v="782" actId="1038"/>
          <ac:spMkLst>
            <pc:docMk/>
            <pc:sldMk cId="2278995086" sldId="729"/>
            <ac:spMk id="3076" creationId="{00000000-0008-0000-0300-0000D0010000}"/>
          </ac:spMkLst>
        </pc:spChg>
        <pc:spChg chg="mod">
          <ac:chgData name="Schjold, Hanne Røvig" userId="72e82339-bab0-442f-8ca6-e6f386a713ee" providerId="ADAL" clId="{9706D415-2DA0-4D00-90B6-E46BF852F024}" dt="2023-03-16T12:49:25.666" v="782" actId="1038"/>
          <ac:spMkLst>
            <pc:docMk/>
            <pc:sldMk cId="2278995086" sldId="729"/>
            <ac:spMk id="3077" creationId="{00000000-0008-0000-0300-0000D1010000}"/>
          </ac:spMkLst>
        </pc:spChg>
        <pc:spChg chg="mod">
          <ac:chgData name="Schjold, Hanne Røvig" userId="72e82339-bab0-442f-8ca6-e6f386a713ee" providerId="ADAL" clId="{9706D415-2DA0-4D00-90B6-E46BF852F024}" dt="2023-03-16T12:49:25.666" v="782" actId="1038"/>
          <ac:spMkLst>
            <pc:docMk/>
            <pc:sldMk cId="2278995086" sldId="729"/>
            <ac:spMk id="3078" creationId="{00000000-0008-0000-0300-0000D2010000}"/>
          </ac:spMkLst>
        </pc:spChg>
        <pc:spChg chg="mod">
          <ac:chgData name="Schjold, Hanne Røvig" userId="72e82339-bab0-442f-8ca6-e6f386a713ee" providerId="ADAL" clId="{9706D415-2DA0-4D00-90B6-E46BF852F024}" dt="2023-03-16T12:49:25.666" v="782" actId="1038"/>
          <ac:spMkLst>
            <pc:docMk/>
            <pc:sldMk cId="2278995086" sldId="729"/>
            <ac:spMk id="3079" creationId="{00000000-0008-0000-0300-0000D3010000}"/>
          </ac:spMkLst>
        </pc:spChg>
        <pc:spChg chg="mod">
          <ac:chgData name="Schjold, Hanne Røvig" userId="72e82339-bab0-442f-8ca6-e6f386a713ee" providerId="ADAL" clId="{9706D415-2DA0-4D00-90B6-E46BF852F024}" dt="2023-03-16T12:49:25.666" v="782" actId="1038"/>
          <ac:spMkLst>
            <pc:docMk/>
            <pc:sldMk cId="2278995086" sldId="729"/>
            <ac:spMk id="3080" creationId="{00000000-0008-0000-0300-0000D4010000}"/>
          </ac:spMkLst>
        </pc:spChg>
        <pc:spChg chg="mod">
          <ac:chgData name="Schjold, Hanne Røvig" userId="72e82339-bab0-442f-8ca6-e6f386a713ee" providerId="ADAL" clId="{9706D415-2DA0-4D00-90B6-E46BF852F024}" dt="2023-03-16T12:49:25.666" v="782" actId="1038"/>
          <ac:spMkLst>
            <pc:docMk/>
            <pc:sldMk cId="2278995086" sldId="729"/>
            <ac:spMk id="3081" creationId="{00000000-0008-0000-0300-0000D5010000}"/>
          </ac:spMkLst>
        </pc:spChg>
        <pc:spChg chg="mod">
          <ac:chgData name="Schjold, Hanne Røvig" userId="72e82339-bab0-442f-8ca6-e6f386a713ee" providerId="ADAL" clId="{9706D415-2DA0-4D00-90B6-E46BF852F024}" dt="2023-03-16T12:49:25.666" v="782" actId="1038"/>
          <ac:spMkLst>
            <pc:docMk/>
            <pc:sldMk cId="2278995086" sldId="729"/>
            <ac:spMk id="3082" creationId="{00000000-0008-0000-0300-0000D6010000}"/>
          </ac:spMkLst>
        </pc:spChg>
        <pc:spChg chg="mod">
          <ac:chgData name="Schjold, Hanne Røvig" userId="72e82339-bab0-442f-8ca6-e6f386a713ee" providerId="ADAL" clId="{9706D415-2DA0-4D00-90B6-E46BF852F024}" dt="2023-03-16T12:49:25.666" v="782" actId="1038"/>
          <ac:spMkLst>
            <pc:docMk/>
            <pc:sldMk cId="2278995086" sldId="729"/>
            <ac:spMk id="3083" creationId="{00000000-0008-0000-0300-0000D7010000}"/>
          </ac:spMkLst>
        </pc:spChg>
        <pc:spChg chg="mod">
          <ac:chgData name="Schjold, Hanne Røvig" userId="72e82339-bab0-442f-8ca6-e6f386a713ee" providerId="ADAL" clId="{9706D415-2DA0-4D00-90B6-E46BF852F024}" dt="2023-03-16T12:49:25.666" v="782" actId="1038"/>
          <ac:spMkLst>
            <pc:docMk/>
            <pc:sldMk cId="2278995086" sldId="729"/>
            <ac:spMk id="3084" creationId="{00000000-0008-0000-0300-0000D8010000}"/>
          </ac:spMkLst>
        </pc:spChg>
        <pc:spChg chg="mod">
          <ac:chgData name="Schjold, Hanne Røvig" userId="72e82339-bab0-442f-8ca6-e6f386a713ee" providerId="ADAL" clId="{9706D415-2DA0-4D00-90B6-E46BF852F024}" dt="2023-03-16T12:49:25.666" v="782" actId="1038"/>
          <ac:spMkLst>
            <pc:docMk/>
            <pc:sldMk cId="2278995086" sldId="729"/>
            <ac:spMk id="3085" creationId="{00000000-0008-0000-0300-0000D9010000}"/>
          </ac:spMkLst>
        </pc:spChg>
        <pc:spChg chg="mod">
          <ac:chgData name="Schjold, Hanne Røvig" userId="72e82339-bab0-442f-8ca6-e6f386a713ee" providerId="ADAL" clId="{9706D415-2DA0-4D00-90B6-E46BF852F024}" dt="2023-03-16T12:49:25.666" v="782" actId="1038"/>
          <ac:spMkLst>
            <pc:docMk/>
            <pc:sldMk cId="2278995086" sldId="729"/>
            <ac:spMk id="3086" creationId="{00000000-0008-0000-0300-0000DA010000}"/>
          </ac:spMkLst>
        </pc:spChg>
        <pc:spChg chg="mod">
          <ac:chgData name="Schjold, Hanne Røvig" userId="72e82339-bab0-442f-8ca6-e6f386a713ee" providerId="ADAL" clId="{9706D415-2DA0-4D00-90B6-E46BF852F024}" dt="2023-03-16T12:49:25.666" v="782" actId="1038"/>
          <ac:spMkLst>
            <pc:docMk/>
            <pc:sldMk cId="2278995086" sldId="729"/>
            <ac:spMk id="3087" creationId="{00000000-0008-0000-0300-0000DB010000}"/>
          </ac:spMkLst>
        </pc:spChg>
        <pc:spChg chg="mod">
          <ac:chgData name="Schjold, Hanne Røvig" userId="72e82339-bab0-442f-8ca6-e6f386a713ee" providerId="ADAL" clId="{9706D415-2DA0-4D00-90B6-E46BF852F024}" dt="2023-03-16T12:49:25.666" v="782" actId="1038"/>
          <ac:spMkLst>
            <pc:docMk/>
            <pc:sldMk cId="2278995086" sldId="729"/>
            <ac:spMk id="3088" creationId="{00000000-0008-0000-0300-0000DC010000}"/>
          </ac:spMkLst>
        </pc:spChg>
        <pc:spChg chg="mod">
          <ac:chgData name="Schjold, Hanne Røvig" userId="72e82339-bab0-442f-8ca6-e6f386a713ee" providerId="ADAL" clId="{9706D415-2DA0-4D00-90B6-E46BF852F024}" dt="2023-03-16T12:49:25.666" v="782" actId="1038"/>
          <ac:spMkLst>
            <pc:docMk/>
            <pc:sldMk cId="2278995086" sldId="729"/>
            <ac:spMk id="3089" creationId="{00000000-0008-0000-0300-0000DD010000}"/>
          </ac:spMkLst>
        </pc:spChg>
        <pc:spChg chg="mod">
          <ac:chgData name="Schjold, Hanne Røvig" userId="72e82339-bab0-442f-8ca6-e6f386a713ee" providerId="ADAL" clId="{9706D415-2DA0-4D00-90B6-E46BF852F024}" dt="2023-03-16T12:49:25.666" v="782" actId="1038"/>
          <ac:spMkLst>
            <pc:docMk/>
            <pc:sldMk cId="2278995086" sldId="729"/>
            <ac:spMk id="3090" creationId="{00000000-0008-0000-0300-0000DE010000}"/>
          </ac:spMkLst>
        </pc:spChg>
        <pc:spChg chg="mod">
          <ac:chgData name="Schjold, Hanne Røvig" userId="72e82339-bab0-442f-8ca6-e6f386a713ee" providerId="ADAL" clId="{9706D415-2DA0-4D00-90B6-E46BF852F024}" dt="2023-03-16T12:49:25.666" v="782" actId="1038"/>
          <ac:spMkLst>
            <pc:docMk/>
            <pc:sldMk cId="2278995086" sldId="729"/>
            <ac:spMk id="3091" creationId="{00000000-0008-0000-0300-0000DF010000}"/>
          </ac:spMkLst>
        </pc:spChg>
        <pc:spChg chg="mod">
          <ac:chgData name="Schjold, Hanne Røvig" userId="72e82339-bab0-442f-8ca6-e6f386a713ee" providerId="ADAL" clId="{9706D415-2DA0-4D00-90B6-E46BF852F024}" dt="2023-03-16T12:49:25.666" v="782" actId="1038"/>
          <ac:spMkLst>
            <pc:docMk/>
            <pc:sldMk cId="2278995086" sldId="729"/>
            <ac:spMk id="3092" creationId="{00000000-0008-0000-0300-0000E0010000}"/>
          </ac:spMkLst>
        </pc:spChg>
        <pc:spChg chg="mod">
          <ac:chgData name="Schjold, Hanne Røvig" userId="72e82339-bab0-442f-8ca6-e6f386a713ee" providerId="ADAL" clId="{9706D415-2DA0-4D00-90B6-E46BF852F024}" dt="2023-03-16T12:49:25.666" v="782" actId="1038"/>
          <ac:spMkLst>
            <pc:docMk/>
            <pc:sldMk cId="2278995086" sldId="729"/>
            <ac:spMk id="3093" creationId="{00000000-0008-0000-0300-0000E1010000}"/>
          </ac:spMkLst>
        </pc:spChg>
        <pc:spChg chg="mod">
          <ac:chgData name="Schjold, Hanne Røvig" userId="72e82339-bab0-442f-8ca6-e6f386a713ee" providerId="ADAL" clId="{9706D415-2DA0-4D00-90B6-E46BF852F024}" dt="2023-03-16T12:49:25.666" v="782" actId="1038"/>
          <ac:spMkLst>
            <pc:docMk/>
            <pc:sldMk cId="2278995086" sldId="729"/>
            <ac:spMk id="3094" creationId="{00000000-0008-0000-0300-0000E2010000}"/>
          </ac:spMkLst>
        </pc:spChg>
        <pc:spChg chg="mod">
          <ac:chgData name="Schjold, Hanne Røvig" userId="72e82339-bab0-442f-8ca6-e6f386a713ee" providerId="ADAL" clId="{9706D415-2DA0-4D00-90B6-E46BF852F024}" dt="2023-03-16T12:49:25.666" v="782" actId="1038"/>
          <ac:spMkLst>
            <pc:docMk/>
            <pc:sldMk cId="2278995086" sldId="729"/>
            <ac:spMk id="3095" creationId="{00000000-0008-0000-0300-0000E3010000}"/>
          </ac:spMkLst>
        </pc:spChg>
        <pc:spChg chg="mod">
          <ac:chgData name="Schjold, Hanne Røvig" userId="72e82339-bab0-442f-8ca6-e6f386a713ee" providerId="ADAL" clId="{9706D415-2DA0-4D00-90B6-E46BF852F024}" dt="2023-03-16T12:49:25.666" v="782" actId="1038"/>
          <ac:spMkLst>
            <pc:docMk/>
            <pc:sldMk cId="2278995086" sldId="729"/>
            <ac:spMk id="3096" creationId="{00000000-0008-0000-0300-0000E4010000}"/>
          </ac:spMkLst>
        </pc:spChg>
        <pc:spChg chg="mod">
          <ac:chgData name="Schjold, Hanne Røvig" userId="72e82339-bab0-442f-8ca6-e6f386a713ee" providerId="ADAL" clId="{9706D415-2DA0-4D00-90B6-E46BF852F024}" dt="2023-03-16T12:49:25.666" v="782" actId="1038"/>
          <ac:spMkLst>
            <pc:docMk/>
            <pc:sldMk cId="2278995086" sldId="729"/>
            <ac:spMk id="3097" creationId="{00000000-0008-0000-0300-0000E5010000}"/>
          </ac:spMkLst>
        </pc:spChg>
        <pc:spChg chg="mod">
          <ac:chgData name="Schjold, Hanne Røvig" userId="72e82339-bab0-442f-8ca6-e6f386a713ee" providerId="ADAL" clId="{9706D415-2DA0-4D00-90B6-E46BF852F024}" dt="2023-03-16T12:49:25.666" v="782" actId="1038"/>
          <ac:spMkLst>
            <pc:docMk/>
            <pc:sldMk cId="2278995086" sldId="729"/>
            <ac:spMk id="3098" creationId="{00000000-0008-0000-0300-0000E6010000}"/>
          </ac:spMkLst>
        </pc:spChg>
        <pc:spChg chg="mod">
          <ac:chgData name="Schjold, Hanne Røvig" userId="72e82339-bab0-442f-8ca6-e6f386a713ee" providerId="ADAL" clId="{9706D415-2DA0-4D00-90B6-E46BF852F024}" dt="2023-03-16T12:49:25.666" v="782" actId="1038"/>
          <ac:spMkLst>
            <pc:docMk/>
            <pc:sldMk cId="2278995086" sldId="729"/>
            <ac:spMk id="3099" creationId="{00000000-0008-0000-0300-0000E7010000}"/>
          </ac:spMkLst>
        </pc:spChg>
        <pc:spChg chg="mod">
          <ac:chgData name="Schjold, Hanne Røvig" userId="72e82339-bab0-442f-8ca6-e6f386a713ee" providerId="ADAL" clId="{9706D415-2DA0-4D00-90B6-E46BF852F024}" dt="2023-03-16T12:49:25.666" v="782" actId="1038"/>
          <ac:spMkLst>
            <pc:docMk/>
            <pc:sldMk cId="2278995086" sldId="729"/>
            <ac:spMk id="3100" creationId="{00000000-0008-0000-0300-0000E8010000}"/>
          </ac:spMkLst>
        </pc:spChg>
        <pc:spChg chg="mod">
          <ac:chgData name="Schjold, Hanne Røvig" userId="72e82339-bab0-442f-8ca6-e6f386a713ee" providerId="ADAL" clId="{9706D415-2DA0-4D00-90B6-E46BF852F024}" dt="2023-03-16T12:49:25.666" v="782" actId="1038"/>
          <ac:spMkLst>
            <pc:docMk/>
            <pc:sldMk cId="2278995086" sldId="729"/>
            <ac:spMk id="3101" creationId="{00000000-0008-0000-0300-0000E9010000}"/>
          </ac:spMkLst>
        </pc:spChg>
        <pc:spChg chg="mod">
          <ac:chgData name="Schjold, Hanne Røvig" userId="72e82339-bab0-442f-8ca6-e6f386a713ee" providerId="ADAL" clId="{9706D415-2DA0-4D00-90B6-E46BF852F024}" dt="2023-03-16T12:49:25.666" v="782" actId="1038"/>
          <ac:spMkLst>
            <pc:docMk/>
            <pc:sldMk cId="2278995086" sldId="729"/>
            <ac:spMk id="3102" creationId="{00000000-0008-0000-0300-0000EA010000}"/>
          </ac:spMkLst>
        </pc:spChg>
        <pc:spChg chg="mod">
          <ac:chgData name="Schjold, Hanne Røvig" userId="72e82339-bab0-442f-8ca6-e6f386a713ee" providerId="ADAL" clId="{9706D415-2DA0-4D00-90B6-E46BF852F024}" dt="2023-03-16T12:49:25.666" v="782" actId="1038"/>
          <ac:spMkLst>
            <pc:docMk/>
            <pc:sldMk cId="2278995086" sldId="729"/>
            <ac:spMk id="3103" creationId="{00000000-0008-0000-0300-0000EB010000}"/>
          </ac:spMkLst>
        </pc:spChg>
        <pc:spChg chg="mod">
          <ac:chgData name="Schjold, Hanne Røvig" userId="72e82339-bab0-442f-8ca6-e6f386a713ee" providerId="ADAL" clId="{9706D415-2DA0-4D00-90B6-E46BF852F024}" dt="2023-03-16T12:49:25.666" v="782" actId="1038"/>
          <ac:spMkLst>
            <pc:docMk/>
            <pc:sldMk cId="2278995086" sldId="729"/>
            <ac:spMk id="3104" creationId="{00000000-0008-0000-0300-0000EC010000}"/>
          </ac:spMkLst>
        </pc:spChg>
        <pc:spChg chg="mod">
          <ac:chgData name="Schjold, Hanne Røvig" userId="72e82339-bab0-442f-8ca6-e6f386a713ee" providerId="ADAL" clId="{9706D415-2DA0-4D00-90B6-E46BF852F024}" dt="2023-03-16T12:49:25.666" v="782" actId="1038"/>
          <ac:spMkLst>
            <pc:docMk/>
            <pc:sldMk cId="2278995086" sldId="729"/>
            <ac:spMk id="3105" creationId="{00000000-0008-0000-0300-0000ED010000}"/>
          </ac:spMkLst>
        </pc:spChg>
        <pc:spChg chg="mod">
          <ac:chgData name="Schjold, Hanne Røvig" userId="72e82339-bab0-442f-8ca6-e6f386a713ee" providerId="ADAL" clId="{9706D415-2DA0-4D00-90B6-E46BF852F024}" dt="2023-03-16T12:49:25.666" v="782" actId="1038"/>
          <ac:spMkLst>
            <pc:docMk/>
            <pc:sldMk cId="2278995086" sldId="729"/>
            <ac:spMk id="3106" creationId="{00000000-0008-0000-0300-0000EE010000}"/>
          </ac:spMkLst>
        </pc:spChg>
        <pc:spChg chg="mod">
          <ac:chgData name="Schjold, Hanne Røvig" userId="72e82339-bab0-442f-8ca6-e6f386a713ee" providerId="ADAL" clId="{9706D415-2DA0-4D00-90B6-E46BF852F024}" dt="2023-03-16T12:49:25.666" v="782" actId="1038"/>
          <ac:spMkLst>
            <pc:docMk/>
            <pc:sldMk cId="2278995086" sldId="729"/>
            <ac:spMk id="3107" creationId="{00000000-0008-0000-0300-0000EF010000}"/>
          </ac:spMkLst>
        </pc:spChg>
        <pc:spChg chg="mod">
          <ac:chgData name="Schjold, Hanne Røvig" userId="72e82339-bab0-442f-8ca6-e6f386a713ee" providerId="ADAL" clId="{9706D415-2DA0-4D00-90B6-E46BF852F024}" dt="2023-03-16T12:49:25.666" v="782" actId="1038"/>
          <ac:spMkLst>
            <pc:docMk/>
            <pc:sldMk cId="2278995086" sldId="729"/>
            <ac:spMk id="3108" creationId="{00000000-0008-0000-0300-0000F0010000}"/>
          </ac:spMkLst>
        </pc:spChg>
        <pc:spChg chg="mod">
          <ac:chgData name="Schjold, Hanne Røvig" userId="72e82339-bab0-442f-8ca6-e6f386a713ee" providerId="ADAL" clId="{9706D415-2DA0-4D00-90B6-E46BF852F024}" dt="2023-03-16T12:49:25.666" v="782" actId="1038"/>
          <ac:spMkLst>
            <pc:docMk/>
            <pc:sldMk cId="2278995086" sldId="729"/>
            <ac:spMk id="3109" creationId="{00000000-0008-0000-0300-0000F1010000}"/>
          </ac:spMkLst>
        </pc:spChg>
        <pc:spChg chg="mod">
          <ac:chgData name="Schjold, Hanne Røvig" userId="72e82339-bab0-442f-8ca6-e6f386a713ee" providerId="ADAL" clId="{9706D415-2DA0-4D00-90B6-E46BF852F024}" dt="2023-03-16T12:49:25.666" v="782" actId="1038"/>
          <ac:spMkLst>
            <pc:docMk/>
            <pc:sldMk cId="2278995086" sldId="729"/>
            <ac:spMk id="3110" creationId="{00000000-0008-0000-0300-0000F2010000}"/>
          </ac:spMkLst>
        </pc:spChg>
        <pc:spChg chg="mod">
          <ac:chgData name="Schjold, Hanne Røvig" userId="72e82339-bab0-442f-8ca6-e6f386a713ee" providerId="ADAL" clId="{9706D415-2DA0-4D00-90B6-E46BF852F024}" dt="2023-03-16T12:49:25.666" v="782" actId="1038"/>
          <ac:spMkLst>
            <pc:docMk/>
            <pc:sldMk cId="2278995086" sldId="729"/>
            <ac:spMk id="3111" creationId="{00000000-0008-0000-0300-0000F3010000}"/>
          </ac:spMkLst>
        </pc:spChg>
        <pc:spChg chg="mod">
          <ac:chgData name="Schjold, Hanne Røvig" userId="72e82339-bab0-442f-8ca6-e6f386a713ee" providerId="ADAL" clId="{9706D415-2DA0-4D00-90B6-E46BF852F024}" dt="2023-03-16T12:49:25.666" v="782" actId="1038"/>
          <ac:spMkLst>
            <pc:docMk/>
            <pc:sldMk cId="2278995086" sldId="729"/>
            <ac:spMk id="3112" creationId="{00000000-0008-0000-0300-0000F4010000}"/>
          </ac:spMkLst>
        </pc:spChg>
        <pc:spChg chg="mod">
          <ac:chgData name="Schjold, Hanne Røvig" userId="72e82339-bab0-442f-8ca6-e6f386a713ee" providerId="ADAL" clId="{9706D415-2DA0-4D00-90B6-E46BF852F024}" dt="2023-03-16T12:49:25.666" v="782" actId="1038"/>
          <ac:spMkLst>
            <pc:docMk/>
            <pc:sldMk cId="2278995086" sldId="729"/>
            <ac:spMk id="3113" creationId="{00000000-0008-0000-0300-0000F5010000}"/>
          </ac:spMkLst>
        </pc:spChg>
        <pc:spChg chg="mod">
          <ac:chgData name="Schjold, Hanne Røvig" userId="72e82339-bab0-442f-8ca6-e6f386a713ee" providerId="ADAL" clId="{9706D415-2DA0-4D00-90B6-E46BF852F024}" dt="2023-03-16T12:49:25.666" v="782" actId="1038"/>
          <ac:spMkLst>
            <pc:docMk/>
            <pc:sldMk cId="2278995086" sldId="729"/>
            <ac:spMk id="3114" creationId="{00000000-0008-0000-0300-0000F6010000}"/>
          </ac:spMkLst>
        </pc:spChg>
        <pc:spChg chg="mod">
          <ac:chgData name="Schjold, Hanne Røvig" userId="72e82339-bab0-442f-8ca6-e6f386a713ee" providerId="ADAL" clId="{9706D415-2DA0-4D00-90B6-E46BF852F024}" dt="2023-03-16T12:49:25.666" v="782" actId="1038"/>
          <ac:spMkLst>
            <pc:docMk/>
            <pc:sldMk cId="2278995086" sldId="729"/>
            <ac:spMk id="3115" creationId="{00000000-0008-0000-0300-0000F7010000}"/>
          </ac:spMkLst>
        </pc:spChg>
        <pc:spChg chg="mod">
          <ac:chgData name="Schjold, Hanne Røvig" userId="72e82339-bab0-442f-8ca6-e6f386a713ee" providerId="ADAL" clId="{9706D415-2DA0-4D00-90B6-E46BF852F024}" dt="2023-03-16T12:49:25.666" v="782" actId="1038"/>
          <ac:spMkLst>
            <pc:docMk/>
            <pc:sldMk cId="2278995086" sldId="729"/>
            <ac:spMk id="3116" creationId="{00000000-0008-0000-0300-0000F8010000}"/>
          </ac:spMkLst>
        </pc:spChg>
        <pc:spChg chg="mod">
          <ac:chgData name="Schjold, Hanne Røvig" userId="72e82339-bab0-442f-8ca6-e6f386a713ee" providerId="ADAL" clId="{9706D415-2DA0-4D00-90B6-E46BF852F024}" dt="2023-03-16T12:49:25.666" v="782" actId="1038"/>
          <ac:spMkLst>
            <pc:docMk/>
            <pc:sldMk cId="2278995086" sldId="729"/>
            <ac:spMk id="3117" creationId="{00000000-0008-0000-0300-0000F9010000}"/>
          </ac:spMkLst>
        </pc:spChg>
        <pc:spChg chg="mod">
          <ac:chgData name="Schjold, Hanne Røvig" userId="72e82339-bab0-442f-8ca6-e6f386a713ee" providerId="ADAL" clId="{9706D415-2DA0-4D00-90B6-E46BF852F024}" dt="2023-03-16T12:49:25.666" v="782" actId="1038"/>
          <ac:spMkLst>
            <pc:docMk/>
            <pc:sldMk cId="2278995086" sldId="729"/>
            <ac:spMk id="3118" creationId="{00000000-0008-0000-0300-0000FA010000}"/>
          </ac:spMkLst>
        </pc:spChg>
        <pc:spChg chg="mod">
          <ac:chgData name="Schjold, Hanne Røvig" userId="72e82339-bab0-442f-8ca6-e6f386a713ee" providerId="ADAL" clId="{9706D415-2DA0-4D00-90B6-E46BF852F024}" dt="2023-03-16T12:49:25.666" v="782" actId="1038"/>
          <ac:spMkLst>
            <pc:docMk/>
            <pc:sldMk cId="2278995086" sldId="729"/>
            <ac:spMk id="3119" creationId="{00000000-0008-0000-0300-0000FB010000}"/>
          </ac:spMkLst>
        </pc:spChg>
        <pc:spChg chg="mod">
          <ac:chgData name="Schjold, Hanne Røvig" userId="72e82339-bab0-442f-8ca6-e6f386a713ee" providerId="ADAL" clId="{9706D415-2DA0-4D00-90B6-E46BF852F024}" dt="2023-03-16T12:49:25.666" v="782" actId="1038"/>
          <ac:spMkLst>
            <pc:docMk/>
            <pc:sldMk cId="2278995086" sldId="729"/>
            <ac:spMk id="3120" creationId="{00000000-0008-0000-0300-0000FC010000}"/>
          </ac:spMkLst>
        </pc:spChg>
        <pc:spChg chg="mod">
          <ac:chgData name="Schjold, Hanne Røvig" userId="72e82339-bab0-442f-8ca6-e6f386a713ee" providerId="ADAL" clId="{9706D415-2DA0-4D00-90B6-E46BF852F024}" dt="2023-03-16T12:49:25.666" v="782" actId="1038"/>
          <ac:spMkLst>
            <pc:docMk/>
            <pc:sldMk cId="2278995086" sldId="729"/>
            <ac:spMk id="3121" creationId="{00000000-0008-0000-0300-0000FD010000}"/>
          </ac:spMkLst>
        </pc:spChg>
        <pc:spChg chg="mod">
          <ac:chgData name="Schjold, Hanne Røvig" userId="72e82339-bab0-442f-8ca6-e6f386a713ee" providerId="ADAL" clId="{9706D415-2DA0-4D00-90B6-E46BF852F024}" dt="2023-03-16T12:49:25.666" v="782" actId="1038"/>
          <ac:spMkLst>
            <pc:docMk/>
            <pc:sldMk cId="2278995086" sldId="729"/>
            <ac:spMk id="3122" creationId="{00000000-0008-0000-0300-0000FE010000}"/>
          </ac:spMkLst>
        </pc:spChg>
        <pc:spChg chg="mod">
          <ac:chgData name="Schjold, Hanne Røvig" userId="72e82339-bab0-442f-8ca6-e6f386a713ee" providerId="ADAL" clId="{9706D415-2DA0-4D00-90B6-E46BF852F024}" dt="2023-03-16T12:49:25.666" v="782" actId="1038"/>
          <ac:spMkLst>
            <pc:docMk/>
            <pc:sldMk cId="2278995086" sldId="729"/>
            <ac:spMk id="3123" creationId="{00000000-0008-0000-0300-0000FF010000}"/>
          </ac:spMkLst>
        </pc:spChg>
        <pc:spChg chg="mod">
          <ac:chgData name="Schjold, Hanne Røvig" userId="72e82339-bab0-442f-8ca6-e6f386a713ee" providerId="ADAL" clId="{9706D415-2DA0-4D00-90B6-E46BF852F024}" dt="2023-03-16T12:49:25.666" v="782" actId="1038"/>
          <ac:spMkLst>
            <pc:docMk/>
            <pc:sldMk cId="2278995086" sldId="729"/>
            <ac:spMk id="3124" creationId="{00000000-0008-0000-0300-000000020000}"/>
          </ac:spMkLst>
        </pc:spChg>
        <pc:spChg chg="mod">
          <ac:chgData name="Schjold, Hanne Røvig" userId="72e82339-bab0-442f-8ca6-e6f386a713ee" providerId="ADAL" clId="{9706D415-2DA0-4D00-90B6-E46BF852F024}" dt="2023-03-16T12:49:25.666" v="782" actId="1038"/>
          <ac:spMkLst>
            <pc:docMk/>
            <pc:sldMk cId="2278995086" sldId="729"/>
            <ac:spMk id="3125" creationId="{00000000-0008-0000-0300-000001020000}"/>
          </ac:spMkLst>
        </pc:spChg>
        <pc:spChg chg="mod">
          <ac:chgData name="Schjold, Hanne Røvig" userId="72e82339-bab0-442f-8ca6-e6f386a713ee" providerId="ADAL" clId="{9706D415-2DA0-4D00-90B6-E46BF852F024}" dt="2023-03-16T12:49:25.666" v="782" actId="1038"/>
          <ac:spMkLst>
            <pc:docMk/>
            <pc:sldMk cId="2278995086" sldId="729"/>
            <ac:spMk id="3126" creationId="{00000000-0008-0000-0300-000002020000}"/>
          </ac:spMkLst>
        </pc:spChg>
        <pc:spChg chg="mod">
          <ac:chgData name="Schjold, Hanne Røvig" userId="72e82339-bab0-442f-8ca6-e6f386a713ee" providerId="ADAL" clId="{9706D415-2DA0-4D00-90B6-E46BF852F024}" dt="2023-03-16T12:49:25.666" v="782" actId="1038"/>
          <ac:spMkLst>
            <pc:docMk/>
            <pc:sldMk cId="2278995086" sldId="729"/>
            <ac:spMk id="3127" creationId="{00000000-0008-0000-0300-000003020000}"/>
          </ac:spMkLst>
        </pc:spChg>
        <pc:spChg chg="mod">
          <ac:chgData name="Schjold, Hanne Røvig" userId="72e82339-bab0-442f-8ca6-e6f386a713ee" providerId="ADAL" clId="{9706D415-2DA0-4D00-90B6-E46BF852F024}" dt="2023-03-16T12:49:25.666" v="782" actId="1038"/>
          <ac:spMkLst>
            <pc:docMk/>
            <pc:sldMk cId="2278995086" sldId="729"/>
            <ac:spMk id="3128" creationId="{00000000-0008-0000-0300-000004020000}"/>
          </ac:spMkLst>
        </pc:spChg>
        <pc:spChg chg="mod">
          <ac:chgData name="Schjold, Hanne Røvig" userId="72e82339-bab0-442f-8ca6-e6f386a713ee" providerId="ADAL" clId="{9706D415-2DA0-4D00-90B6-E46BF852F024}" dt="2023-03-16T12:49:25.666" v="782" actId="1038"/>
          <ac:spMkLst>
            <pc:docMk/>
            <pc:sldMk cId="2278995086" sldId="729"/>
            <ac:spMk id="3129" creationId="{00000000-0008-0000-0300-000005020000}"/>
          </ac:spMkLst>
        </pc:spChg>
        <pc:spChg chg="mod">
          <ac:chgData name="Schjold, Hanne Røvig" userId="72e82339-bab0-442f-8ca6-e6f386a713ee" providerId="ADAL" clId="{9706D415-2DA0-4D00-90B6-E46BF852F024}" dt="2023-03-16T12:49:25.666" v="782" actId="1038"/>
          <ac:spMkLst>
            <pc:docMk/>
            <pc:sldMk cId="2278995086" sldId="729"/>
            <ac:spMk id="3130" creationId="{00000000-0008-0000-0300-000006020000}"/>
          </ac:spMkLst>
        </pc:spChg>
        <pc:spChg chg="mod">
          <ac:chgData name="Schjold, Hanne Røvig" userId="72e82339-bab0-442f-8ca6-e6f386a713ee" providerId="ADAL" clId="{9706D415-2DA0-4D00-90B6-E46BF852F024}" dt="2023-03-16T12:49:25.666" v="782" actId="1038"/>
          <ac:spMkLst>
            <pc:docMk/>
            <pc:sldMk cId="2278995086" sldId="729"/>
            <ac:spMk id="3131" creationId="{00000000-0008-0000-0300-000007020000}"/>
          </ac:spMkLst>
        </pc:spChg>
        <pc:spChg chg="mod">
          <ac:chgData name="Schjold, Hanne Røvig" userId="72e82339-bab0-442f-8ca6-e6f386a713ee" providerId="ADAL" clId="{9706D415-2DA0-4D00-90B6-E46BF852F024}" dt="2023-03-16T12:49:25.666" v="782" actId="1038"/>
          <ac:spMkLst>
            <pc:docMk/>
            <pc:sldMk cId="2278995086" sldId="729"/>
            <ac:spMk id="3132" creationId="{00000000-0008-0000-0300-000008020000}"/>
          </ac:spMkLst>
        </pc:spChg>
        <pc:spChg chg="mod">
          <ac:chgData name="Schjold, Hanne Røvig" userId="72e82339-bab0-442f-8ca6-e6f386a713ee" providerId="ADAL" clId="{9706D415-2DA0-4D00-90B6-E46BF852F024}" dt="2023-03-16T12:49:25.666" v="782" actId="1038"/>
          <ac:spMkLst>
            <pc:docMk/>
            <pc:sldMk cId="2278995086" sldId="729"/>
            <ac:spMk id="3133" creationId="{00000000-0008-0000-0300-000009020000}"/>
          </ac:spMkLst>
        </pc:spChg>
        <pc:spChg chg="mod">
          <ac:chgData name="Schjold, Hanne Røvig" userId="72e82339-bab0-442f-8ca6-e6f386a713ee" providerId="ADAL" clId="{9706D415-2DA0-4D00-90B6-E46BF852F024}" dt="2023-03-16T12:49:25.666" v="782" actId="1038"/>
          <ac:spMkLst>
            <pc:docMk/>
            <pc:sldMk cId="2278995086" sldId="729"/>
            <ac:spMk id="3134" creationId="{00000000-0008-0000-0300-00000A020000}"/>
          </ac:spMkLst>
        </pc:spChg>
        <pc:spChg chg="mod">
          <ac:chgData name="Schjold, Hanne Røvig" userId="72e82339-bab0-442f-8ca6-e6f386a713ee" providerId="ADAL" clId="{9706D415-2DA0-4D00-90B6-E46BF852F024}" dt="2023-03-16T12:49:25.666" v="782" actId="1038"/>
          <ac:spMkLst>
            <pc:docMk/>
            <pc:sldMk cId="2278995086" sldId="729"/>
            <ac:spMk id="3135" creationId="{00000000-0008-0000-0300-00000B020000}"/>
          </ac:spMkLst>
        </pc:spChg>
        <pc:spChg chg="mod">
          <ac:chgData name="Schjold, Hanne Røvig" userId="72e82339-bab0-442f-8ca6-e6f386a713ee" providerId="ADAL" clId="{9706D415-2DA0-4D00-90B6-E46BF852F024}" dt="2023-03-16T12:49:25.666" v="782" actId="1038"/>
          <ac:spMkLst>
            <pc:docMk/>
            <pc:sldMk cId="2278995086" sldId="729"/>
            <ac:spMk id="3136" creationId="{00000000-0008-0000-0300-00000C020000}"/>
          </ac:spMkLst>
        </pc:spChg>
        <pc:spChg chg="mod">
          <ac:chgData name="Schjold, Hanne Røvig" userId="72e82339-bab0-442f-8ca6-e6f386a713ee" providerId="ADAL" clId="{9706D415-2DA0-4D00-90B6-E46BF852F024}" dt="2023-03-16T12:49:25.666" v="782" actId="1038"/>
          <ac:spMkLst>
            <pc:docMk/>
            <pc:sldMk cId="2278995086" sldId="729"/>
            <ac:spMk id="3137" creationId="{00000000-0008-0000-0300-00000D020000}"/>
          </ac:spMkLst>
        </pc:spChg>
        <pc:spChg chg="mod">
          <ac:chgData name="Schjold, Hanne Røvig" userId="72e82339-bab0-442f-8ca6-e6f386a713ee" providerId="ADAL" clId="{9706D415-2DA0-4D00-90B6-E46BF852F024}" dt="2023-03-16T12:49:25.666" v="782" actId="1038"/>
          <ac:spMkLst>
            <pc:docMk/>
            <pc:sldMk cId="2278995086" sldId="729"/>
            <ac:spMk id="3138" creationId="{00000000-0008-0000-0300-00000E020000}"/>
          </ac:spMkLst>
        </pc:spChg>
        <pc:spChg chg="mod">
          <ac:chgData name="Schjold, Hanne Røvig" userId="72e82339-bab0-442f-8ca6-e6f386a713ee" providerId="ADAL" clId="{9706D415-2DA0-4D00-90B6-E46BF852F024}" dt="2023-03-16T12:49:25.666" v="782" actId="1038"/>
          <ac:spMkLst>
            <pc:docMk/>
            <pc:sldMk cId="2278995086" sldId="729"/>
            <ac:spMk id="3139" creationId="{00000000-0008-0000-0300-00000F020000}"/>
          </ac:spMkLst>
        </pc:spChg>
        <pc:spChg chg="mod">
          <ac:chgData name="Schjold, Hanne Røvig" userId="72e82339-bab0-442f-8ca6-e6f386a713ee" providerId="ADAL" clId="{9706D415-2DA0-4D00-90B6-E46BF852F024}" dt="2023-03-16T12:49:25.666" v="782" actId="1038"/>
          <ac:spMkLst>
            <pc:docMk/>
            <pc:sldMk cId="2278995086" sldId="729"/>
            <ac:spMk id="3140" creationId="{00000000-0008-0000-0300-000010020000}"/>
          </ac:spMkLst>
        </pc:spChg>
        <pc:spChg chg="mod">
          <ac:chgData name="Schjold, Hanne Røvig" userId="72e82339-bab0-442f-8ca6-e6f386a713ee" providerId="ADAL" clId="{9706D415-2DA0-4D00-90B6-E46BF852F024}" dt="2023-03-16T12:49:25.666" v="782" actId="1038"/>
          <ac:spMkLst>
            <pc:docMk/>
            <pc:sldMk cId="2278995086" sldId="729"/>
            <ac:spMk id="3141" creationId="{00000000-0008-0000-0300-000011020000}"/>
          </ac:spMkLst>
        </pc:spChg>
        <pc:spChg chg="mod">
          <ac:chgData name="Schjold, Hanne Røvig" userId="72e82339-bab0-442f-8ca6-e6f386a713ee" providerId="ADAL" clId="{9706D415-2DA0-4D00-90B6-E46BF852F024}" dt="2023-03-16T12:49:25.666" v="782" actId="1038"/>
          <ac:spMkLst>
            <pc:docMk/>
            <pc:sldMk cId="2278995086" sldId="729"/>
            <ac:spMk id="3142" creationId="{00000000-0008-0000-0300-000012020000}"/>
          </ac:spMkLst>
        </pc:spChg>
        <pc:spChg chg="mod">
          <ac:chgData name="Schjold, Hanne Røvig" userId="72e82339-bab0-442f-8ca6-e6f386a713ee" providerId="ADAL" clId="{9706D415-2DA0-4D00-90B6-E46BF852F024}" dt="2023-03-16T12:49:25.666" v="782" actId="1038"/>
          <ac:spMkLst>
            <pc:docMk/>
            <pc:sldMk cId="2278995086" sldId="729"/>
            <ac:spMk id="3143" creationId="{00000000-0008-0000-0300-000013020000}"/>
          </ac:spMkLst>
        </pc:spChg>
        <pc:spChg chg="mod">
          <ac:chgData name="Schjold, Hanne Røvig" userId="72e82339-bab0-442f-8ca6-e6f386a713ee" providerId="ADAL" clId="{9706D415-2DA0-4D00-90B6-E46BF852F024}" dt="2023-03-16T12:49:25.666" v="782" actId="1038"/>
          <ac:spMkLst>
            <pc:docMk/>
            <pc:sldMk cId="2278995086" sldId="729"/>
            <ac:spMk id="3144" creationId="{00000000-0008-0000-0300-000014020000}"/>
          </ac:spMkLst>
        </pc:spChg>
        <pc:spChg chg="mod">
          <ac:chgData name="Schjold, Hanne Røvig" userId="72e82339-bab0-442f-8ca6-e6f386a713ee" providerId="ADAL" clId="{9706D415-2DA0-4D00-90B6-E46BF852F024}" dt="2023-03-16T12:49:25.666" v="782" actId="1038"/>
          <ac:spMkLst>
            <pc:docMk/>
            <pc:sldMk cId="2278995086" sldId="729"/>
            <ac:spMk id="3145" creationId="{00000000-0008-0000-0300-000015020000}"/>
          </ac:spMkLst>
        </pc:spChg>
        <pc:spChg chg="mod">
          <ac:chgData name="Schjold, Hanne Røvig" userId="72e82339-bab0-442f-8ca6-e6f386a713ee" providerId="ADAL" clId="{9706D415-2DA0-4D00-90B6-E46BF852F024}" dt="2023-03-16T12:49:25.666" v="782" actId="1038"/>
          <ac:spMkLst>
            <pc:docMk/>
            <pc:sldMk cId="2278995086" sldId="729"/>
            <ac:spMk id="3146" creationId="{00000000-0008-0000-0300-000016020000}"/>
          </ac:spMkLst>
        </pc:spChg>
        <pc:spChg chg="mod">
          <ac:chgData name="Schjold, Hanne Røvig" userId="72e82339-bab0-442f-8ca6-e6f386a713ee" providerId="ADAL" clId="{9706D415-2DA0-4D00-90B6-E46BF852F024}" dt="2023-03-16T12:49:25.666" v="782" actId="1038"/>
          <ac:spMkLst>
            <pc:docMk/>
            <pc:sldMk cId="2278995086" sldId="729"/>
            <ac:spMk id="3147" creationId="{00000000-0008-0000-0300-000017020000}"/>
          </ac:spMkLst>
        </pc:spChg>
        <pc:spChg chg="mod">
          <ac:chgData name="Schjold, Hanne Røvig" userId="72e82339-bab0-442f-8ca6-e6f386a713ee" providerId="ADAL" clId="{9706D415-2DA0-4D00-90B6-E46BF852F024}" dt="2023-03-16T12:49:25.666" v="782" actId="1038"/>
          <ac:spMkLst>
            <pc:docMk/>
            <pc:sldMk cId="2278995086" sldId="729"/>
            <ac:spMk id="3148" creationId="{00000000-0008-0000-0300-000018020000}"/>
          </ac:spMkLst>
        </pc:spChg>
        <pc:spChg chg="mod">
          <ac:chgData name="Schjold, Hanne Røvig" userId="72e82339-bab0-442f-8ca6-e6f386a713ee" providerId="ADAL" clId="{9706D415-2DA0-4D00-90B6-E46BF852F024}" dt="2023-03-16T12:49:25.666" v="782" actId="1038"/>
          <ac:spMkLst>
            <pc:docMk/>
            <pc:sldMk cId="2278995086" sldId="729"/>
            <ac:spMk id="3149" creationId="{00000000-0008-0000-0300-000019020000}"/>
          </ac:spMkLst>
        </pc:spChg>
        <pc:spChg chg="mod">
          <ac:chgData name="Schjold, Hanne Røvig" userId="72e82339-bab0-442f-8ca6-e6f386a713ee" providerId="ADAL" clId="{9706D415-2DA0-4D00-90B6-E46BF852F024}" dt="2023-03-16T12:49:25.666" v="782" actId="1038"/>
          <ac:spMkLst>
            <pc:docMk/>
            <pc:sldMk cId="2278995086" sldId="729"/>
            <ac:spMk id="3150" creationId="{00000000-0008-0000-0300-00001A020000}"/>
          </ac:spMkLst>
        </pc:spChg>
        <pc:spChg chg="mod">
          <ac:chgData name="Schjold, Hanne Røvig" userId="72e82339-bab0-442f-8ca6-e6f386a713ee" providerId="ADAL" clId="{9706D415-2DA0-4D00-90B6-E46BF852F024}" dt="2023-03-16T12:49:25.666" v="782" actId="1038"/>
          <ac:spMkLst>
            <pc:docMk/>
            <pc:sldMk cId="2278995086" sldId="729"/>
            <ac:spMk id="3151" creationId="{00000000-0008-0000-0300-00001B020000}"/>
          </ac:spMkLst>
        </pc:spChg>
        <pc:spChg chg="mod">
          <ac:chgData name="Schjold, Hanne Røvig" userId="72e82339-bab0-442f-8ca6-e6f386a713ee" providerId="ADAL" clId="{9706D415-2DA0-4D00-90B6-E46BF852F024}" dt="2023-03-16T12:49:25.666" v="782" actId="1038"/>
          <ac:spMkLst>
            <pc:docMk/>
            <pc:sldMk cId="2278995086" sldId="729"/>
            <ac:spMk id="3152" creationId="{00000000-0008-0000-0300-00001C020000}"/>
          </ac:spMkLst>
        </pc:spChg>
        <pc:spChg chg="mod">
          <ac:chgData name="Schjold, Hanne Røvig" userId="72e82339-bab0-442f-8ca6-e6f386a713ee" providerId="ADAL" clId="{9706D415-2DA0-4D00-90B6-E46BF852F024}" dt="2023-03-16T12:49:25.666" v="782" actId="1038"/>
          <ac:spMkLst>
            <pc:docMk/>
            <pc:sldMk cId="2278995086" sldId="729"/>
            <ac:spMk id="3153" creationId="{00000000-0008-0000-0300-00001D020000}"/>
          </ac:spMkLst>
        </pc:spChg>
        <pc:spChg chg="mod">
          <ac:chgData name="Schjold, Hanne Røvig" userId="72e82339-bab0-442f-8ca6-e6f386a713ee" providerId="ADAL" clId="{9706D415-2DA0-4D00-90B6-E46BF852F024}" dt="2023-03-16T12:49:25.666" v="782" actId="1038"/>
          <ac:spMkLst>
            <pc:docMk/>
            <pc:sldMk cId="2278995086" sldId="729"/>
            <ac:spMk id="3154" creationId="{00000000-0008-0000-0300-00001E020000}"/>
          </ac:spMkLst>
        </pc:spChg>
        <pc:spChg chg="mod">
          <ac:chgData name="Schjold, Hanne Røvig" userId="72e82339-bab0-442f-8ca6-e6f386a713ee" providerId="ADAL" clId="{9706D415-2DA0-4D00-90B6-E46BF852F024}" dt="2023-03-16T12:49:25.666" v="782" actId="1038"/>
          <ac:spMkLst>
            <pc:docMk/>
            <pc:sldMk cId="2278995086" sldId="729"/>
            <ac:spMk id="3155" creationId="{00000000-0008-0000-0300-00001F020000}"/>
          </ac:spMkLst>
        </pc:spChg>
        <pc:spChg chg="mod">
          <ac:chgData name="Schjold, Hanne Røvig" userId="72e82339-bab0-442f-8ca6-e6f386a713ee" providerId="ADAL" clId="{9706D415-2DA0-4D00-90B6-E46BF852F024}" dt="2023-03-16T12:49:25.666" v="782" actId="1038"/>
          <ac:spMkLst>
            <pc:docMk/>
            <pc:sldMk cId="2278995086" sldId="729"/>
            <ac:spMk id="3156" creationId="{00000000-0008-0000-0300-000020020000}"/>
          </ac:spMkLst>
        </pc:spChg>
        <pc:spChg chg="mod">
          <ac:chgData name="Schjold, Hanne Røvig" userId="72e82339-bab0-442f-8ca6-e6f386a713ee" providerId="ADAL" clId="{9706D415-2DA0-4D00-90B6-E46BF852F024}" dt="2023-03-16T12:49:25.666" v="782" actId="1038"/>
          <ac:spMkLst>
            <pc:docMk/>
            <pc:sldMk cId="2278995086" sldId="729"/>
            <ac:spMk id="3157" creationId="{00000000-0008-0000-0300-000021020000}"/>
          </ac:spMkLst>
        </pc:spChg>
        <pc:spChg chg="mod">
          <ac:chgData name="Schjold, Hanne Røvig" userId="72e82339-bab0-442f-8ca6-e6f386a713ee" providerId="ADAL" clId="{9706D415-2DA0-4D00-90B6-E46BF852F024}" dt="2023-03-16T12:49:25.666" v="782" actId="1038"/>
          <ac:spMkLst>
            <pc:docMk/>
            <pc:sldMk cId="2278995086" sldId="729"/>
            <ac:spMk id="3158" creationId="{00000000-0008-0000-0300-000022020000}"/>
          </ac:spMkLst>
        </pc:spChg>
        <pc:spChg chg="mod">
          <ac:chgData name="Schjold, Hanne Røvig" userId="72e82339-bab0-442f-8ca6-e6f386a713ee" providerId="ADAL" clId="{9706D415-2DA0-4D00-90B6-E46BF852F024}" dt="2023-03-16T12:49:25.666" v="782" actId="1038"/>
          <ac:spMkLst>
            <pc:docMk/>
            <pc:sldMk cId="2278995086" sldId="729"/>
            <ac:spMk id="3159" creationId="{00000000-0008-0000-0300-000023020000}"/>
          </ac:spMkLst>
        </pc:spChg>
        <pc:spChg chg="mod">
          <ac:chgData name="Schjold, Hanne Røvig" userId="72e82339-bab0-442f-8ca6-e6f386a713ee" providerId="ADAL" clId="{9706D415-2DA0-4D00-90B6-E46BF852F024}" dt="2023-03-16T12:49:25.666" v="782" actId="1038"/>
          <ac:spMkLst>
            <pc:docMk/>
            <pc:sldMk cId="2278995086" sldId="729"/>
            <ac:spMk id="3160" creationId="{00000000-0008-0000-0300-000024020000}"/>
          </ac:spMkLst>
        </pc:spChg>
        <pc:spChg chg="mod">
          <ac:chgData name="Schjold, Hanne Røvig" userId="72e82339-bab0-442f-8ca6-e6f386a713ee" providerId="ADAL" clId="{9706D415-2DA0-4D00-90B6-E46BF852F024}" dt="2023-03-16T12:49:25.666" v="782" actId="1038"/>
          <ac:spMkLst>
            <pc:docMk/>
            <pc:sldMk cId="2278995086" sldId="729"/>
            <ac:spMk id="3161" creationId="{00000000-0008-0000-0300-000025020000}"/>
          </ac:spMkLst>
        </pc:spChg>
        <pc:spChg chg="mod">
          <ac:chgData name="Schjold, Hanne Røvig" userId="72e82339-bab0-442f-8ca6-e6f386a713ee" providerId="ADAL" clId="{9706D415-2DA0-4D00-90B6-E46BF852F024}" dt="2023-03-16T12:49:25.666" v="782" actId="1038"/>
          <ac:spMkLst>
            <pc:docMk/>
            <pc:sldMk cId="2278995086" sldId="729"/>
            <ac:spMk id="3162" creationId="{00000000-0008-0000-0300-000026020000}"/>
          </ac:spMkLst>
        </pc:spChg>
        <pc:spChg chg="mod">
          <ac:chgData name="Schjold, Hanne Røvig" userId="72e82339-bab0-442f-8ca6-e6f386a713ee" providerId="ADAL" clId="{9706D415-2DA0-4D00-90B6-E46BF852F024}" dt="2023-03-16T12:49:25.666" v="782" actId="1038"/>
          <ac:spMkLst>
            <pc:docMk/>
            <pc:sldMk cId="2278995086" sldId="729"/>
            <ac:spMk id="3163" creationId="{00000000-0008-0000-0300-000027020000}"/>
          </ac:spMkLst>
        </pc:spChg>
        <pc:spChg chg="mod">
          <ac:chgData name="Schjold, Hanne Røvig" userId="72e82339-bab0-442f-8ca6-e6f386a713ee" providerId="ADAL" clId="{9706D415-2DA0-4D00-90B6-E46BF852F024}" dt="2023-03-16T12:49:25.666" v="782" actId="1038"/>
          <ac:spMkLst>
            <pc:docMk/>
            <pc:sldMk cId="2278995086" sldId="729"/>
            <ac:spMk id="3164" creationId="{00000000-0008-0000-0300-000028020000}"/>
          </ac:spMkLst>
        </pc:spChg>
        <pc:spChg chg="mod">
          <ac:chgData name="Schjold, Hanne Røvig" userId="72e82339-bab0-442f-8ca6-e6f386a713ee" providerId="ADAL" clId="{9706D415-2DA0-4D00-90B6-E46BF852F024}" dt="2023-03-16T12:49:25.666" v="782" actId="1038"/>
          <ac:spMkLst>
            <pc:docMk/>
            <pc:sldMk cId="2278995086" sldId="729"/>
            <ac:spMk id="3165" creationId="{00000000-0008-0000-0300-000029020000}"/>
          </ac:spMkLst>
        </pc:spChg>
        <pc:spChg chg="mod">
          <ac:chgData name="Schjold, Hanne Røvig" userId="72e82339-bab0-442f-8ca6-e6f386a713ee" providerId="ADAL" clId="{9706D415-2DA0-4D00-90B6-E46BF852F024}" dt="2023-03-16T12:49:25.666" v="782" actId="1038"/>
          <ac:spMkLst>
            <pc:docMk/>
            <pc:sldMk cId="2278995086" sldId="729"/>
            <ac:spMk id="3166" creationId="{00000000-0008-0000-0300-00002A020000}"/>
          </ac:spMkLst>
        </pc:spChg>
        <pc:spChg chg="mod">
          <ac:chgData name="Schjold, Hanne Røvig" userId="72e82339-bab0-442f-8ca6-e6f386a713ee" providerId="ADAL" clId="{9706D415-2DA0-4D00-90B6-E46BF852F024}" dt="2023-03-16T12:49:25.666" v="782" actId="1038"/>
          <ac:spMkLst>
            <pc:docMk/>
            <pc:sldMk cId="2278995086" sldId="729"/>
            <ac:spMk id="3167" creationId="{00000000-0008-0000-0300-00002B020000}"/>
          </ac:spMkLst>
        </pc:spChg>
        <pc:spChg chg="mod">
          <ac:chgData name="Schjold, Hanne Røvig" userId="72e82339-bab0-442f-8ca6-e6f386a713ee" providerId="ADAL" clId="{9706D415-2DA0-4D00-90B6-E46BF852F024}" dt="2023-03-16T12:49:25.666" v="782" actId="1038"/>
          <ac:spMkLst>
            <pc:docMk/>
            <pc:sldMk cId="2278995086" sldId="729"/>
            <ac:spMk id="3168" creationId="{00000000-0008-0000-0300-00002C020000}"/>
          </ac:spMkLst>
        </pc:spChg>
        <pc:spChg chg="mod">
          <ac:chgData name="Schjold, Hanne Røvig" userId="72e82339-bab0-442f-8ca6-e6f386a713ee" providerId="ADAL" clId="{9706D415-2DA0-4D00-90B6-E46BF852F024}" dt="2023-03-16T12:49:25.666" v="782" actId="1038"/>
          <ac:spMkLst>
            <pc:docMk/>
            <pc:sldMk cId="2278995086" sldId="729"/>
            <ac:spMk id="3169" creationId="{00000000-0008-0000-0300-00002D020000}"/>
          </ac:spMkLst>
        </pc:spChg>
        <pc:spChg chg="mod">
          <ac:chgData name="Schjold, Hanne Røvig" userId="72e82339-bab0-442f-8ca6-e6f386a713ee" providerId="ADAL" clId="{9706D415-2DA0-4D00-90B6-E46BF852F024}" dt="2023-03-16T12:49:25.666" v="782" actId="1038"/>
          <ac:spMkLst>
            <pc:docMk/>
            <pc:sldMk cId="2278995086" sldId="729"/>
            <ac:spMk id="3170" creationId="{00000000-0008-0000-0300-00002E020000}"/>
          </ac:spMkLst>
        </pc:spChg>
        <pc:spChg chg="mod">
          <ac:chgData name="Schjold, Hanne Røvig" userId="72e82339-bab0-442f-8ca6-e6f386a713ee" providerId="ADAL" clId="{9706D415-2DA0-4D00-90B6-E46BF852F024}" dt="2023-03-16T12:49:25.666" v="782" actId="1038"/>
          <ac:spMkLst>
            <pc:docMk/>
            <pc:sldMk cId="2278995086" sldId="729"/>
            <ac:spMk id="3171" creationId="{00000000-0008-0000-0300-00002F020000}"/>
          </ac:spMkLst>
        </pc:spChg>
        <pc:spChg chg="mod">
          <ac:chgData name="Schjold, Hanne Røvig" userId="72e82339-bab0-442f-8ca6-e6f386a713ee" providerId="ADAL" clId="{9706D415-2DA0-4D00-90B6-E46BF852F024}" dt="2023-03-16T12:49:25.666" v="782" actId="1038"/>
          <ac:spMkLst>
            <pc:docMk/>
            <pc:sldMk cId="2278995086" sldId="729"/>
            <ac:spMk id="3172" creationId="{00000000-0008-0000-0300-000030020000}"/>
          </ac:spMkLst>
        </pc:spChg>
        <pc:spChg chg="mod">
          <ac:chgData name="Schjold, Hanne Røvig" userId="72e82339-bab0-442f-8ca6-e6f386a713ee" providerId="ADAL" clId="{9706D415-2DA0-4D00-90B6-E46BF852F024}" dt="2023-03-16T12:49:25.666" v="782" actId="1038"/>
          <ac:spMkLst>
            <pc:docMk/>
            <pc:sldMk cId="2278995086" sldId="729"/>
            <ac:spMk id="3173" creationId="{00000000-0008-0000-0300-000031020000}"/>
          </ac:spMkLst>
        </pc:spChg>
        <pc:spChg chg="mod">
          <ac:chgData name="Schjold, Hanne Røvig" userId="72e82339-bab0-442f-8ca6-e6f386a713ee" providerId="ADAL" clId="{9706D415-2DA0-4D00-90B6-E46BF852F024}" dt="2023-03-16T12:49:25.666" v="782" actId="1038"/>
          <ac:spMkLst>
            <pc:docMk/>
            <pc:sldMk cId="2278995086" sldId="729"/>
            <ac:spMk id="3174" creationId="{00000000-0008-0000-0300-000032020000}"/>
          </ac:spMkLst>
        </pc:spChg>
        <pc:spChg chg="mod">
          <ac:chgData name="Schjold, Hanne Røvig" userId="72e82339-bab0-442f-8ca6-e6f386a713ee" providerId="ADAL" clId="{9706D415-2DA0-4D00-90B6-E46BF852F024}" dt="2023-03-16T12:49:25.666" v="782" actId="1038"/>
          <ac:spMkLst>
            <pc:docMk/>
            <pc:sldMk cId="2278995086" sldId="729"/>
            <ac:spMk id="3175" creationId="{00000000-0008-0000-0300-000033020000}"/>
          </ac:spMkLst>
        </pc:spChg>
        <pc:spChg chg="mod">
          <ac:chgData name="Schjold, Hanne Røvig" userId="72e82339-bab0-442f-8ca6-e6f386a713ee" providerId="ADAL" clId="{9706D415-2DA0-4D00-90B6-E46BF852F024}" dt="2023-03-16T12:49:25.666" v="782" actId="1038"/>
          <ac:spMkLst>
            <pc:docMk/>
            <pc:sldMk cId="2278995086" sldId="729"/>
            <ac:spMk id="3176" creationId="{00000000-0008-0000-0300-000034020000}"/>
          </ac:spMkLst>
        </pc:spChg>
        <pc:spChg chg="mod">
          <ac:chgData name="Schjold, Hanne Røvig" userId="72e82339-bab0-442f-8ca6-e6f386a713ee" providerId="ADAL" clId="{9706D415-2DA0-4D00-90B6-E46BF852F024}" dt="2023-03-16T12:49:25.666" v="782" actId="1038"/>
          <ac:spMkLst>
            <pc:docMk/>
            <pc:sldMk cId="2278995086" sldId="729"/>
            <ac:spMk id="3177" creationId="{00000000-0008-0000-0300-000035020000}"/>
          </ac:spMkLst>
        </pc:spChg>
        <pc:spChg chg="mod">
          <ac:chgData name="Schjold, Hanne Røvig" userId="72e82339-bab0-442f-8ca6-e6f386a713ee" providerId="ADAL" clId="{9706D415-2DA0-4D00-90B6-E46BF852F024}" dt="2023-03-16T12:49:25.666" v="782" actId="1038"/>
          <ac:spMkLst>
            <pc:docMk/>
            <pc:sldMk cId="2278995086" sldId="729"/>
            <ac:spMk id="3178" creationId="{00000000-0008-0000-0300-000036020000}"/>
          </ac:spMkLst>
        </pc:spChg>
        <pc:spChg chg="mod">
          <ac:chgData name="Schjold, Hanne Røvig" userId="72e82339-bab0-442f-8ca6-e6f386a713ee" providerId="ADAL" clId="{9706D415-2DA0-4D00-90B6-E46BF852F024}" dt="2023-03-16T12:49:25.666" v="782" actId="1038"/>
          <ac:spMkLst>
            <pc:docMk/>
            <pc:sldMk cId="2278995086" sldId="729"/>
            <ac:spMk id="3179" creationId="{00000000-0008-0000-0300-000037020000}"/>
          </ac:spMkLst>
        </pc:spChg>
        <pc:spChg chg="mod">
          <ac:chgData name="Schjold, Hanne Røvig" userId="72e82339-bab0-442f-8ca6-e6f386a713ee" providerId="ADAL" clId="{9706D415-2DA0-4D00-90B6-E46BF852F024}" dt="2023-03-16T12:49:25.666" v="782" actId="1038"/>
          <ac:spMkLst>
            <pc:docMk/>
            <pc:sldMk cId="2278995086" sldId="729"/>
            <ac:spMk id="3180" creationId="{00000000-0008-0000-0300-000038020000}"/>
          </ac:spMkLst>
        </pc:spChg>
        <pc:spChg chg="mod">
          <ac:chgData name="Schjold, Hanne Røvig" userId="72e82339-bab0-442f-8ca6-e6f386a713ee" providerId="ADAL" clId="{9706D415-2DA0-4D00-90B6-E46BF852F024}" dt="2023-03-16T12:49:25.666" v="782" actId="1038"/>
          <ac:spMkLst>
            <pc:docMk/>
            <pc:sldMk cId="2278995086" sldId="729"/>
            <ac:spMk id="3181" creationId="{00000000-0008-0000-0300-000039020000}"/>
          </ac:spMkLst>
        </pc:spChg>
        <pc:spChg chg="mod">
          <ac:chgData name="Schjold, Hanne Røvig" userId="72e82339-bab0-442f-8ca6-e6f386a713ee" providerId="ADAL" clId="{9706D415-2DA0-4D00-90B6-E46BF852F024}" dt="2023-03-16T12:49:25.666" v="782" actId="1038"/>
          <ac:spMkLst>
            <pc:docMk/>
            <pc:sldMk cId="2278995086" sldId="729"/>
            <ac:spMk id="3182" creationId="{00000000-0008-0000-0300-00003A020000}"/>
          </ac:spMkLst>
        </pc:spChg>
        <pc:spChg chg="mod">
          <ac:chgData name="Schjold, Hanne Røvig" userId="72e82339-bab0-442f-8ca6-e6f386a713ee" providerId="ADAL" clId="{9706D415-2DA0-4D00-90B6-E46BF852F024}" dt="2023-03-16T12:49:25.666" v="782" actId="1038"/>
          <ac:spMkLst>
            <pc:docMk/>
            <pc:sldMk cId="2278995086" sldId="729"/>
            <ac:spMk id="3183" creationId="{00000000-0008-0000-0300-00003B020000}"/>
          </ac:spMkLst>
        </pc:spChg>
        <pc:spChg chg="mod">
          <ac:chgData name="Schjold, Hanne Røvig" userId="72e82339-bab0-442f-8ca6-e6f386a713ee" providerId="ADAL" clId="{9706D415-2DA0-4D00-90B6-E46BF852F024}" dt="2023-03-16T12:49:25.666" v="782" actId="1038"/>
          <ac:spMkLst>
            <pc:docMk/>
            <pc:sldMk cId="2278995086" sldId="729"/>
            <ac:spMk id="3184" creationId="{00000000-0008-0000-0300-00003C020000}"/>
          </ac:spMkLst>
        </pc:spChg>
        <pc:spChg chg="mod">
          <ac:chgData name="Schjold, Hanne Røvig" userId="72e82339-bab0-442f-8ca6-e6f386a713ee" providerId="ADAL" clId="{9706D415-2DA0-4D00-90B6-E46BF852F024}" dt="2023-03-16T12:49:25.666" v="782" actId="1038"/>
          <ac:spMkLst>
            <pc:docMk/>
            <pc:sldMk cId="2278995086" sldId="729"/>
            <ac:spMk id="3185" creationId="{00000000-0008-0000-0300-00003D020000}"/>
          </ac:spMkLst>
        </pc:spChg>
        <pc:spChg chg="mod">
          <ac:chgData name="Schjold, Hanne Røvig" userId="72e82339-bab0-442f-8ca6-e6f386a713ee" providerId="ADAL" clId="{9706D415-2DA0-4D00-90B6-E46BF852F024}" dt="2023-03-16T12:49:25.666" v="782" actId="1038"/>
          <ac:spMkLst>
            <pc:docMk/>
            <pc:sldMk cId="2278995086" sldId="729"/>
            <ac:spMk id="3186" creationId="{00000000-0008-0000-0300-00003E020000}"/>
          </ac:spMkLst>
        </pc:spChg>
        <pc:spChg chg="mod">
          <ac:chgData name="Schjold, Hanne Røvig" userId="72e82339-bab0-442f-8ca6-e6f386a713ee" providerId="ADAL" clId="{9706D415-2DA0-4D00-90B6-E46BF852F024}" dt="2023-03-16T12:49:25.666" v="782" actId="1038"/>
          <ac:spMkLst>
            <pc:docMk/>
            <pc:sldMk cId="2278995086" sldId="729"/>
            <ac:spMk id="3187" creationId="{00000000-0008-0000-0300-00003F020000}"/>
          </ac:spMkLst>
        </pc:spChg>
        <pc:spChg chg="mod">
          <ac:chgData name="Schjold, Hanne Røvig" userId="72e82339-bab0-442f-8ca6-e6f386a713ee" providerId="ADAL" clId="{9706D415-2DA0-4D00-90B6-E46BF852F024}" dt="2023-03-16T12:49:25.666" v="782" actId="1038"/>
          <ac:spMkLst>
            <pc:docMk/>
            <pc:sldMk cId="2278995086" sldId="729"/>
            <ac:spMk id="3188" creationId="{00000000-0008-0000-0300-000040020000}"/>
          </ac:spMkLst>
        </pc:spChg>
        <pc:spChg chg="mod">
          <ac:chgData name="Schjold, Hanne Røvig" userId="72e82339-bab0-442f-8ca6-e6f386a713ee" providerId="ADAL" clId="{9706D415-2DA0-4D00-90B6-E46BF852F024}" dt="2023-03-16T12:49:25.666" v="782" actId="1038"/>
          <ac:spMkLst>
            <pc:docMk/>
            <pc:sldMk cId="2278995086" sldId="729"/>
            <ac:spMk id="3189" creationId="{00000000-0008-0000-0300-000041020000}"/>
          </ac:spMkLst>
        </pc:spChg>
        <pc:spChg chg="mod">
          <ac:chgData name="Schjold, Hanne Røvig" userId="72e82339-bab0-442f-8ca6-e6f386a713ee" providerId="ADAL" clId="{9706D415-2DA0-4D00-90B6-E46BF852F024}" dt="2023-03-16T12:49:25.666" v="782" actId="1038"/>
          <ac:spMkLst>
            <pc:docMk/>
            <pc:sldMk cId="2278995086" sldId="729"/>
            <ac:spMk id="3190" creationId="{00000000-0008-0000-0300-000042020000}"/>
          </ac:spMkLst>
        </pc:spChg>
        <pc:spChg chg="mod">
          <ac:chgData name="Schjold, Hanne Røvig" userId="72e82339-bab0-442f-8ca6-e6f386a713ee" providerId="ADAL" clId="{9706D415-2DA0-4D00-90B6-E46BF852F024}" dt="2023-03-16T12:49:25.666" v="782" actId="1038"/>
          <ac:spMkLst>
            <pc:docMk/>
            <pc:sldMk cId="2278995086" sldId="729"/>
            <ac:spMk id="3191" creationId="{00000000-0008-0000-0300-000043020000}"/>
          </ac:spMkLst>
        </pc:spChg>
        <pc:spChg chg="mod">
          <ac:chgData name="Schjold, Hanne Røvig" userId="72e82339-bab0-442f-8ca6-e6f386a713ee" providerId="ADAL" clId="{9706D415-2DA0-4D00-90B6-E46BF852F024}" dt="2023-03-16T12:49:25.666" v="782" actId="1038"/>
          <ac:spMkLst>
            <pc:docMk/>
            <pc:sldMk cId="2278995086" sldId="729"/>
            <ac:spMk id="3192" creationId="{00000000-0008-0000-0300-000044020000}"/>
          </ac:spMkLst>
        </pc:spChg>
        <pc:spChg chg="mod">
          <ac:chgData name="Schjold, Hanne Røvig" userId="72e82339-bab0-442f-8ca6-e6f386a713ee" providerId="ADAL" clId="{9706D415-2DA0-4D00-90B6-E46BF852F024}" dt="2023-03-16T12:49:25.666" v="782" actId="1038"/>
          <ac:spMkLst>
            <pc:docMk/>
            <pc:sldMk cId="2278995086" sldId="729"/>
            <ac:spMk id="3193" creationId="{00000000-0008-0000-0300-000045020000}"/>
          </ac:spMkLst>
        </pc:spChg>
        <pc:spChg chg="mod">
          <ac:chgData name="Schjold, Hanne Røvig" userId="72e82339-bab0-442f-8ca6-e6f386a713ee" providerId="ADAL" clId="{9706D415-2DA0-4D00-90B6-E46BF852F024}" dt="2023-03-16T12:49:25.666" v="782" actId="1038"/>
          <ac:spMkLst>
            <pc:docMk/>
            <pc:sldMk cId="2278995086" sldId="729"/>
            <ac:spMk id="3194" creationId="{00000000-0008-0000-0300-000046020000}"/>
          </ac:spMkLst>
        </pc:spChg>
        <pc:spChg chg="mod">
          <ac:chgData name="Schjold, Hanne Røvig" userId="72e82339-bab0-442f-8ca6-e6f386a713ee" providerId="ADAL" clId="{9706D415-2DA0-4D00-90B6-E46BF852F024}" dt="2023-03-16T12:49:25.666" v="782" actId="1038"/>
          <ac:spMkLst>
            <pc:docMk/>
            <pc:sldMk cId="2278995086" sldId="729"/>
            <ac:spMk id="3195" creationId="{00000000-0008-0000-0300-000047020000}"/>
          </ac:spMkLst>
        </pc:spChg>
        <pc:spChg chg="mod">
          <ac:chgData name="Schjold, Hanne Røvig" userId="72e82339-bab0-442f-8ca6-e6f386a713ee" providerId="ADAL" clId="{9706D415-2DA0-4D00-90B6-E46BF852F024}" dt="2023-03-16T12:49:25.666" v="782" actId="1038"/>
          <ac:spMkLst>
            <pc:docMk/>
            <pc:sldMk cId="2278995086" sldId="729"/>
            <ac:spMk id="3196" creationId="{00000000-0008-0000-0300-000048020000}"/>
          </ac:spMkLst>
        </pc:spChg>
        <pc:spChg chg="mod">
          <ac:chgData name="Schjold, Hanne Røvig" userId="72e82339-bab0-442f-8ca6-e6f386a713ee" providerId="ADAL" clId="{9706D415-2DA0-4D00-90B6-E46BF852F024}" dt="2023-03-16T12:49:25.666" v="782" actId="1038"/>
          <ac:spMkLst>
            <pc:docMk/>
            <pc:sldMk cId="2278995086" sldId="729"/>
            <ac:spMk id="3197" creationId="{00000000-0008-0000-0300-000049020000}"/>
          </ac:spMkLst>
        </pc:spChg>
        <pc:spChg chg="mod">
          <ac:chgData name="Schjold, Hanne Røvig" userId="72e82339-bab0-442f-8ca6-e6f386a713ee" providerId="ADAL" clId="{9706D415-2DA0-4D00-90B6-E46BF852F024}" dt="2023-03-16T12:49:25.666" v="782" actId="1038"/>
          <ac:spMkLst>
            <pc:docMk/>
            <pc:sldMk cId="2278995086" sldId="729"/>
            <ac:spMk id="3198" creationId="{00000000-0008-0000-0300-00004A020000}"/>
          </ac:spMkLst>
        </pc:spChg>
        <pc:spChg chg="mod">
          <ac:chgData name="Schjold, Hanne Røvig" userId="72e82339-bab0-442f-8ca6-e6f386a713ee" providerId="ADAL" clId="{9706D415-2DA0-4D00-90B6-E46BF852F024}" dt="2023-03-16T12:49:25.666" v="782" actId="1038"/>
          <ac:spMkLst>
            <pc:docMk/>
            <pc:sldMk cId="2278995086" sldId="729"/>
            <ac:spMk id="3199" creationId="{00000000-0008-0000-0300-00004B020000}"/>
          </ac:spMkLst>
        </pc:spChg>
        <pc:spChg chg="mod">
          <ac:chgData name="Schjold, Hanne Røvig" userId="72e82339-bab0-442f-8ca6-e6f386a713ee" providerId="ADAL" clId="{9706D415-2DA0-4D00-90B6-E46BF852F024}" dt="2023-03-16T12:49:25.666" v="782" actId="1038"/>
          <ac:spMkLst>
            <pc:docMk/>
            <pc:sldMk cId="2278995086" sldId="729"/>
            <ac:spMk id="3200" creationId="{00000000-0008-0000-0300-00004C020000}"/>
          </ac:spMkLst>
        </pc:spChg>
        <pc:spChg chg="mod">
          <ac:chgData name="Schjold, Hanne Røvig" userId="72e82339-bab0-442f-8ca6-e6f386a713ee" providerId="ADAL" clId="{9706D415-2DA0-4D00-90B6-E46BF852F024}" dt="2023-03-16T12:49:25.666" v="782" actId="1038"/>
          <ac:spMkLst>
            <pc:docMk/>
            <pc:sldMk cId="2278995086" sldId="729"/>
            <ac:spMk id="3201" creationId="{00000000-0008-0000-0300-00004D020000}"/>
          </ac:spMkLst>
        </pc:spChg>
        <pc:spChg chg="mod">
          <ac:chgData name="Schjold, Hanne Røvig" userId="72e82339-bab0-442f-8ca6-e6f386a713ee" providerId="ADAL" clId="{9706D415-2DA0-4D00-90B6-E46BF852F024}" dt="2023-03-16T12:49:25.666" v="782" actId="1038"/>
          <ac:spMkLst>
            <pc:docMk/>
            <pc:sldMk cId="2278995086" sldId="729"/>
            <ac:spMk id="3202" creationId="{00000000-0008-0000-0300-00004E020000}"/>
          </ac:spMkLst>
        </pc:spChg>
        <pc:spChg chg="mod">
          <ac:chgData name="Schjold, Hanne Røvig" userId="72e82339-bab0-442f-8ca6-e6f386a713ee" providerId="ADAL" clId="{9706D415-2DA0-4D00-90B6-E46BF852F024}" dt="2023-03-16T12:49:25.666" v="782" actId="1038"/>
          <ac:spMkLst>
            <pc:docMk/>
            <pc:sldMk cId="2278995086" sldId="729"/>
            <ac:spMk id="3203" creationId="{00000000-0008-0000-0300-00004F020000}"/>
          </ac:spMkLst>
        </pc:spChg>
        <pc:spChg chg="mod">
          <ac:chgData name="Schjold, Hanne Røvig" userId="72e82339-bab0-442f-8ca6-e6f386a713ee" providerId="ADAL" clId="{9706D415-2DA0-4D00-90B6-E46BF852F024}" dt="2023-03-16T12:49:25.666" v="782" actId="1038"/>
          <ac:spMkLst>
            <pc:docMk/>
            <pc:sldMk cId="2278995086" sldId="729"/>
            <ac:spMk id="3204" creationId="{00000000-0008-0000-0300-000050020000}"/>
          </ac:spMkLst>
        </pc:spChg>
        <pc:spChg chg="mod">
          <ac:chgData name="Schjold, Hanne Røvig" userId="72e82339-bab0-442f-8ca6-e6f386a713ee" providerId="ADAL" clId="{9706D415-2DA0-4D00-90B6-E46BF852F024}" dt="2023-03-16T12:49:25.666" v="782" actId="1038"/>
          <ac:spMkLst>
            <pc:docMk/>
            <pc:sldMk cId="2278995086" sldId="729"/>
            <ac:spMk id="3205" creationId="{00000000-0008-0000-0300-000051020000}"/>
          </ac:spMkLst>
        </pc:spChg>
        <pc:spChg chg="mod">
          <ac:chgData name="Schjold, Hanne Røvig" userId="72e82339-bab0-442f-8ca6-e6f386a713ee" providerId="ADAL" clId="{9706D415-2DA0-4D00-90B6-E46BF852F024}" dt="2023-03-16T12:49:25.666" v="782" actId="1038"/>
          <ac:spMkLst>
            <pc:docMk/>
            <pc:sldMk cId="2278995086" sldId="729"/>
            <ac:spMk id="3206" creationId="{00000000-0008-0000-0300-000052020000}"/>
          </ac:spMkLst>
        </pc:spChg>
        <pc:spChg chg="mod">
          <ac:chgData name="Schjold, Hanne Røvig" userId="72e82339-bab0-442f-8ca6-e6f386a713ee" providerId="ADAL" clId="{9706D415-2DA0-4D00-90B6-E46BF852F024}" dt="2023-03-16T12:49:25.666" v="782" actId="1038"/>
          <ac:spMkLst>
            <pc:docMk/>
            <pc:sldMk cId="2278995086" sldId="729"/>
            <ac:spMk id="3207" creationId="{00000000-0008-0000-0300-000053020000}"/>
          </ac:spMkLst>
        </pc:spChg>
        <pc:spChg chg="mod">
          <ac:chgData name="Schjold, Hanne Røvig" userId="72e82339-bab0-442f-8ca6-e6f386a713ee" providerId="ADAL" clId="{9706D415-2DA0-4D00-90B6-E46BF852F024}" dt="2023-03-16T12:49:25.666" v="782" actId="1038"/>
          <ac:spMkLst>
            <pc:docMk/>
            <pc:sldMk cId="2278995086" sldId="729"/>
            <ac:spMk id="3208" creationId="{00000000-0008-0000-0300-000054020000}"/>
          </ac:spMkLst>
        </pc:spChg>
        <pc:spChg chg="mod">
          <ac:chgData name="Schjold, Hanne Røvig" userId="72e82339-bab0-442f-8ca6-e6f386a713ee" providerId="ADAL" clId="{9706D415-2DA0-4D00-90B6-E46BF852F024}" dt="2023-03-16T12:49:25.666" v="782" actId="1038"/>
          <ac:spMkLst>
            <pc:docMk/>
            <pc:sldMk cId="2278995086" sldId="729"/>
            <ac:spMk id="3209" creationId="{00000000-0008-0000-0300-000055020000}"/>
          </ac:spMkLst>
        </pc:spChg>
        <pc:spChg chg="mod">
          <ac:chgData name="Schjold, Hanne Røvig" userId="72e82339-bab0-442f-8ca6-e6f386a713ee" providerId="ADAL" clId="{9706D415-2DA0-4D00-90B6-E46BF852F024}" dt="2023-03-16T12:49:25.666" v="782" actId="1038"/>
          <ac:spMkLst>
            <pc:docMk/>
            <pc:sldMk cId="2278995086" sldId="729"/>
            <ac:spMk id="3210" creationId="{00000000-0008-0000-0300-000056020000}"/>
          </ac:spMkLst>
        </pc:spChg>
        <pc:spChg chg="mod">
          <ac:chgData name="Schjold, Hanne Røvig" userId="72e82339-bab0-442f-8ca6-e6f386a713ee" providerId="ADAL" clId="{9706D415-2DA0-4D00-90B6-E46BF852F024}" dt="2023-03-16T12:49:25.666" v="782" actId="1038"/>
          <ac:spMkLst>
            <pc:docMk/>
            <pc:sldMk cId="2278995086" sldId="729"/>
            <ac:spMk id="3211" creationId="{00000000-0008-0000-0300-000057020000}"/>
          </ac:spMkLst>
        </pc:spChg>
        <pc:spChg chg="mod">
          <ac:chgData name="Schjold, Hanne Røvig" userId="72e82339-bab0-442f-8ca6-e6f386a713ee" providerId="ADAL" clId="{9706D415-2DA0-4D00-90B6-E46BF852F024}" dt="2023-03-16T12:49:25.666" v="782" actId="1038"/>
          <ac:spMkLst>
            <pc:docMk/>
            <pc:sldMk cId="2278995086" sldId="729"/>
            <ac:spMk id="3212" creationId="{00000000-0008-0000-0300-000058020000}"/>
          </ac:spMkLst>
        </pc:spChg>
        <pc:spChg chg="mod">
          <ac:chgData name="Schjold, Hanne Røvig" userId="72e82339-bab0-442f-8ca6-e6f386a713ee" providerId="ADAL" clId="{9706D415-2DA0-4D00-90B6-E46BF852F024}" dt="2023-03-16T12:49:25.666" v="782" actId="1038"/>
          <ac:spMkLst>
            <pc:docMk/>
            <pc:sldMk cId="2278995086" sldId="729"/>
            <ac:spMk id="3213" creationId="{00000000-0008-0000-0300-000059020000}"/>
          </ac:spMkLst>
        </pc:spChg>
        <pc:spChg chg="mod">
          <ac:chgData name="Schjold, Hanne Røvig" userId="72e82339-bab0-442f-8ca6-e6f386a713ee" providerId="ADAL" clId="{9706D415-2DA0-4D00-90B6-E46BF852F024}" dt="2023-03-16T12:49:25.666" v="782" actId="1038"/>
          <ac:spMkLst>
            <pc:docMk/>
            <pc:sldMk cId="2278995086" sldId="729"/>
            <ac:spMk id="3214" creationId="{00000000-0008-0000-0300-00005A020000}"/>
          </ac:spMkLst>
        </pc:spChg>
        <pc:spChg chg="mod">
          <ac:chgData name="Schjold, Hanne Røvig" userId="72e82339-bab0-442f-8ca6-e6f386a713ee" providerId="ADAL" clId="{9706D415-2DA0-4D00-90B6-E46BF852F024}" dt="2023-03-16T12:49:25.666" v="782" actId="1038"/>
          <ac:spMkLst>
            <pc:docMk/>
            <pc:sldMk cId="2278995086" sldId="729"/>
            <ac:spMk id="3215" creationId="{00000000-0008-0000-0300-00005B020000}"/>
          </ac:spMkLst>
        </pc:spChg>
        <pc:spChg chg="mod">
          <ac:chgData name="Schjold, Hanne Røvig" userId="72e82339-bab0-442f-8ca6-e6f386a713ee" providerId="ADAL" clId="{9706D415-2DA0-4D00-90B6-E46BF852F024}" dt="2023-03-16T12:49:25.666" v="782" actId="1038"/>
          <ac:spMkLst>
            <pc:docMk/>
            <pc:sldMk cId="2278995086" sldId="729"/>
            <ac:spMk id="3216" creationId="{00000000-0008-0000-0300-00005C020000}"/>
          </ac:spMkLst>
        </pc:spChg>
        <pc:spChg chg="mod">
          <ac:chgData name="Schjold, Hanne Røvig" userId="72e82339-bab0-442f-8ca6-e6f386a713ee" providerId="ADAL" clId="{9706D415-2DA0-4D00-90B6-E46BF852F024}" dt="2023-03-16T12:49:25.666" v="782" actId="1038"/>
          <ac:spMkLst>
            <pc:docMk/>
            <pc:sldMk cId="2278995086" sldId="729"/>
            <ac:spMk id="3217" creationId="{00000000-0008-0000-0300-00005D020000}"/>
          </ac:spMkLst>
        </pc:spChg>
        <pc:spChg chg="mod">
          <ac:chgData name="Schjold, Hanne Røvig" userId="72e82339-bab0-442f-8ca6-e6f386a713ee" providerId="ADAL" clId="{9706D415-2DA0-4D00-90B6-E46BF852F024}" dt="2023-03-16T12:49:25.666" v="782" actId="1038"/>
          <ac:spMkLst>
            <pc:docMk/>
            <pc:sldMk cId="2278995086" sldId="729"/>
            <ac:spMk id="3218" creationId="{00000000-0008-0000-0300-00005E020000}"/>
          </ac:spMkLst>
        </pc:spChg>
        <pc:spChg chg="mod">
          <ac:chgData name="Schjold, Hanne Røvig" userId="72e82339-bab0-442f-8ca6-e6f386a713ee" providerId="ADAL" clId="{9706D415-2DA0-4D00-90B6-E46BF852F024}" dt="2023-03-16T12:49:25.666" v="782" actId="1038"/>
          <ac:spMkLst>
            <pc:docMk/>
            <pc:sldMk cId="2278995086" sldId="729"/>
            <ac:spMk id="3219" creationId="{00000000-0008-0000-0300-00005F020000}"/>
          </ac:spMkLst>
        </pc:spChg>
        <pc:spChg chg="mod">
          <ac:chgData name="Schjold, Hanne Røvig" userId="72e82339-bab0-442f-8ca6-e6f386a713ee" providerId="ADAL" clId="{9706D415-2DA0-4D00-90B6-E46BF852F024}" dt="2023-03-16T12:49:25.666" v="782" actId="1038"/>
          <ac:spMkLst>
            <pc:docMk/>
            <pc:sldMk cId="2278995086" sldId="729"/>
            <ac:spMk id="3220" creationId="{00000000-0008-0000-0300-000060020000}"/>
          </ac:spMkLst>
        </pc:spChg>
        <pc:spChg chg="mod">
          <ac:chgData name="Schjold, Hanne Røvig" userId="72e82339-bab0-442f-8ca6-e6f386a713ee" providerId="ADAL" clId="{9706D415-2DA0-4D00-90B6-E46BF852F024}" dt="2023-03-16T12:49:25.666" v="782" actId="1038"/>
          <ac:spMkLst>
            <pc:docMk/>
            <pc:sldMk cId="2278995086" sldId="729"/>
            <ac:spMk id="3221" creationId="{00000000-0008-0000-0300-000061020000}"/>
          </ac:spMkLst>
        </pc:spChg>
        <pc:spChg chg="mod">
          <ac:chgData name="Schjold, Hanne Røvig" userId="72e82339-bab0-442f-8ca6-e6f386a713ee" providerId="ADAL" clId="{9706D415-2DA0-4D00-90B6-E46BF852F024}" dt="2023-03-16T12:49:25.666" v="782" actId="1038"/>
          <ac:spMkLst>
            <pc:docMk/>
            <pc:sldMk cId="2278995086" sldId="729"/>
            <ac:spMk id="3222" creationId="{00000000-0008-0000-0300-000062020000}"/>
          </ac:spMkLst>
        </pc:spChg>
        <pc:spChg chg="mod">
          <ac:chgData name="Schjold, Hanne Røvig" userId="72e82339-bab0-442f-8ca6-e6f386a713ee" providerId="ADAL" clId="{9706D415-2DA0-4D00-90B6-E46BF852F024}" dt="2023-03-16T12:49:25.666" v="782" actId="1038"/>
          <ac:spMkLst>
            <pc:docMk/>
            <pc:sldMk cId="2278995086" sldId="729"/>
            <ac:spMk id="3223" creationId="{00000000-0008-0000-0300-000063020000}"/>
          </ac:spMkLst>
        </pc:spChg>
        <pc:spChg chg="mod">
          <ac:chgData name="Schjold, Hanne Røvig" userId="72e82339-bab0-442f-8ca6-e6f386a713ee" providerId="ADAL" clId="{9706D415-2DA0-4D00-90B6-E46BF852F024}" dt="2023-03-16T12:49:25.666" v="782" actId="1038"/>
          <ac:spMkLst>
            <pc:docMk/>
            <pc:sldMk cId="2278995086" sldId="729"/>
            <ac:spMk id="3224" creationId="{00000000-0008-0000-0300-000064020000}"/>
          </ac:spMkLst>
        </pc:spChg>
        <pc:spChg chg="mod">
          <ac:chgData name="Schjold, Hanne Røvig" userId="72e82339-bab0-442f-8ca6-e6f386a713ee" providerId="ADAL" clId="{9706D415-2DA0-4D00-90B6-E46BF852F024}" dt="2023-03-16T12:49:25.666" v="782" actId="1038"/>
          <ac:spMkLst>
            <pc:docMk/>
            <pc:sldMk cId="2278995086" sldId="729"/>
            <ac:spMk id="3225" creationId="{00000000-0008-0000-0300-000065020000}"/>
          </ac:spMkLst>
        </pc:spChg>
        <pc:spChg chg="mod">
          <ac:chgData name="Schjold, Hanne Røvig" userId="72e82339-bab0-442f-8ca6-e6f386a713ee" providerId="ADAL" clId="{9706D415-2DA0-4D00-90B6-E46BF852F024}" dt="2023-03-16T12:49:25.666" v="782" actId="1038"/>
          <ac:spMkLst>
            <pc:docMk/>
            <pc:sldMk cId="2278995086" sldId="729"/>
            <ac:spMk id="3226" creationId="{00000000-0008-0000-0300-000066020000}"/>
          </ac:spMkLst>
        </pc:spChg>
        <pc:spChg chg="mod">
          <ac:chgData name="Schjold, Hanne Røvig" userId="72e82339-bab0-442f-8ca6-e6f386a713ee" providerId="ADAL" clId="{9706D415-2DA0-4D00-90B6-E46BF852F024}" dt="2023-03-16T12:49:25.666" v="782" actId="1038"/>
          <ac:spMkLst>
            <pc:docMk/>
            <pc:sldMk cId="2278995086" sldId="729"/>
            <ac:spMk id="3227" creationId="{00000000-0008-0000-0300-000067020000}"/>
          </ac:spMkLst>
        </pc:spChg>
        <pc:spChg chg="mod">
          <ac:chgData name="Schjold, Hanne Røvig" userId="72e82339-bab0-442f-8ca6-e6f386a713ee" providerId="ADAL" clId="{9706D415-2DA0-4D00-90B6-E46BF852F024}" dt="2023-03-16T12:49:25.666" v="782" actId="1038"/>
          <ac:spMkLst>
            <pc:docMk/>
            <pc:sldMk cId="2278995086" sldId="729"/>
            <ac:spMk id="3228" creationId="{00000000-0008-0000-0300-000068020000}"/>
          </ac:spMkLst>
        </pc:spChg>
        <pc:spChg chg="mod">
          <ac:chgData name="Schjold, Hanne Røvig" userId="72e82339-bab0-442f-8ca6-e6f386a713ee" providerId="ADAL" clId="{9706D415-2DA0-4D00-90B6-E46BF852F024}" dt="2023-03-16T12:49:25.666" v="782" actId="1038"/>
          <ac:spMkLst>
            <pc:docMk/>
            <pc:sldMk cId="2278995086" sldId="729"/>
            <ac:spMk id="3229" creationId="{00000000-0008-0000-0300-000069020000}"/>
          </ac:spMkLst>
        </pc:spChg>
        <pc:spChg chg="mod">
          <ac:chgData name="Schjold, Hanne Røvig" userId="72e82339-bab0-442f-8ca6-e6f386a713ee" providerId="ADAL" clId="{9706D415-2DA0-4D00-90B6-E46BF852F024}" dt="2023-03-16T12:49:25.666" v="782" actId="1038"/>
          <ac:spMkLst>
            <pc:docMk/>
            <pc:sldMk cId="2278995086" sldId="729"/>
            <ac:spMk id="3230" creationId="{00000000-0008-0000-0300-00006A020000}"/>
          </ac:spMkLst>
        </pc:spChg>
        <pc:spChg chg="mod">
          <ac:chgData name="Schjold, Hanne Røvig" userId="72e82339-bab0-442f-8ca6-e6f386a713ee" providerId="ADAL" clId="{9706D415-2DA0-4D00-90B6-E46BF852F024}" dt="2023-03-16T12:49:25.666" v="782" actId="1038"/>
          <ac:spMkLst>
            <pc:docMk/>
            <pc:sldMk cId="2278995086" sldId="729"/>
            <ac:spMk id="3231" creationId="{00000000-0008-0000-0300-00006B020000}"/>
          </ac:spMkLst>
        </pc:spChg>
        <pc:spChg chg="mod">
          <ac:chgData name="Schjold, Hanne Røvig" userId="72e82339-bab0-442f-8ca6-e6f386a713ee" providerId="ADAL" clId="{9706D415-2DA0-4D00-90B6-E46BF852F024}" dt="2023-03-16T12:49:25.666" v="782" actId="1038"/>
          <ac:spMkLst>
            <pc:docMk/>
            <pc:sldMk cId="2278995086" sldId="729"/>
            <ac:spMk id="3232" creationId="{00000000-0008-0000-0300-00006C020000}"/>
          </ac:spMkLst>
        </pc:spChg>
        <pc:spChg chg="mod">
          <ac:chgData name="Schjold, Hanne Røvig" userId="72e82339-bab0-442f-8ca6-e6f386a713ee" providerId="ADAL" clId="{9706D415-2DA0-4D00-90B6-E46BF852F024}" dt="2023-03-16T12:49:25.666" v="782" actId="1038"/>
          <ac:spMkLst>
            <pc:docMk/>
            <pc:sldMk cId="2278995086" sldId="729"/>
            <ac:spMk id="3233" creationId="{00000000-0008-0000-0300-00006D020000}"/>
          </ac:spMkLst>
        </pc:spChg>
        <pc:spChg chg="mod">
          <ac:chgData name="Schjold, Hanne Røvig" userId="72e82339-bab0-442f-8ca6-e6f386a713ee" providerId="ADAL" clId="{9706D415-2DA0-4D00-90B6-E46BF852F024}" dt="2023-03-16T12:49:25.666" v="782" actId="1038"/>
          <ac:spMkLst>
            <pc:docMk/>
            <pc:sldMk cId="2278995086" sldId="729"/>
            <ac:spMk id="3234" creationId="{00000000-0008-0000-0300-00006E020000}"/>
          </ac:spMkLst>
        </pc:spChg>
        <pc:spChg chg="mod">
          <ac:chgData name="Schjold, Hanne Røvig" userId="72e82339-bab0-442f-8ca6-e6f386a713ee" providerId="ADAL" clId="{9706D415-2DA0-4D00-90B6-E46BF852F024}" dt="2023-03-16T12:49:25.666" v="782" actId="1038"/>
          <ac:spMkLst>
            <pc:docMk/>
            <pc:sldMk cId="2278995086" sldId="729"/>
            <ac:spMk id="3235" creationId="{00000000-0008-0000-0300-00006F020000}"/>
          </ac:spMkLst>
        </pc:spChg>
        <pc:spChg chg="mod">
          <ac:chgData name="Schjold, Hanne Røvig" userId="72e82339-bab0-442f-8ca6-e6f386a713ee" providerId="ADAL" clId="{9706D415-2DA0-4D00-90B6-E46BF852F024}" dt="2023-03-16T12:49:25.666" v="782" actId="1038"/>
          <ac:spMkLst>
            <pc:docMk/>
            <pc:sldMk cId="2278995086" sldId="729"/>
            <ac:spMk id="3236" creationId="{00000000-0008-0000-0300-000070020000}"/>
          </ac:spMkLst>
        </pc:spChg>
        <pc:spChg chg="mod">
          <ac:chgData name="Schjold, Hanne Røvig" userId="72e82339-bab0-442f-8ca6-e6f386a713ee" providerId="ADAL" clId="{9706D415-2DA0-4D00-90B6-E46BF852F024}" dt="2023-03-16T12:49:25.666" v="782" actId="1038"/>
          <ac:spMkLst>
            <pc:docMk/>
            <pc:sldMk cId="2278995086" sldId="729"/>
            <ac:spMk id="3237" creationId="{00000000-0008-0000-0300-000071020000}"/>
          </ac:spMkLst>
        </pc:spChg>
        <pc:spChg chg="mod">
          <ac:chgData name="Schjold, Hanne Røvig" userId="72e82339-bab0-442f-8ca6-e6f386a713ee" providerId="ADAL" clId="{9706D415-2DA0-4D00-90B6-E46BF852F024}" dt="2023-03-16T12:49:25.666" v="782" actId="1038"/>
          <ac:spMkLst>
            <pc:docMk/>
            <pc:sldMk cId="2278995086" sldId="729"/>
            <ac:spMk id="3238" creationId="{00000000-0008-0000-0300-000072020000}"/>
          </ac:spMkLst>
        </pc:spChg>
        <pc:spChg chg="mod">
          <ac:chgData name="Schjold, Hanne Røvig" userId="72e82339-bab0-442f-8ca6-e6f386a713ee" providerId="ADAL" clId="{9706D415-2DA0-4D00-90B6-E46BF852F024}" dt="2023-03-16T12:49:25.666" v="782" actId="1038"/>
          <ac:spMkLst>
            <pc:docMk/>
            <pc:sldMk cId="2278995086" sldId="729"/>
            <ac:spMk id="3239" creationId="{00000000-0008-0000-0300-000073020000}"/>
          </ac:spMkLst>
        </pc:spChg>
        <pc:spChg chg="mod">
          <ac:chgData name="Schjold, Hanne Røvig" userId="72e82339-bab0-442f-8ca6-e6f386a713ee" providerId="ADAL" clId="{9706D415-2DA0-4D00-90B6-E46BF852F024}" dt="2023-03-16T12:49:25.666" v="782" actId="1038"/>
          <ac:spMkLst>
            <pc:docMk/>
            <pc:sldMk cId="2278995086" sldId="729"/>
            <ac:spMk id="3240" creationId="{00000000-0008-0000-0300-000074020000}"/>
          </ac:spMkLst>
        </pc:spChg>
        <pc:spChg chg="mod">
          <ac:chgData name="Schjold, Hanne Røvig" userId="72e82339-bab0-442f-8ca6-e6f386a713ee" providerId="ADAL" clId="{9706D415-2DA0-4D00-90B6-E46BF852F024}" dt="2023-03-16T12:49:25.666" v="782" actId="1038"/>
          <ac:spMkLst>
            <pc:docMk/>
            <pc:sldMk cId="2278995086" sldId="729"/>
            <ac:spMk id="3241" creationId="{00000000-0008-0000-0300-000075020000}"/>
          </ac:spMkLst>
        </pc:spChg>
        <pc:spChg chg="mod">
          <ac:chgData name="Schjold, Hanne Røvig" userId="72e82339-bab0-442f-8ca6-e6f386a713ee" providerId="ADAL" clId="{9706D415-2DA0-4D00-90B6-E46BF852F024}" dt="2023-03-16T12:49:25.666" v="782" actId="1038"/>
          <ac:spMkLst>
            <pc:docMk/>
            <pc:sldMk cId="2278995086" sldId="729"/>
            <ac:spMk id="3242" creationId="{00000000-0008-0000-0300-000076020000}"/>
          </ac:spMkLst>
        </pc:spChg>
        <pc:spChg chg="mod">
          <ac:chgData name="Schjold, Hanne Røvig" userId="72e82339-bab0-442f-8ca6-e6f386a713ee" providerId="ADAL" clId="{9706D415-2DA0-4D00-90B6-E46BF852F024}" dt="2023-03-16T12:49:25.666" v="782" actId="1038"/>
          <ac:spMkLst>
            <pc:docMk/>
            <pc:sldMk cId="2278995086" sldId="729"/>
            <ac:spMk id="3243" creationId="{00000000-0008-0000-0300-000077020000}"/>
          </ac:spMkLst>
        </pc:spChg>
        <pc:spChg chg="mod">
          <ac:chgData name="Schjold, Hanne Røvig" userId="72e82339-bab0-442f-8ca6-e6f386a713ee" providerId="ADAL" clId="{9706D415-2DA0-4D00-90B6-E46BF852F024}" dt="2023-03-16T12:49:25.666" v="782" actId="1038"/>
          <ac:spMkLst>
            <pc:docMk/>
            <pc:sldMk cId="2278995086" sldId="729"/>
            <ac:spMk id="3244" creationId="{00000000-0008-0000-0300-000078020000}"/>
          </ac:spMkLst>
        </pc:spChg>
        <pc:spChg chg="mod">
          <ac:chgData name="Schjold, Hanne Røvig" userId="72e82339-bab0-442f-8ca6-e6f386a713ee" providerId="ADAL" clId="{9706D415-2DA0-4D00-90B6-E46BF852F024}" dt="2023-03-16T12:49:25.666" v="782" actId="1038"/>
          <ac:spMkLst>
            <pc:docMk/>
            <pc:sldMk cId="2278995086" sldId="729"/>
            <ac:spMk id="3245" creationId="{00000000-0008-0000-0300-000079020000}"/>
          </ac:spMkLst>
        </pc:spChg>
        <pc:spChg chg="mod">
          <ac:chgData name="Schjold, Hanne Røvig" userId="72e82339-bab0-442f-8ca6-e6f386a713ee" providerId="ADAL" clId="{9706D415-2DA0-4D00-90B6-E46BF852F024}" dt="2023-03-16T12:49:25.666" v="782" actId="1038"/>
          <ac:spMkLst>
            <pc:docMk/>
            <pc:sldMk cId="2278995086" sldId="729"/>
            <ac:spMk id="3246" creationId="{00000000-0008-0000-0300-00007A020000}"/>
          </ac:spMkLst>
        </pc:spChg>
        <pc:spChg chg="mod">
          <ac:chgData name="Schjold, Hanne Røvig" userId="72e82339-bab0-442f-8ca6-e6f386a713ee" providerId="ADAL" clId="{9706D415-2DA0-4D00-90B6-E46BF852F024}" dt="2023-03-16T12:49:25.666" v="782" actId="1038"/>
          <ac:spMkLst>
            <pc:docMk/>
            <pc:sldMk cId="2278995086" sldId="729"/>
            <ac:spMk id="3247" creationId="{00000000-0008-0000-0300-00007B020000}"/>
          </ac:spMkLst>
        </pc:spChg>
        <pc:spChg chg="mod">
          <ac:chgData name="Schjold, Hanne Røvig" userId="72e82339-bab0-442f-8ca6-e6f386a713ee" providerId="ADAL" clId="{9706D415-2DA0-4D00-90B6-E46BF852F024}" dt="2023-03-16T12:49:25.666" v="782" actId="1038"/>
          <ac:spMkLst>
            <pc:docMk/>
            <pc:sldMk cId="2278995086" sldId="729"/>
            <ac:spMk id="3248" creationId="{00000000-0008-0000-0300-00007C020000}"/>
          </ac:spMkLst>
        </pc:spChg>
        <pc:spChg chg="mod">
          <ac:chgData name="Schjold, Hanne Røvig" userId="72e82339-bab0-442f-8ca6-e6f386a713ee" providerId="ADAL" clId="{9706D415-2DA0-4D00-90B6-E46BF852F024}" dt="2023-03-16T12:49:25.666" v="782" actId="1038"/>
          <ac:spMkLst>
            <pc:docMk/>
            <pc:sldMk cId="2278995086" sldId="729"/>
            <ac:spMk id="3249" creationId="{00000000-0008-0000-0300-00007D020000}"/>
          </ac:spMkLst>
        </pc:spChg>
        <pc:spChg chg="mod">
          <ac:chgData name="Schjold, Hanne Røvig" userId="72e82339-bab0-442f-8ca6-e6f386a713ee" providerId="ADAL" clId="{9706D415-2DA0-4D00-90B6-E46BF852F024}" dt="2023-03-16T12:49:25.666" v="782" actId="1038"/>
          <ac:spMkLst>
            <pc:docMk/>
            <pc:sldMk cId="2278995086" sldId="729"/>
            <ac:spMk id="3250" creationId="{00000000-0008-0000-0300-00007E020000}"/>
          </ac:spMkLst>
        </pc:spChg>
        <pc:spChg chg="mod">
          <ac:chgData name="Schjold, Hanne Røvig" userId="72e82339-bab0-442f-8ca6-e6f386a713ee" providerId="ADAL" clId="{9706D415-2DA0-4D00-90B6-E46BF852F024}" dt="2023-03-16T12:49:25.666" v="782" actId="1038"/>
          <ac:spMkLst>
            <pc:docMk/>
            <pc:sldMk cId="2278995086" sldId="729"/>
            <ac:spMk id="3251" creationId="{00000000-0008-0000-0300-00007F020000}"/>
          </ac:spMkLst>
        </pc:spChg>
        <pc:spChg chg="mod">
          <ac:chgData name="Schjold, Hanne Røvig" userId="72e82339-bab0-442f-8ca6-e6f386a713ee" providerId="ADAL" clId="{9706D415-2DA0-4D00-90B6-E46BF852F024}" dt="2023-03-16T12:49:25.666" v="782" actId="1038"/>
          <ac:spMkLst>
            <pc:docMk/>
            <pc:sldMk cId="2278995086" sldId="729"/>
            <ac:spMk id="3252" creationId="{00000000-0008-0000-0300-000080020000}"/>
          </ac:spMkLst>
        </pc:spChg>
        <pc:spChg chg="mod">
          <ac:chgData name="Schjold, Hanne Røvig" userId="72e82339-bab0-442f-8ca6-e6f386a713ee" providerId="ADAL" clId="{9706D415-2DA0-4D00-90B6-E46BF852F024}" dt="2023-03-16T12:49:25.666" v="782" actId="1038"/>
          <ac:spMkLst>
            <pc:docMk/>
            <pc:sldMk cId="2278995086" sldId="729"/>
            <ac:spMk id="3253" creationId="{00000000-0008-0000-0300-000081020000}"/>
          </ac:spMkLst>
        </pc:spChg>
        <pc:spChg chg="mod">
          <ac:chgData name="Schjold, Hanne Røvig" userId="72e82339-bab0-442f-8ca6-e6f386a713ee" providerId="ADAL" clId="{9706D415-2DA0-4D00-90B6-E46BF852F024}" dt="2023-03-16T12:49:25.666" v="782" actId="1038"/>
          <ac:spMkLst>
            <pc:docMk/>
            <pc:sldMk cId="2278995086" sldId="729"/>
            <ac:spMk id="3254" creationId="{00000000-0008-0000-0300-000082020000}"/>
          </ac:spMkLst>
        </pc:spChg>
        <pc:spChg chg="mod">
          <ac:chgData name="Schjold, Hanne Røvig" userId="72e82339-bab0-442f-8ca6-e6f386a713ee" providerId="ADAL" clId="{9706D415-2DA0-4D00-90B6-E46BF852F024}" dt="2023-03-16T12:49:25.666" v="782" actId="1038"/>
          <ac:spMkLst>
            <pc:docMk/>
            <pc:sldMk cId="2278995086" sldId="729"/>
            <ac:spMk id="3255" creationId="{00000000-0008-0000-0300-000083020000}"/>
          </ac:spMkLst>
        </pc:spChg>
        <pc:spChg chg="mod">
          <ac:chgData name="Schjold, Hanne Røvig" userId="72e82339-bab0-442f-8ca6-e6f386a713ee" providerId="ADAL" clId="{9706D415-2DA0-4D00-90B6-E46BF852F024}" dt="2023-03-16T12:49:25.666" v="782" actId="1038"/>
          <ac:spMkLst>
            <pc:docMk/>
            <pc:sldMk cId="2278995086" sldId="729"/>
            <ac:spMk id="3256" creationId="{00000000-0008-0000-0300-000084020000}"/>
          </ac:spMkLst>
        </pc:spChg>
        <pc:spChg chg="mod">
          <ac:chgData name="Schjold, Hanne Røvig" userId="72e82339-bab0-442f-8ca6-e6f386a713ee" providerId="ADAL" clId="{9706D415-2DA0-4D00-90B6-E46BF852F024}" dt="2023-03-16T12:49:25.666" v="782" actId="1038"/>
          <ac:spMkLst>
            <pc:docMk/>
            <pc:sldMk cId="2278995086" sldId="729"/>
            <ac:spMk id="3257" creationId="{00000000-0008-0000-0300-000085020000}"/>
          </ac:spMkLst>
        </pc:spChg>
        <pc:spChg chg="mod">
          <ac:chgData name="Schjold, Hanne Røvig" userId="72e82339-bab0-442f-8ca6-e6f386a713ee" providerId="ADAL" clId="{9706D415-2DA0-4D00-90B6-E46BF852F024}" dt="2023-03-16T12:49:25.666" v="782" actId="1038"/>
          <ac:spMkLst>
            <pc:docMk/>
            <pc:sldMk cId="2278995086" sldId="729"/>
            <ac:spMk id="3258" creationId="{00000000-0008-0000-0300-000086020000}"/>
          </ac:spMkLst>
        </pc:spChg>
        <pc:spChg chg="mod">
          <ac:chgData name="Schjold, Hanne Røvig" userId="72e82339-bab0-442f-8ca6-e6f386a713ee" providerId="ADAL" clId="{9706D415-2DA0-4D00-90B6-E46BF852F024}" dt="2023-03-16T12:49:25.666" v="782" actId="1038"/>
          <ac:spMkLst>
            <pc:docMk/>
            <pc:sldMk cId="2278995086" sldId="729"/>
            <ac:spMk id="3259" creationId="{00000000-0008-0000-0300-000087020000}"/>
          </ac:spMkLst>
        </pc:spChg>
        <pc:spChg chg="mod">
          <ac:chgData name="Schjold, Hanne Røvig" userId="72e82339-bab0-442f-8ca6-e6f386a713ee" providerId="ADAL" clId="{9706D415-2DA0-4D00-90B6-E46BF852F024}" dt="2023-03-16T12:49:25.666" v="782" actId="1038"/>
          <ac:spMkLst>
            <pc:docMk/>
            <pc:sldMk cId="2278995086" sldId="729"/>
            <ac:spMk id="3260" creationId="{00000000-0008-0000-0300-000088020000}"/>
          </ac:spMkLst>
        </pc:spChg>
        <pc:spChg chg="mod">
          <ac:chgData name="Schjold, Hanne Røvig" userId="72e82339-bab0-442f-8ca6-e6f386a713ee" providerId="ADAL" clId="{9706D415-2DA0-4D00-90B6-E46BF852F024}" dt="2023-03-16T12:49:25.666" v="782" actId="1038"/>
          <ac:spMkLst>
            <pc:docMk/>
            <pc:sldMk cId="2278995086" sldId="729"/>
            <ac:spMk id="3261" creationId="{00000000-0008-0000-0300-000089020000}"/>
          </ac:spMkLst>
        </pc:spChg>
        <pc:spChg chg="mod">
          <ac:chgData name="Schjold, Hanne Røvig" userId="72e82339-bab0-442f-8ca6-e6f386a713ee" providerId="ADAL" clId="{9706D415-2DA0-4D00-90B6-E46BF852F024}" dt="2023-03-16T12:49:25.666" v="782" actId="1038"/>
          <ac:spMkLst>
            <pc:docMk/>
            <pc:sldMk cId="2278995086" sldId="729"/>
            <ac:spMk id="3262" creationId="{00000000-0008-0000-0300-00008A020000}"/>
          </ac:spMkLst>
        </pc:spChg>
        <pc:spChg chg="mod">
          <ac:chgData name="Schjold, Hanne Røvig" userId="72e82339-bab0-442f-8ca6-e6f386a713ee" providerId="ADAL" clId="{9706D415-2DA0-4D00-90B6-E46BF852F024}" dt="2023-03-16T12:49:25.666" v="782" actId="1038"/>
          <ac:spMkLst>
            <pc:docMk/>
            <pc:sldMk cId="2278995086" sldId="729"/>
            <ac:spMk id="3263" creationId="{00000000-0008-0000-0300-00008B020000}"/>
          </ac:spMkLst>
        </pc:spChg>
        <pc:spChg chg="mod">
          <ac:chgData name="Schjold, Hanne Røvig" userId="72e82339-bab0-442f-8ca6-e6f386a713ee" providerId="ADAL" clId="{9706D415-2DA0-4D00-90B6-E46BF852F024}" dt="2023-03-16T12:49:25.666" v="782" actId="1038"/>
          <ac:spMkLst>
            <pc:docMk/>
            <pc:sldMk cId="2278995086" sldId="729"/>
            <ac:spMk id="3264" creationId="{00000000-0008-0000-0300-00008C020000}"/>
          </ac:spMkLst>
        </pc:spChg>
        <pc:spChg chg="mod">
          <ac:chgData name="Schjold, Hanne Røvig" userId="72e82339-bab0-442f-8ca6-e6f386a713ee" providerId="ADAL" clId="{9706D415-2DA0-4D00-90B6-E46BF852F024}" dt="2023-03-16T12:49:25.666" v="782" actId="1038"/>
          <ac:spMkLst>
            <pc:docMk/>
            <pc:sldMk cId="2278995086" sldId="729"/>
            <ac:spMk id="3265" creationId="{00000000-0008-0000-0300-00008D020000}"/>
          </ac:spMkLst>
        </pc:spChg>
        <pc:spChg chg="mod">
          <ac:chgData name="Schjold, Hanne Røvig" userId="72e82339-bab0-442f-8ca6-e6f386a713ee" providerId="ADAL" clId="{9706D415-2DA0-4D00-90B6-E46BF852F024}" dt="2023-03-16T12:49:25.666" v="782" actId="1038"/>
          <ac:spMkLst>
            <pc:docMk/>
            <pc:sldMk cId="2278995086" sldId="729"/>
            <ac:spMk id="3266" creationId="{00000000-0008-0000-0300-00008E020000}"/>
          </ac:spMkLst>
        </pc:spChg>
        <pc:spChg chg="mod">
          <ac:chgData name="Schjold, Hanne Røvig" userId="72e82339-bab0-442f-8ca6-e6f386a713ee" providerId="ADAL" clId="{9706D415-2DA0-4D00-90B6-E46BF852F024}" dt="2023-03-16T12:49:25.666" v="782" actId="1038"/>
          <ac:spMkLst>
            <pc:docMk/>
            <pc:sldMk cId="2278995086" sldId="729"/>
            <ac:spMk id="3267" creationId="{00000000-0008-0000-0300-00008F020000}"/>
          </ac:spMkLst>
        </pc:spChg>
        <pc:spChg chg="mod">
          <ac:chgData name="Schjold, Hanne Røvig" userId="72e82339-bab0-442f-8ca6-e6f386a713ee" providerId="ADAL" clId="{9706D415-2DA0-4D00-90B6-E46BF852F024}" dt="2023-03-16T12:49:25.666" v="782" actId="1038"/>
          <ac:spMkLst>
            <pc:docMk/>
            <pc:sldMk cId="2278995086" sldId="729"/>
            <ac:spMk id="3268" creationId="{00000000-0008-0000-0300-000090020000}"/>
          </ac:spMkLst>
        </pc:spChg>
        <pc:spChg chg="mod">
          <ac:chgData name="Schjold, Hanne Røvig" userId="72e82339-bab0-442f-8ca6-e6f386a713ee" providerId="ADAL" clId="{9706D415-2DA0-4D00-90B6-E46BF852F024}" dt="2023-03-16T12:49:25.666" v="782" actId="1038"/>
          <ac:spMkLst>
            <pc:docMk/>
            <pc:sldMk cId="2278995086" sldId="729"/>
            <ac:spMk id="3269" creationId="{00000000-0008-0000-0300-000091020000}"/>
          </ac:spMkLst>
        </pc:spChg>
        <pc:spChg chg="mod">
          <ac:chgData name="Schjold, Hanne Røvig" userId="72e82339-bab0-442f-8ca6-e6f386a713ee" providerId="ADAL" clId="{9706D415-2DA0-4D00-90B6-E46BF852F024}" dt="2023-03-16T12:49:25.666" v="782" actId="1038"/>
          <ac:spMkLst>
            <pc:docMk/>
            <pc:sldMk cId="2278995086" sldId="729"/>
            <ac:spMk id="3270" creationId="{00000000-0008-0000-0300-000092020000}"/>
          </ac:spMkLst>
        </pc:spChg>
        <pc:spChg chg="mod">
          <ac:chgData name="Schjold, Hanne Røvig" userId="72e82339-bab0-442f-8ca6-e6f386a713ee" providerId="ADAL" clId="{9706D415-2DA0-4D00-90B6-E46BF852F024}" dt="2023-03-16T12:49:25.666" v="782" actId="1038"/>
          <ac:spMkLst>
            <pc:docMk/>
            <pc:sldMk cId="2278995086" sldId="729"/>
            <ac:spMk id="3271" creationId="{00000000-0008-0000-0300-000093020000}"/>
          </ac:spMkLst>
        </pc:spChg>
        <pc:spChg chg="mod">
          <ac:chgData name="Schjold, Hanne Røvig" userId="72e82339-bab0-442f-8ca6-e6f386a713ee" providerId="ADAL" clId="{9706D415-2DA0-4D00-90B6-E46BF852F024}" dt="2023-03-16T12:49:25.666" v="782" actId="1038"/>
          <ac:spMkLst>
            <pc:docMk/>
            <pc:sldMk cId="2278995086" sldId="729"/>
            <ac:spMk id="3272" creationId="{00000000-0008-0000-0300-000094020000}"/>
          </ac:spMkLst>
        </pc:spChg>
        <pc:spChg chg="mod">
          <ac:chgData name="Schjold, Hanne Røvig" userId="72e82339-bab0-442f-8ca6-e6f386a713ee" providerId="ADAL" clId="{9706D415-2DA0-4D00-90B6-E46BF852F024}" dt="2023-03-16T12:49:25.666" v="782" actId="1038"/>
          <ac:spMkLst>
            <pc:docMk/>
            <pc:sldMk cId="2278995086" sldId="729"/>
            <ac:spMk id="3273" creationId="{00000000-0008-0000-0300-000095020000}"/>
          </ac:spMkLst>
        </pc:spChg>
        <pc:spChg chg="mod">
          <ac:chgData name="Schjold, Hanne Røvig" userId="72e82339-bab0-442f-8ca6-e6f386a713ee" providerId="ADAL" clId="{9706D415-2DA0-4D00-90B6-E46BF852F024}" dt="2023-03-16T12:49:25.666" v="782" actId="1038"/>
          <ac:spMkLst>
            <pc:docMk/>
            <pc:sldMk cId="2278995086" sldId="729"/>
            <ac:spMk id="3274" creationId="{00000000-0008-0000-0300-000096020000}"/>
          </ac:spMkLst>
        </pc:spChg>
        <pc:spChg chg="mod">
          <ac:chgData name="Schjold, Hanne Røvig" userId="72e82339-bab0-442f-8ca6-e6f386a713ee" providerId="ADAL" clId="{9706D415-2DA0-4D00-90B6-E46BF852F024}" dt="2023-03-16T12:49:25.666" v="782" actId="1038"/>
          <ac:spMkLst>
            <pc:docMk/>
            <pc:sldMk cId="2278995086" sldId="729"/>
            <ac:spMk id="3275" creationId="{00000000-0008-0000-0300-000097020000}"/>
          </ac:spMkLst>
        </pc:spChg>
        <pc:spChg chg="mod">
          <ac:chgData name="Schjold, Hanne Røvig" userId="72e82339-bab0-442f-8ca6-e6f386a713ee" providerId="ADAL" clId="{9706D415-2DA0-4D00-90B6-E46BF852F024}" dt="2023-03-16T12:49:25.666" v="782" actId="1038"/>
          <ac:spMkLst>
            <pc:docMk/>
            <pc:sldMk cId="2278995086" sldId="729"/>
            <ac:spMk id="3276" creationId="{00000000-0008-0000-0300-000098020000}"/>
          </ac:spMkLst>
        </pc:spChg>
        <pc:spChg chg="mod">
          <ac:chgData name="Schjold, Hanne Røvig" userId="72e82339-bab0-442f-8ca6-e6f386a713ee" providerId="ADAL" clId="{9706D415-2DA0-4D00-90B6-E46BF852F024}" dt="2023-03-16T12:49:25.666" v="782" actId="1038"/>
          <ac:spMkLst>
            <pc:docMk/>
            <pc:sldMk cId="2278995086" sldId="729"/>
            <ac:spMk id="3277" creationId="{00000000-0008-0000-0300-000099020000}"/>
          </ac:spMkLst>
        </pc:spChg>
        <pc:spChg chg="mod">
          <ac:chgData name="Schjold, Hanne Røvig" userId="72e82339-bab0-442f-8ca6-e6f386a713ee" providerId="ADAL" clId="{9706D415-2DA0-4D00-90B6-E46BF852F024}" dt="2023-03-16T12:49:25.666" v="782" actId="1038"/>
          <ac:spMkLst>
            <pc:docMk/>
            <pc:sldMk cId="2278995086" sldId="729"/>
            <ac:spMk id="3278" creationId="{00000000-0008-0000-0300-00009A020000}"/>
          </ac:spMkLst>
        </pc:spChg>
        <pc:spChg chg="mod">
          <ac:chgData name="Schjold, Hanne Røvig" userId="72e82339-bab0-442f-8ca6-e6f386a713ee" providerId="ADAL" clId="{9706D415-2DA0-4D00-90B6-E46BF852F024}" dt="2023-03-16T12:49:25.666" v="782" actId="1038"/>
          <ac:spMkLst>
            <pc:docMk/>
            <pc:sldMk cId="2278995086" sldId="729"/>
            <ac:spMk id="3279" creationId="{00000000-0008-0000-0300-00009B020000}"/>
          </ac:spMkLst>
        </pc:spChg>
        <pc:spChg chg="mod">
          <ac:chgData name="Schjold, Hanne Røvig" userId="72e82339-bab0-442f-8ca6-e6f386a713ee" providerId="ADAL" clId="{9706D415-2DA0-4D00-90B6-E46BF852F024}" dt="2023-03-16T12:49:25.666" v="782" actId="1038"/>
          <ac:spMkLst>
            <pc:docMk/>
            <pc:sldMk cId="2278995086" sldId="729"/>
            <ac:spMk id="3280" creationId="{00000000-0008-0000-0300-00009C020000}"/>
          </ac:spMkLst>
        </pc:spChg>
        <pc:spChg chg="mod">
          <ac:chgData name="Schjold, Hanne Røvig" userId="72e82339-bab0-442f-8ca6-e6f386a713ee" providerId="ADAL" clId="{9706D415-2DA0-4D00-90B6-E46BF852F024}" dt="2023-03-16T12:49:25.666" v="782" actId="1038"/>
          <ac:spMkLst>
            <pc:docMk/>
            <pc:sldMk cId="2278995086" sldId="729"/>
            <ac:spMk id="3281" creationId="{00000000-0008-0000-0300-00009D020000}"/>
          </ac:spMkLst>
        </pc:spChg>
        <pc:spChg chg="mod">
          <ac:chgData name="Schjold, Hanne Røvig" userId="72e82339-bab0-442f-8ca6-e6f386a713ee" providerId="ADAL" clId="{9706D415-2DA0-4D00-90B6-E46BF852F024}" dt="2023-03-16T12:49:25.666" v="782" actId="1038"/>
          <ac:spMkLst>
            <pc:docMk/>
            <pc:sldMk cId="2278995086" sldId="729"/>
            <ac:spMk id="3282" creationId="{00000000-0008-0000-0300-00009E020000}"/>
          </ac:spMkLst>
        </pc:spChg>
        <pc:spChg chg="mod">
          <ac:chgData name="Schjold, Hanne Røvig" userId="72e82339-bab0-442f-8ca6-e6f386a713ee" providerId="ADAL" clId="{9706D415-2DA0-4D00-90B6-E46BF852F024}" dt="2023-03-16T12:49:25.666" v="782" actId="1038"/>
          <ac:spMkLst>
            <pc:docMk/>
            <pc:sldMk cId="2278995086" sldId="729"/>
            <ac:spMk id="3283" creationId="{00000000-0008-0000-0300-00009F020000}"/>
          </ac:spMkLst>
        </pc:spChg>
        <pc:spChg chg="mod">
          <ac:chgData name="Schjold, Hanne Røvig" userId="72e82339-bab0-442f-8ca6-e6f386a713ee" providerId="ADAL" clId="{9706D415-2DA0-4D00-90B6-E46BF852F024}" dt="2023-03-16T12:49:25.666" v="782" actId="1038"/>
          <ac:spMkLst>
            <pc:docMk/>
            <pc:sldMk cId="2278995086" sldId="729"/>
            <ac:spMk id="3284" creationId="{00000000-0008-0000-0300-0000A0020000}"/>
          </ac:spMkLst>
        </pc:spChg>
        <pc:spChg chg="mod">
          <ac:chgData name="Schjold, Hanne Røvig" userId="72e82339-bab0-442f-8ca6-e6f386a713ee" providerId="ADAL" clId="{9706D415-2DA0-4D00-90B6-E46BF852F024}" dt="2023-03-16T12:49:25.666" v="782" actId="1038"/>
          <ac:spMkLst>
            <pc:docMk/>
            <pc:sldMk cId="2278995086" sldId="729"/>
            <ac:spMk id="3285" creationId="{00000000-0008-0000-0300-0000A1020000}"/>
          </ac:spMkLst>
        </pc:spChg>
        <pc:spChg chg="mod">
          <ac:chgData name="Schjold, Hanne Røvig" userId="72e82339-bab0-442f-8ca6-e6f386a713ee" providerId="ADAL" clId="{9706D415-2DA0-4D00-90B6-E46BF852F024}" dt="2023-03-16T12:49:25.666" v="782" actId="1038"/>
          <ac:spMkLst>
            <pc:docMk/>
            <pc:sldMk cId="2278995086" sldId="729"/>
            <ac:spMk id="3286" creationId="{00000000-0008-0000-0300-0000A2020000}"/>
          </ac:spMkLst>
        </pc:spChg>
        <pc:spChg chg="mod">
          <ac:chgData name="Schjold, Hanne Røvig" userId="72e82339-bab0-442f-8ca6-e6f386a713ee" providerId="ADAL" clId="{9706D415-2DA0-4D00-90B6-E46BF852F024}" dt="2023-03-16T12:49:25.666" v="782" actId="1038"/>
          <ac:spMkLst>
            <pc:docMk/>
            <pc:sldMk cId="2278995086" sldId="729"/>
            <ac:spMk id="3287" creationId="{00000000-0008-0000-0300-0000A3020000}"/>
          </ac:spMkLst>
        </pc:spChg>
        <pc:spChg chg="mod">
          <ac:chgData name="Schjold, Hanne Røvig" userId="72e82339-bab0-442f-8ca6-e6f386a713ee" providerId="ADAL" clId="{9706D415-2DA0-4D00-90B6-E46BF852F024}" dt="2023-03-16T12:49:25.666" v="782" actId="1038"/>
          <ac:spMkLst>
            <pc:docMk/>
            <pc:sldMk cId="2278995086" sldId="729"/>
            <ac:spMk id="3288" creationId="{00000000-0008-0000-0300-0000A4020000}"/>
          </ac:spMkLst>
        </pc:spChg>
        <pc:spChg chg="mod">
          <ac:chgData name="Schjold, Hanne Røvig" userId="72e82339-bab0-442f-8ca6-e6f386a713ee" providerId="ADAL" clId="{9706D415-2DA0-4D00-90B6-E46BF852F024}" dt="2023-03-16T12:49:25.666" v="782" actId="1038"/>
          <ac:spMkLst>
            <pc:docMk/>
            <pc:sldMk cId="2278995086" sldId="729"/>
            <ac:spMk id="3289" creationId="{00000000-0008-0000-0300-0000A5020000}"/>
          </ac:spMkLst>
        </pc:spChg>
        <pc:spChg chg="mod">
          <ac:chgData name="Schjold, Hanne Røvig" userId="72e82339-bab0-442f-8ca6-e6f386a713ee" providerId="ADAL" clId="{9706D415-2DA0-4D00-90B6-E46BF852F024}" dt="2023-03-16T12:49:25.666" v="782" actId="1038"/>
          <ac:spMkLst>
            <pc:docMk/>
            <pc:sldMk cId="2278995086" sldId="729"/>
            <ac:spMk id="3290" creationId="{00000000-0008-0000-0300-0000A6020000}"/>
          </ac:spMkLst>
        </pc:spChg>
        <pc:spChg chg="mod">
          <ac:chgData name="Schjold, Hanne Røvig" userId="72e82339-bab0-442f-8ca6-e6f386a713ee" providerId="ADAL" clId="{9706D415-2DA0-4D00-90B6-E46BF852F024}" dt="2023-03-16T12:49:25.666" v="782" actId="1038"/>
          <ac:spMkLst>
            <pc:docMk/>
            <pc:sldMk cId="2278995086" sldId="729"/>
            <ac:spMk id="3291" creationId="{00000000-0008-0000-0300-0000A7020000}"/>
          </ac:spMkLst>
        </pc:spChg>
        <pc:spChg chg="mod">
          <ac:chgData name="Schjold, Hanne Røvig" userId="72e82339-bab0-442f-8ca6-e6f386a713ee" providerId="ADAL" clId="{9706D415-2DA0-4D00-90B6-E46BF852F024}" dt="2023-03-16T12:49:25.666" v="782" actId="1038"/>
          <ac:spMkLst>
            <pc:docMk/>
            <pc:sldMk cId="2278995086" sldId="729"/>
            <ac:spMk id="3292" creationId="{00000000-0008-0000-0300-0000A8020000}"/>
          </ac:spMkLst>
        </pc:spChg>
        <pc:spChg chg="mod">
          <ac:chgData name="Schjold, Hanne Røvig" userId="72e82339-bab0-442f-8ca6-e6f386a713ee" providerId="ADAL" clId="{9706D415-2DA0-4D00-90B6-E46BF852F024}" dt="2023-03-16T12:49:25.666" v="782" actId="1038"/>
          <ac:spMkLst>
            <pc:docMk/>
            <pc:sldMk cId="2278995086" sldId="729"/>
            <ac:spMk id="3293" creationId="{00000000-0008-0000-0300-0000A9020000}"/>
          </ac:spMkLst>
        </pc:spChg>
        <pc:spChg chg="mod">
          <ac:chgData name="Schjold, Hanne Røvig" userId="72e82339-bab0-442f-8ca6-e6f386a713ee" providerId="ADAL" clId="{9706D415-2DA0-4D00-90B6-E46BF852F024}" dt="2023-03-16T12:49:25.666" v="782" actId="1038"/>
          <ac:spMkLst>
            <pc:docMk/>
            <pc:sldMk cId="2278995086" sldId="729"/>
            <ac:spMk id="3294" creationId="{00000000-0008-0000-0300-0000AA020000}"/>
          </ac:spMkLst>
        </pc:spChg>
        <pc:spChg chg="mod">
          <ac:chgData name="Schjold, Hanne Røvig" userId="72e82339-bab0-442f-8ca6-e6f386a713ee" providerId="ADAL" clId="{9706D415-2DA0-4D00-90B6-E46BF852F024}" dt="2023-03-16T12:49:25.666" v="782" actId="1038"/>
          <ac:spMkLst>
            <pc:docMk/>
            <pc:sldMk cId="2278995086" sldId="729"/>
            <ac:spMk id="3295" creationId="{00000000-0008-0000-0300-0000AB020000}"/>
          </ac:spMkLst>
        </pc:spChg>
        <pc:spChg chg="mod">
          <ac:chgData name="Schjold, Hanne Røvig" userId="72e82339-bab0-442f-8ca6-e6f386a713ee" providerId="ADAL" clId="{9706D415-2DA0-4D00-90B6-E46BF852F024}" dt="2023-03-16T12:49:25.666" v="782" actId="1038"/>
          <ac:spMkLst>
            <pc:docMk/>
            <pc:sldMk cId="2278995086" sldId="729"/>
            <ac:spMk id="3296" creationId="{00000000-0008-0000-0300-0000AC020000}"/>
          </ac:spMkLst>
        </pc:spChg>
        <pc:spChg chg="mod">
          <ac:chgData name="Schjold, Hanne Røvig" userId="72e82339-bab0-442f-8ca6-e6f386a713ee" providerId="ADAL" clId="{9706D415-2DA0-4D00-90B6-E46BF852F024}" dt="2023-03-16T12:49:25.666" v="782" actId="1038"/>
          <ac:spMkLst>
            <pc:docMk/>
            <pc:sldMk cId="2278995086" sldId="729"/>
            <ac:spMk id="3297" creationId="{00000000-0008-0000-0300-0000AD020000}"/>
          </ac:spMkLst>
        </pc:spChg>
        <pc:spChg chg="mod">
          <ac:chgData name="Schjold, Hanne Røvig" userId="72e82339-bab0-442f-8ca6-e6f386a713ee" providerId="ADAL" clId="{9706D415-2DA0-4D00-90B6-E46BF852F024}" dt="2023-03-16T12:49:25.666" v="782" actId="1038"/>
          <ac:spMkLst>
            <pc:docMk/>
            <pc:sldMk cId="2278995086" sldId="729"/>
            <ac:spMk id="3298" creationId="{00000000-0008-0000-0300-0000AE020000}"/>
          </ac:spMkLst>
        </pc:spChg>
        <pc:spChg chg="mod">
          <ac:chgData name="Schjold, Hanne Røvig" userId="72e82339-bab0-442f-8ca6-e6f386a713ee" providerId="ADAL" clId="{9706D415-2DA0-4D00-90B6-E46BF852F024}" dt="2023-03-16T12:49:25.666" v="782" actId="1038"/>
          <ac:spMkLst>
            <pc:docMk/>
            <pc:sldMk cId="2278995086" sldId="729"/>
            <ac:spMk id="3299" creationId="{00000000-0008-0000-0300-0000AF020000}"/>
          </ac:spMkLst>
        </pc:spChg>
        <pc:spChg chg="mod">
          <ac:chgData name="Schjold, Hanne Røvig" userId="72e82339-bab0-442f-8ca6-e6f386a713ee" providerId="ADAL" clId="{9706D415-2DA0-4D00-90B6-E46BF852F024}" dt="2023-03-16T12:49:25.666" v="782" actId="1038"/>
          <ac:spMkLst>
            <pc:docMk/>
            <pc:sldMk cId="2278995086" sldId="729"/>
            <ac:spMk id="3300" creationId="{00000000-0008-0000-0300-0000B0020000}"/>
          </ac:spMkLst>
        </pc:spChg>
        <pc:spChg chg="mod">
          <ac:chgData name="Schjold, Hanne Røvig" userId="72e82339-bab0-442f-8ca6-e6f386a713ee" providerId="ADAL" clId="{9706D415-2DA0-4D00-90B6-E46BF852F024}" dt="2023-03-16T12:49:25.666" v="782" actId="1038"/>
          <ac:spMkLst>
            <pc:docMk/>
            <pc:sldMk cId="2278995086" sldId="729"/>
            <ac:spMk id="3301" creationId="{00000000-0008-0000-0300-0000B1020000}"/>
          </ac:spMkLst>
        </pc:spChg>
        <pc:spChg chg="mod">
          <ac:chgData name="Schjold, Hanne Røvig" userId="72e82339-bab0-442f-8ca6-e6f386a713ee" providerId="ADAL" clId="{9706D415-2DA0-4D00-90B6-E46BF852F024}" dt="2023-03-16T12:49:25.666" v="782" actId="1038"/>
          <ac:spMkLst>
            <pc:docMk/>
            <pc:sldMk cId="2278995086" sldId="729"/>
            <ac:spMk id="3302" creationId="{00000000-0008-0000-0300-0000B2020000}"/>
          </ac:spMkLst>
        </pc:spChg>
        <pc:spChg chg="mod">
          <ac:chgData name="Schjold, Hanne Røvig" userId="72e82339-bab0-442f-8ca6-e6f386a713ee" providerId="ADAL" clId="{9706D415-2DA0-4D00-90B6-E46BF852F024}" dt="2023-03-16T12:49:25.666" v="782" actId="1038"/>
          <ac:spMkLst>
            <pc:docMk/>
            <pc:sldMk cId="2278995086" sldId="729"/>
            <ac:spMk id="3303" creationId="{00000000-0008-0000-0300-0000B3020000}"/>
          </ac:spMkLst>
        </pc:spChg>
        <pc:spChg chg="mod">
          <ac:chgData name="Schjold, Hanne Røvig" userId="72e82339-bab0-442f-8ca6-e6f386a713ee" providerId="ADAL" clId="{9706D415-2DA0-4D00-90B6-E46BF852F024}" dt="2023-03-16T12:49:25.666" v="782" actId="1038"/>
          <ac:spMkLst>
            <pc:docMk/>
            <pc:sldMk cId="2278995086" sldId="729"/>
            <ac:spMk id="3304" creationId="{00000000-0008-0000-0300-0000B4020000}"/>
          </ac:spMkLst>
        </pc:spChg>
        <pc:spChg chg="mod">
          <ac:chgData name="Schjold, Hanne Røvig" userId="72e82339-bab0-442f-8ca6-e6f386a713ee" providerId="ADAL" clId="{9706D415-2DA0-4D00-90B6-E46BF852F024}" dt="2023-03-16T12:49:25.666" v="782" actId="1038"/>
          <ac:spMkLst>
            <pc:docMk/>
            <pc:sldMk cId="2278995086" sldId="729"/>
            <ac:spMk id="3305" creationId="{00000000-0008-0000-0300-0000B5020000}"/>
          </ac:spMkLst>
        </pc:spChg>
        <pc:spChg chg="mod">
          <ac:chgData name="Schjold, Hanne Røvig" userId="72e82339-bab0-442f-8ca6-e6f386a713ee" providerId="ADAL" clId="{9706D415-2DA0-4D00-90B6-E46BF852F024}" dt="2023-03-16T12:49:25.666" v="782" actId="1038"/>
          <ac:spMkLst>
            <pc:docMk/>
            <pc:sldMk cId="2278995086" sldId="729"/>
            <ac:spMk id="3306" creationId="{00000000-0008-0000-0300-0000B6020000}"/>
          </ac:spMkLst>
        </pc:spChg>
        <pc:spChg chg="mod">
          <ac:chgData name="Schjold, Hanne Røvig" userId="72e82339-bab0-442f-8ca6-e6f386a713ee" providerId="ADAL" clId="{9706D415-2DA0-4D00-90B6-E46BF852F024}" dt="2023-03-16T12:49:25.666" v="782" actId="1038"/>
          <ac:spMkLst>
            <pc:docMk/>
            <pc:sldMk cId="2278995086" sldId="729"/>
            <ac:spMk id="3307" creationId="{00000000-0008-0000-0300-0000B7020000}"/>
          </ac:spMkLst>
        </pc:spChg>
        <pc:spChg chg="mod">
          <ac:chgData name="Schjold, Hanne Røvig" userId="72e82339-bab0-442f-8ca6-e6f386a713ee" providerId="ADAL" clId="{9706D415-2DA0-4D00-90B6-E46BF852F024}" dt="2023-03-16T12:49:25.666" v="782" actId="1038"/>
          <ac:spMkLst>
            <pc:docMk/>
            <pc:sldMk cId="2278995086" sldId="729"/>
            <ac:spMk id="3308" creationId="{00000000-0008-0000-0300-0000B8020000}"/>
          </ac:spMkLst>
        </pc:spChg>
        <pc:spChg chg="mod">
          <ac:chgData name="Schjold, Hanne Røvig" userId="72e82339-bab0-442f-8ca6-e6f386a713ee" providerId="ADAL" clId="{9706D415-2DA0-4D00-90B6-E46BF852F024}" dt="2023-03-16T12:49:25.666" v="782" actId="1038"/>
          <ac:spMkLst>
            <pc:docMk/>
            <pc:sldMk cId="2278995086" sldId="729"/>
            <ac:spMk id="3309" creationId="{00000000-0008-0000-0300-0000B9020000}"/>
          </ac:spMkLst>
        </pc:spChg>
        <pc:spChg chg="mod">
          <ac:chgData name="Schjold, Hanne Røvig" userId="72e82339-bab0-442f-8ca6-e6f386a713ee" providerId="ADAL" clId="{9706D415-2DA0-4D00-90B6-E46BF852F024}" dt="2023-03-16T12:49:25.666" v="782" actId="1038"/>
          <ac:spMkLst>
            <pc:docMk/>
            <pc:sldMk cId="2278995086" sldId="729"/>
            <ac:spMk id="3310" creationId="{00000000-0008-0000-0300-0000BA020000}"/>
          </ac:spMkLst>
        </pc:spChg>
        <pc:spChg chg="mod">
          <ac:chgData name="Schjold, Hanne Røvig" userId="72e82339-bab0-442f-8ca6-e6f386a713ee" providerId="ADAL" clId="{9706D415-2DA0-4D00-90B6-E46BF852F024}" dt="2023-03-16T12:49:25.666" v="782" actId="1038"/>
          <ac:spMkLst>
            <pc:docMk/>
            <pc:sldMk cId="2278995086" sldId="729"/>
            <ac:spMk id="3311" creationId="{00000000-0008-0000-0300-0000BB020000}"/>
          </ac:spMkLst>
        </pc:spChg>
        <pc:spChg chg="mod">
          <ac:chgData name="Schjold, Hanne Røvig" userId="72e82339-bab0-442f-8ca6-e6f386a713ee" providerId="ADAL" clId="{9706D415-2DA0-4D00-90B6-E46BF852F024}" dt="2023-03-16T12:49:25.666" v="782" actId="1038"/>
          <ac:spMkLst>
            <pc:docMk/>
            <pc:sldMk cId="2278995086" sldId="729"/>
            <ac:spMk id="3312" creationId="{00000000-0008-0000-0300-0000BC020000}"/>
          </ac:spMkLst>
        </pc:spChg>
        <pc:spChg chg="mod">
          <ac:chgData name="Schjold, Hanne Røvig" userId="72e82339-bab0-442f-8ca6-e6f386a713ee" providerId="ADAL" clId="{9706D415-2DA0-4D00-90B6-E46BF852F024}" dt="2023-03-16T12:49:25.666" v="782" actId="1038"/>
          <ac:spMkLst>
            <pc:docMk/>
            <pc:sldMk cId="2278995086" sldId="729"/>
            <ac:spMk id="3313" creationId="{00000000-0008-0000-0300-0000BD020000}"/>
          </ac:spMkLst>
        </pc:spChg>
        <pc:spChg chg="mod">
          <ac:chgData name="Schjold, Hanne Røvig" userId="72e82339-bab0-442f-8ca6-e6f386a713ee" providerId="ADAL" clId="{9706D415-2DA0-4D00-90B6-E46BF852F024}" dt="2023-03-16T12:49:25.666" v="782" actId="1038"/>
          <ac:spMkLst>
            <pc:docMk/>
            <pc:sldMk cId="2278995086" sldId="729"/>
            <ac:spMk id="3314" creationId="{00000000-0008-0000-0300-0000BE020000}"/>
          </ac:spMkLst>
        </pc:spChg>
        <pc:spChg chg="mod">
          <ac:chgData name="Schjold, Hanne Røvig" userId="72e82339-bab0-442f-8ca6-e6f386a713ee" providerId="ADAL" clId="{9706D415-2DA0-4D00-90B6-E46BF852F024}" dt="2023-03-16T12:49:25.666" v="782" actId="1038"/>
          <ac:spMkLst>
            <pc:docMk/>
            <pc:sldMk cId="2278995086" sldId="729"/>
            <ac:spMk id="3315" creationId="{00000000-0008-0000-0300-0000BF020000}"/>
          </ac:spMkLst>
        </pc:spChg>
        <pc:spChg chg="mod">
          <ac:chgData name="Schjold, Hanne Røvig" userId="72e82339-bab0-442f-8ca6-e6f386a713ee" providerId="ADAL" clId="{9706D415-2DA0-4D00-90B6-E46BF852F024}" dt="2023-03-16T12:49:25.666" v="782" actId="1038"/>
          <ac:spMkLst>
            <pc:docMk/>
            <pc:sldMk cId="2278995086" sldId="729"/>
            <ac:spMk id="3316" creationId="{00000000-0008-0000-0300-0000C0020000}"/>
          </ac:spMkLst>
        </pc:spChg>
        <pc:spChg chg="mod">
          <ac:chgData name="Schjold, Hanne Røvig" userId="72e82339-bab0-442f-8ca6-e6f386a713ee" providerId="ADAL" clId="{9706D415-2DA0-4D00-90B6-E46BF852F024}" dt="2023-03-16T12:49:25.666" v="782" actId="1038"/>
          <ac:spMkLst>
            <pc:docMk/>
            <pc:sldMk cId="2278995086" sldId="729"/>
            <ac:spMk id="3317" creationId="{00000000-0008-0000-0300-0000C1020000}"/>
          </ac:spMkLst>
        </pc:spChg>
        <pc:spChg chg="mod">
          <ac:chgData name="Schjold, Hanne Røvig" userId="72e82339-bab0-442f-8ca6-e6f386a713ee" providerId="ADAL" clId="{9706D415-2DA0-4D00-90B6-E46BF852F024}" dt="2023-03-16T12:49:25.666" v="782" actId="1038"/>
          <ac:spMkLst>
            <pc:docMk/>
            <pc:sldMk cId="2278995086" sldId="729"/>
            <ac:spMk id="3318" creationId="{00000000-0008-0000-0300-0000C2020000}"/>
          </ac:spMkLst>
        </pc:spChg>
        <pc:spChg chg="mod">
          <ac:chgData name="Schjold, Hanne Røvig" userId="72e82339-bab0-442f-8ca6-e6f386a713ee" providerId="ADAL" clId="{9706D415-2DA0-4D00-90B6-E46BF852F024}" dt="2023-03-16T12:49:25.666" v="782" actId="1038"/>
          <ac:spMkLst>
            <pc:docMk/>
            <pc:sldMk cId="2278995086" sldId="729"/>
            <ac:spMk id="3319" creationId="{00000000-0008-0000-0300-0000C3020000}"/>
          </ac:spMkLst>
        </pc:spChg>
        <pc:spChg chg="mod">
          <ac:chgData name="Schjold, Hanne Røvig" userId="72e82339-bab0-442f-8ca6-e6f386a713ee" providerId="ADAL" clId="{9706D415-2DA0-4D00-90B6-E46BF852F024}" dt="2023-03-16T12:49:25.666" v="782" actId="1038"/>
          <ac:spMkLst>
            <pc:docMk/>
            <pc:sldMk cId="2278995086" sldId="729"/>
            <ac:spMk id="3320" creationId="{00000000-0008-0000-0300-0000C4020000}"/>
          </ac:spMkLst>
        </pc:spChg>
        <pc:spChg chg="mod">
          <ac:chgData name="Schjold, Hanne Røvig" userId="72e82339-bab0-442f-8ca6-e6f386a713ee" providerId="ADAL" clId="{9706D415-2DA0-4D00-90B6-E46BF852F024}" dt="2023-03-16T12:49:25.666" v="782" actId="1038"/>
          <ac:spMkLst>
            <pc:docMk/>
            <pc:sldMk cId="2278995086" sldId="729"/>
            <ac:spMk id="3321" creationId="{00000000-0008-0000-0300-0000C5020000}"/>
          </ac:spMkLst>
        </pc:spChg>
        <pc:spChg chg="mod">
          <ac:chgData name="Schjold, Hanne Røvig" userId="72e82339-bab0-442f-8ca6-e6f386a713ee" providerId="ADAL" clId="{9706D415-2DA0-4D00-90B6-E46BF852F024}" dt="2023-03-16T12:49:25.666" v="782" actId="1038"/>
          <ac:spMkLst>
            <pc:docMk/>
            <pc:sldMk cId="2278995086" sldId="729"/>
            <ac:spMk id="3322" creationId="{00000000-0008-0000-0300-0000C6020000}"/>
          </ac:spMkLst>
        </pc:spChg>
        <pc:spChg chg="mod">
          <ac:chgData name="Schjold, Hanne Røvig" userId="72e82339-bab0-442f-8ca6-e6f386a713ee" providerId="ADAL" clId="{9706D415-2DA0-4D00-90B6-E46BF852F024}" dt="2023-03-16T12:49:25.666" v="782" actId="1038"/>
          <ac:spMkLst>
            <pc:docMk/>
            <pc:sldMk cId="2278995086" sldId="729"/>
            <ac:spMk id="3323" creationId="{00000000-0008-0000-0300-0000C7020000}"/>
          </ac:spMkLst>
        </pc:spChg>
        <pc:spChg chg="mod">
          <ac:chgData name="Schjold, Hanne Røvig" userId="72e82339-bab0-442f-8ca6-e6f386a713ee" providerId="ADAL" clId="{9706D415-2DA0-4D00-90B6-E46BF852F024}" dt="2023-03-16T12:49:25.666" v="782" actId="1038"/>
          <ac:spMkLst>
            <pc:docMk/>
            <pc:sldMk cId="2278995086" sldId="729"/>
            <ac:spMk id="3324" creationId="{00000000-0008-0000-0300-0000C8020000}"/>
          </ac:spMkLst>
        </pc:spChg>
        <pc:spChg chg="mod">
          <ac:chgData name="Schjold, Hanne Røvig" userId="72e82339-bab0-442f-8ca6-e6f386a713ee" providerId="ADAL" clId="{9706D415-2DA0-4D00-90B6-E46BF852F024}" dt="2023-03-16T12:49:25.666" v="782" actId="1038"/>
          <ac:spMkLst>
            <pc:docMk/>
            <pc:sldMk cId="2278995086" sldId="729"/>
            <ac:spMk id="3325" creationId="{00000000-0008-0000-0300-0000C9020000}"/>
          </ac:spMkLst>
        </pc:spChg>
        <pc:spChg chg="mod">
          <ac:chgData name="Schjold, Hanne Røvig" userId="72e82339-bab0-442f-8ca6-e6f386a713ee" providerId="ADAL" clId="{9706D415-2DA0-4D00-90B6-E46BF852F024}" dt="2023-03-16T12:49:25.666" v="782" actId="1038"/>
          <ac:spMkLst>
            <pc:docMk/>
            <pc:sldMk cId="2278995086" sldId="729"/>
            <ac:spMk id="3326" creationId="{00000000-0008-0000-0300-0000CA020000}"/>
          </ac:spMkLst>
        </pc:spChg>
        <pc:spChg chg="mod">
          <ac:chgData name="Schjold, Hanne Røvig" userId="72e82339-bab0-442f-8ca6-e6f386a713ee" providerId="ADAL" clId="{9706D415-2DA0-4D00-90B6-E46BF852F024}" dt="2023-03-16T12:49:25.666" v="782" actId="1038"/>
          <ac:spMkLst>
            <pc:docMk/>
            <pc:sldMk cId="2278995086" sldId="729"/>
            <ac:spMk id="3327" creationId="{00000000-0008-0000-0300-0000CB020000}"/>
          </ac:spMkLst>
        </pc:spChg>
        <pc:spChg chg="mod">
          <ac:chgData name="Schjold, Hanne Røvig" userId="72e82339-bab0-442f-8ca6-e6f386a713ee" providerId="ADAL" clId="{9706D415-2DA0-4D00-90B6-E46BF852F024}" dt="2023-03-16T12:49:25.666" v="782" actId="1038"/>
          <ac:spMkLst>
            <pc:docMk/>
            <pc:sldMk cId="2278995086" sldId="729"/>
            <ac:spMk id="3328" creationId="{00000000-0008-0000-0300-0000CC020000}"/>
          </ac:spMkLst>
        </pc:spChg>
        <pc:spChg chg="mod">
          <ac:chgData name="Schjold, Hanne Røvig" userId="72e82339-bab0-442f-8ca6-e6f386a713ee" providerId="ADAL" clId="{9706D415-2DA0-4D00-90B6-E46BF852F024}" dt="2023-03-16T12:49:25.666" v="782" actId="1038"/>
          <ac:spMkLst>
            <pc:docMk/>
            <pc:sldMk cId="2278995086" sldId="729"/>
            <ac:spMk id="3329" creationId="{00000000-0008-0000-0300-0000CD020000}"/>
          </ac:spMkLst>
        </pc:spChg>
        <pc:spChg chg="mod">
          <ac:chgData name="Schjold, Hanne Røvig" userId="72e82339-bab0-442f-8ca6-e6f386a713ee" providerId="ADAL" clId="{9706D415-2DA0-4D00-90B6-E46BF852F024}" dt="2023-03-16T12:49:25.666" v="782" actId="1038"/>
          <ac:spMkLst>
            <pc:docMk/>
            <pc:sldMk cId="2278995086" sldId="729"/>
            <ac:spMk id="3330" creationId="{00000000-0008-0000-0300-0000CE020000}"/>
          </ac:spMkLst>
        </pc:spChg>
        <pc:spChg chg="mod">
          <ac:chgData name="Schjold, Hanne Røvig" userId="72e82339-bab0-442f-8ca6-e6f386a713ee" providerId="ADAL" clId="{9706D415-2DA0-4D00-90B6-E46BF852F024}" dt="2023-03-16T12:49:25.666" v="782" actId="1038"/>
          <ac:spMkLst>
            <pc:docMk/>
            <pc:sldMk cId="2278995086" sldId="729"/>
            <ac:spMk id="3331" creationId="{00000000-0008-0000-0300-0000CF020000}"/>
          </ac:spMkLst>
        </pc:spChg>
        <pc:spChg chg="mod">
          <ac:chgData name="Schjold, Hanne Røvig" userId="72e82339-bab0-442f-8ca6-e6f386a713ee" providerId="ADAL" clId="{9706D415-2DA0-4D00-90B6-E46BF852F024}" dt="2023-03-16T12:49:25.666" v="782" actId="1038"/>
          <ac:spMkLst>
            <pc:docMk/>
            <pc:sldMk cId="2278995086" sldId="729"/>
            <ac:spMk id="3332" creationId="{00000000-0008-0000-0300-0000D0020000}"/>
          </ac:spMkLst>
        </pc:spChg>
        <pc:spChg chg="mod">
          <ac:chgData name="Schjold, Hanne Røvig" userId="72e82339-bab0-442f-8ca6-e6f386a713ee" providerId="ADAL" clId="{9706D415-2DA0-4D00-90B6-E46BF852F024}" dt="2023-03-16T12:49:25.666" v="782" actId="1038"/>
          <ac:spMkLst>
            <pc:docMk/>
            <pc:sldMk cId="2278995086" sldId="729"/>
            <ac:spMk id="3333" creationId="{00000000-0008-0000-0300-0000D1020000}"/>
          </ac:spMkLst>
        </pc:spChg>
        <pc:spChg chg="mod">
          <ac:chgData name="Schjold, Hanne Røvig" userId="72e82339-bab0-442f-8ca6-e6f386a713ee" providerId="ADAL" clId="{9706D415-2DA0-4D00-90B6-E46BF852F024}" dt="2023-03-16T12:49:25.666" v="782" actId="1038"/>
          <ac:spMkLst>
            <pc:docMk/>
            <pc:sldMk cId="2278995086" sldId="729"/>
            <ac:spMk id="3334" creationId="{00000000-0008-0000-0300-0000D2020000}"/>
          </ac:spMkLst>
        </pc:spChg>
        <pc:spChg chg="mod">
          <ac:chgData name="Schjold, Hanne Røvig" userId="72e82339-bab0-442f-8ca6-e6f386a713ee" providerId="ADAL" clId="{9706D415-2DA0-4D00-90B6-E46BF852F024}" dt="2023-03-16T12:49:25.666" v="782" actId="1038"/>
          <ac:spMkLst>
            <pc:docMk/>
            <pc:sldMk cId="2278995086" sldId="729"/>
            <ac:spMk id="3335" creationId="{00000000-0008-0000-0300-0000D3020000}"/>
          </ac:spMkLst>
        </pc:spChg>
        <pc:spChg chg="mod">
          <ac:chgData name="Schjold, Hanne Røvig" userId="72e82339-bab0-442f-8ca6-e6f386a713ee" providerId="ADAL" clId="{9706D415-2DA0-4D00-90B6-E46BF852F024}" dt="2023-03-16T12:49:25.666" v="782" actId="1038"/>
          <ac:spMkLst>
            <pc:docMk/>
            <pc:sldMk cId="2278995086" sldId="729"/>
            <ac:spMk id="3336" creationId="{00000000-0008-0000-0300-0000D4020000}"/>
          </ac:spMkLst>
        </pc:spChg>
        <pc:spChg chg="mod">
          <ac:chgData name="Schjold, Hanne Røvig" userId="72e82339-bab0-442f-8ca6-e6f386a713ee" providerId="ADAL" clId="{9706D415-2DA0-4D00-90B6-E46BF852F024}" dt="2023-03-16T12:49:25.666" v="782" actId="1038"/>
          <ac:spMkLst>
            <pc:docMk/>
            <pc:sldMk cId="2278995086" sldId="729"/>
            <ac:spMk id="3337" creationId="{00000000-0008-0000-0300-0000D5020000}"/>
          </ac:spMkLst>
        </pc:spChg>
        <pc:spChg chg="mod">
          <ac:chgData name="Schjold, Hanne Røvig" userId="72e82339-bab0-442f-8ca6-e6f386a713ee" providerId="ADAL" clId="{9706D415-2DA0-4D00-90B6-E46BF852F024}" dt="2023-03-16T12:49:25.666" v="782" actId="1038"/>
          <ac:spMkLst>
            <pc:docMk/>
            <pc:sldMk cId="2278995086" sldId="729"/>
            <ac:spMk id="3338" creationId="{00000000-0008-0000-0300-0000D6020000}"/>
          </ac:spMkLst>
        </pc:spChg>
        <pc:spChg chg="mod">
          <ac:chgData name="Schjold, Hanne Røvig" userId="72e82339-bab0-442f-8ca6-e6f386a713ee" providerId="ADAL" clId="{9706D415-2DA0-4D00-90B6-E46BF852F024}" dt="2023-03-16T12:49:25.666" v="782" actId="1038"/>
          <ac:spMkLst>
            <pc:docMk/>
            <pc:sldMk cId="2278995086" sldId="729"/>
            <ac:spMk id="3339" creationId="{00000000-0008-0000-0300-0000D7020000}"/>
          </ac:spMkLst>
        </pc:spChg>
        <pc:spChg chg="mod">
          <ac:chgData name="Schjold, Hanne Røvig" userId="72e82339-bab0-442f-8ca6-e6f386a713ee" providerId="ADAL" clId="{9706D415-2DA0-4D00-90B6-E46BF852F024}" dt="2023-03-16T12:49:25.666" v="782" actId="1038"/>
          <ac:spMkLst>
            <pc:docMk/>
            <pc:sldMk cId="2278995086" sldId="729"/>
            <ac:spMk id="3340" creationId="{00000000-0008-0000-0300-0000D8020000}"/>
          </ac:spMkLst>
        </pc:spChg>
        <pc:spChg chg="mod">
          <ac:chgData name="Schjold, Hanne Røvig" userId="72e82339-bab0-442f-8ca6-e6f386a713ee" providerId="ADAL" clId="{9706D415-2DA0-4D00-90B6-E46BF852F024}" dt="2023-03-16T12:49:25.666" v="782" actId="1038"/>
          <ac:spMkLst>
            <pc:docMk/>
            <pc:sldMk cId="2278995086" sldId="729"/>
            <ac:spMk id="3341" creationId="{00000000-0008-0000-0300-0000D9020000}"/>
          </ac:spMkLst>
        </pc:spChg>
        <pc:spChg chg="mod">
          <ac:chgData name="Schjold, Hanne Røvig" userId="72e82339-bab0-442f-8ca6-e6f386a713ee" providerId="ADAL" clId="{9706D415-2DA0-4D00-90B6-E46BF852F024}" dt="2023-03-16T12:49:25.666" v="782" actId="1038"/>
          <ac:spMkLst>
            <pc:docMk/>
            <pc:sldMk cId="2278995086" sldId="729"/>
            <ac:spMk id="3342" creationId="{00000000-0008-0000-0300-0000DA020000}"/>
          </ac:spMkLst>
        </pc:spChg>
        <pc:spChg chg="mod">
          <ac:chgData name="Schjold, Hanne Røvig" userId="72e82339-bab0-442f-8ca6-e6f386a713ee" providerId="ADAL" clId="{9706D415-2DA0-4D00-90B6-E46BF852F024}" dt="2023-03-16T12:49:25.666" v="782" actId="1038"/>
          <ac:spMkLst>
            <pc:docMk/>
            <pc:sldMk cId="2278995086" sldId="729"/>
            <ac:spMk id="3343" creationId="{00000000-0008-0000-0300-0000DB020000}"/>
          </ac:spMkLst>
        </pc:spChg>
        <pc:spChg chg="mod">
          <ac:chgData name="Schjold, Hanne Røvig" userId="72e82339-bab0-442f-8ca6-e6f386a713ee" providerId="ADAL" clId="{9706D415-2DA0-4D00-90B6-E46BF852F024}" dt="2023-03-16T12:49:25.666" v="782" actId="1038"/>
          <ac:spMkLst>
            <pc:docMk/>
            <pc:sldMk cId="2278995086" sldId="729"/>
            <ac:spMk id="3344" creationId="{00000000-0008-0000-0300-0000DC020000}"/>
          </ac:spMkLst>
        </pc:spChg>
        <pc:spChg chg="mod">
          <ac:chgData name="Schjold, Hanne Røvig" userId="72e82339-bab0-442f-8ca6-e6f386a713ee" providerId="ADAL" clId="{9706D415-2DA0-4D00-90B6-E46BF852F024}" dt="2023-03-16T12:49:25.666" v="782" actId="1038"/>
          <ac:spMkLst>
            <pc:docMk/>
            <pc:sldMk cId="2278995086" sldId="729"/>
            <ac:spMk id="3345" creationId="{00000000-0008-0000-0300-0000DD020000}"/>
          </ac:spMkLst>
        </pc:spChg>
        <pc:spChg chg="mod">
          <ac:chgData name="Schjold, Hanne Røvig" userId="72e82339-bab0-442f-8ca6-e6f386a713ee" providerId="ADAL" clId="{9706D415-2DA0-4D00-90B6-E46BF852F024}" dt="2023-03-16T12:49:25.666" v="782" actId="1038"/>
          <ac:spMkLst>
            <pc:docMk/>
            <pc:sldMk cId="2278995086" sldId="729"/>
            <ac:spMk id="3346" creationId="{00000000-0008-0000-0300-0000DE020000}"/>
          </ac:spMkLst>
        </pc:spChg>
        <pc:spChg chg="mod">
          <ac:chgData name="Schjold, Hanne Røvig" userId="72e82339-bab0-442f-8ca6-e6f386a713ee" providerId="ADAL" clId="{9706D415-2DA0-4D00-90B6-E46BF852F024}" dt="2023-03-16T12:49:25.666" v="782" actId="1038"/>
          <ac:spMkLst>
            <pc:docMk/>
            <pc:sldMk cId="2278995086" sldId="729"/>
            <ac:spMk id="3347" creationId="{00000000-0008-0000-0300-0000DF020000}"/>
          </ac:spMkLst>
        </pc:spChg>
        <pc:spChg chg="mod">
          <ac:chgData name="Schjold, Hanne Røvig" userId="72e82339-bab0-442f-8ca6-e6f386a713ee" providerId="ADAL" clId="{9706D415-2DA0-4D00-90B6-E46BF852F024}" dt="2023-03-16T12:49:25.666" v="782" actId="1038"/>
          <ac:spMkLst>
            <pc:docMk/>
            <pc:sldMk cId="2278995086" sldId="729"/>
            <ac:spMk id="3348" creationId="{00000000-0008-0000-0300-0000E0020000}"/>
          </ac:spMkLst>
        </pc:spChg>
        <pc:spChg chg="mod">
          <ac:chgData name="Schjold, Hanne Røvig" userId="72e82339-bab0-442f-8ca6-e6f386a713ee" providerId="ADAL" clId="{9706D415-2DA0-4D00-90B6-E46BF852F024}" dt="2023-03-16T12:49:25.666" v="782" actId="1038"/>
          <ac:spMkLst>
            <pc:docMk/>
            <pc:sldMk cId="2278995086" sldId="729"/>
            <ac:spMk id="3349" creationId="{00000000-0008-0000-0300-0000E1020000}"/>
          </ac:spMkLst>
        </pc:spChg>
        <pc:spChg chg="mod">
          <ac:chgData name="Schjold, Hanne Røvig" userId="72e82339-bab0-442f-8ca6-e6f386a713ee" providerId="ADAL" clId="{9706D415-2DA0-4D00-90B6-E46BF852F024}" dt="2023-03-16T12:49:25.666" v="782" actId="1038"/>
          <ac:spMkLst>
            <pc:docMk/>
            <pc:sldMk cId="2278995086" sldId="729"/>
            <ac:spMk id="3350" creationId="{00000000-0008-0000-0300-0000E2020000}"/>
          </ac:spMkLst>
        </pc:spChg>
        <pc:spChg chg="mod">
          <ac:chgData name="Schjold, Hanne Røvig" userId="72e82339-bab0-442f-8ca6-e6f386a713ee" providerId="ADAL" clId="{9706D415-2DA0-4D00-90B6-E46BF852F024}" dt="2023-03-16T12:49:25.666" v="782" actId="1038"/>
          <ac:spMkLst>
            <pc:docMk/>
            <pc:sldMk cId="2278995086" sldId="729"/>
            <ac:spMk id="3351" creationId="{00000000-0008-0000-0300-0000E3020000}"/>
          </ac:spMkLst>
        </pc:spChg>
        <pc:spChg chg="mod">
          <ac:chgData name="Schjold, Hanne Røvig" userId="72e82339-bab0-442f-8ca6-e6f386a713ee" providerId="ADAL" clId="{9706D415-2DA0-4D00-90B6-E46BF852F024}" dt="2023-03-16T12:49:25.666" v="782" actId="1038"/>
          <ac:spMkLst>
            <pc:docMk/>
            <pc:sldMk cId="2278995086" sldId="729"/>
            <ac:spMk id="3352" creationId="{00000000-0008-0000-0300-0000E4020000}"/>
          </ac:spMkLst>
        </pc:spChg>
        <pc:spChg chg="mod">
          <ac:chgData name="Schjold, Hanne Røvig" userId="72e82339-bab0-442f-8ca6-e6f386a713ee" providerId="ADAL" clId="{9706D415-2DA0-4D00-90B6-E46BF852F024}" dt="2023-03-16T12:49:25.666" v="782" actId="1038"/>
          <ac:spMkLst>
            <pc:docMk/>
            <pc:sldMk cId="2278995086" sldId="729"/>
            <ac:spMk id="3353" creationId="{00000000-0008-0000-0300-0000E5020000}"/>
          </ac:spMkLst>
        </pc:spChg>
        <pc:spChg chg="mod">
          <ac:chgData name="Schjold, Hanne Røvig" userId="72e82339-bab0-442f-8ca6-e6f386a713ee" providerId="ADAL" clId="{9706D415-2DA0-4D00-90B6-E46BF852F024}" dt="2023-03-16T12:49:25.666" v="782" actId="1038"/>
          <ac:spMkLst>
            <pc:docMk/>
            <pc:sldMk cId="2278995086" sldId="729"/>
            <ac:spMk id="3354" creationId="{00000000-0008-0000-0300-0000E6020000}"/>
          </ac:spMkLst>
        </pc:spChg>
        <pc:spChg chg="mod">
          <ac:chgData name="Schjold, Hanne Røvig" userId="72e82339-bab0-442f-8ca6-e6f386a713ee" providerId="ADAL" clId="{9706D415-2DA0-4D00-90B6-E46BF852F024}" dt="2023-03-16T12:49:25.666" v="782" actId="1038"/>
          <ac:spMkLst>
            <pc:docMk/>
            <pc:sldMk cId="2278995086" sldId="729"/>
            <ac:spMk id="3355" creationId="{00000000-0008-0000-0300-0000E7020000}"/>
          </ac:spMkLst>
        </pc:spChg>
        <pc:spChg chg="mod">
          <ac:chgData name="Schjold, Hanne Røvig" userId="72e82339-bab0-442f-8ca6-e6f386a713ee" providerId="ADAL" clId="{9706D415-2DA0-4D00-90B6-E46BF852F024}" dt="2023-03-16T12:49:25.666" v="782" actId="1038"/>
          <ac:spMkLst>
            <pc:docMk/>
            <pc:sldMk cId="2278995086" sldId="729"/>
            <ac:spMk id="3356" creationId="{00000000-0008-0000-0300-0000E8020000}"/>
          </ac:spMkLst>
        </pc:spChg>
        <pc:spChg chg="mod">
          <ac:chgData name="Schjold, Hanne Røvig" userId="72e82339-bab0-442f-8ca6-e6f386a713ee" providerId="ADAL" clId="{9706D415-2DA0-4D00-90B6-E46BF852F024}" dt="2023-03-16T12:49:25.666" v="782" actId="1038"/>
          <ac:spMkLst>
            <pc:docMk/>
            <pc:sldMk cId="2278995086" sldId="729"/>
            <ac:spMk id="3357" creationId="{00000000-0008-0000-0300-0000E9020000}"/>
          </ac:spMkLst>
        </pc:spChg>
        <pc:spChg chg="mod">
          <ac:chgData name="Schjold, Hanne Røvig" userId="72e82339-bab0-442f-8ca6-e6f386a713ee" providerId="ADAL" clId="{9706D415-2DA0-4D00-90B6-E46BF852F024}" dt="2023-03-16T12:49:25.666" v="782" actId="1038"/>
          <ac:spMkLst>
            <pc:docMk/>
            <pc:sldMk cId="2278995086" sldId="729"/>
            <ac:spMk id="3358" creationId="{00000000-0008-0000-0300-0000EA020000}"/>
          </ac:spMkLst>
        </pc:spChg>
        <pc:spChg chg="mod">
          <ac:chgData name="Schjold, Hanne Røvig" userId="72e82339-bab0-442f-8ca6-e6f386a713ee" providerId="ADAL" clId="{9706D415-2DA0-4D00-90B6-E46BF852F024}" dt="2023-03-16T12:49:25.666" v="782" actId="1038"/>
          <ac:spMkLst>
            <pc:docMk/>
            <pc:sldMk cId="2278995086" sldId="729"/>
            <ac:spMk id="3359" creationId="{00000000-0008-0000-0300-0000EB020000}"/>
          </ac:spMkLst>
        </pc:spChg>
        <pc:spChg chg="mod">
          <ac:chgData name="Schjold, Hanne Røvig" userId="72e82339-bab0-442f-8ca6-e6f386a713ee" providerId="ADAL" clId="{9706D415-2DA0-4D00-90B6-E46BF852F024}" dt="2023-03-16T12:49:25.666" v="782" actId="1038"/>
          <ac:spMkLst>
            <pc:docMk/>
            <pc:sldMk cId="2278995086" sldId="729"/>
            <ac:spMk id="3360" creationId="{00000000-0008-0000-0300-0000EC020000}"/>
          </ac:spMkLst>
        </pc:spChg>
        <pc:spChg chg="mod">
          <ac:chgData name="Schjold, Hanne Røvig" userId="72e82339-bab0-442f-8ca6-e6f386a713ee" providerId="ADAL" clId="{9706D415-2DA0-4D00-90B6-E46BF852F024}" dt="2023-03-16T12:49:25.666" v="782" actId="1038"/>
          <ac:spMkLst>
            <pc:docMk/>
            <pc:sldMk cId="2278995086" sldId="729"/>
            <ac:spMk id="3361" creationId="{00000000-0008-0000-0300-0000ED020000}"/>
          </ac:spMkLst>
        </pc:spChg>
        <pc:spChg chg="mod">
          <ac:chgData name="Schjold, Hanne Røvig" userId="72e82339-bab0-442f-8ca6-e6f386a713ee" providerId="ADAL" clId="{9706D415-2DA0-4D00-90B6-E46BF852F024}" dt="2023-03-16T12:49:25.666" v="782" actId="1038"/>
          <ac:spMkLst>
            <pc:docMk/>
            <pc:sldMk cId="2278995086" sldId="729"/>
            <ac:spMk id="3362" creationId="{00000000-0008-0000-0300-0000EE020000}"/>
          </ac:spMkLst>
        </pc:spChg>
        <pc:spChg chg="mod">
          <ac:chgData name="Schjold, Hanne Røvig" userId="72e82339-bab0-442f-8ca6-e6f386a713ee" providerId="ADAL" clId="{9706D415-2DA0-4D00-90B6-E46BF852F024}" dt="2023-03-16T12:49:25.666" v="782" actId="1038"/>
          <ac:spMkLst>
            <pc:docMk/>
            <pc:sldMk cId="2278995086" sldId="729"/>
            <ac:spMk id="3363" creationId="{00000000-0008-0000-0300-0000EF020000}"/>
          </ac:spMkLst>
        </pc:spChg>
        <pc:spChg chg="mod">
          <ac:chgData name="Schjold, Hanne Røvig" userId="72e82339-bab0-442f-8ca6-e6f386a713ee" providerId="ADAL" clId="{9706D415-2DA0-4D00-90B6-E46BF852F024}" dt="2023-03-16T12:49:25.666" v="782" actId="1038"/>
          <ac:spMkLst>
            <pc:docMk/>
            <pc:sldMk cId="2278995086" sldId="729"/>
            <ac:spMk id="3364" creationId="{00000000-0008-0000-0300-0000F0020000}"/>
          </ac:spMkLst>
        </pc:spChg>
        <pc:spChg chg="mod">
          <ac:chgData name="Schjold, Hanne Røvig" userId="72e82339-bab0-442f-8ca6-e6f386a713ee" providerId="ADAL" clId="{9706D415-2DA0-4D00-90B6-E46BF852F024}" dt="2023-03-16T12:49:25.666" v="782" actId="1038"/>
          <ac:spMkLst>
            <pc:docMk/>
            <pc:sldMk cId="2278995086" sldId="729"/>
            <ac:spMk id="3365" creationId="{00000000-0008-0000-0300-0000F1020000}"/>
          </ac:spMkLst>
        </pc:spChg>
        <pc:spChg chg="mod">
          <ac:chgData name="Schjold, Hanne Røvig" userId="72e82339-bab0-442f-8ca6-e6f386a713ee" providerId="ADAL" clId="{9706D415-2DA0-4D00-90B6-E46BF852F024}" dt="2023-03-16T12:49:25.666" v="782" actId="1038"/>
          <ac:spMkLst>
            <pc:docMk/>
            <pc:sldMk cId="2278995086" sldId="729"/>
            <ac:spMk id="3366" creationId="{00000000-0008-0000-0300-0000F2020000}"/>
          </ac:spMkLst>
        </pc:spChg>
        <pc:spChg chg="mod">
          <ac:chgData name="Schjold, Hanne Røvig" userId="72e82339-bab0-442f-8ca6-e6f386a713ee" providerId="ADAL" clId="{9706D415-2DA0-4D00-90B6-E46BF852F024}" dt="2023-03-16T12:49:25.666" v="782" actId="1038"/>
          <ac:spMkLst>
            <pc:docMk/>
            <pc:sldMk cId="2278995086" sldId="729"/>
            <ac:spMk id="3367" creationId="{00000000-0008-0000-0300-0000F3020000}"/>
          </ac:spMkLst>
        </pc:spChg>
        <pc:spChg chg="mod">
          <ac:chgData name="Schjold, Hanne Røvig" userId="72e82339-bab0-442f-8ca6-e6f386a713ee" providerId="ADAL" clId="{9706D415-2DA0-4D00-90B6-E46BF852F024}" dt="2023-03-16T12:49:25.666" v="782" actId="1038"/>
          <ac:spMkLst>
            <pc:docMk/>
            <pc:sldMk cId="2278995086" sldId="729"/>
            <ac:spMk id="3368" creationId="{00000000-0008-0000-0300-0000F4020000}"/>
          </ac:spMkLst>
        </pc:spChg>
        <pc:spChg chg="mod">
          <ac:chgData name="Schjold, Hanne Røvig" userId="72e82339-bab0-442f-8ca6-e6f386a713ee" providerId="ADAL" clId="{9706D415-2DA0-4D00-90B6-E46BF852F024}" dt="2023-03-16T12:49:25.666" v="782" actId="1038"/>
          <ac:spMkLst>
            <pc:docMk/>
            <pc:sldMk cId="2278995086" sldId="729"/>
            <ac:spMk id="3369" creationId="{00000000-0008-0000-0300-0000F5020000}"/>
          </ac:spMkLst>
        </pc:spChg>
        <pc:spChg chg="mod">
          <ac:chgData name="Schjold, Hanne Røvig" userId="72e82339-bab0-442f-8ca6-e6f386a713ee" providerId="ADAL" clId="{9706D415-2DA0-4D00-90B6-E46BF852F024}" dt="2023-03-16T12:49:25.666" v="782" actId="1038"/>
          <ac:spMkLst>
            <pc:docMk/>
            <pc:sldMk cId="2278995086" sldId="729"/>
            <ac:spMk id="3370" creationId="{00000000-0008-0000-0300-0000F6020000}"/>
          </ac:spMkLst>
        </pc:spChg>
        <pc:spChg chg="mod">
          <ac:chgData name="Schjold, Hanne Røvig" userId="72e82339-bab0-442f-8ca6-e6f386a713ee" providerId="ADAL" clId="{9706D415-2DA0-4D00-90B6-E46BF852F024}" dt="2023-03-16T12:49:25.666" v="782" actId="1038"/>
          <ac:spMkLst>
            <pc:docMk/>
            <pc:sldMk cId="2278995086" sldId="729"/>
            <ac:spMk id="3371" creationId="{00000000-0008-0000-0300-0000F7020000}"/>
          </ac:spMkLst>
        </pc:spChg>
        <pc:spChg chg="mod">
          <ac:chgData name="Schjold, Hanne Røvig" userId="72e82339-bab0-442f-8ca6-e6f386a713ee" providerId="ADAL" clId="{9706D415-2DA0-4D00-90B6-E46BF852F024}" dt="2023-03-16T12:49:25.666" v="782" actId="1038"/>
          <ac:spMkLst>
            <pc:docMk/>
            <pc:sldMk cId="2278995086" sldId="729"/>
            <ac:spMk id="3372" creationId="{00000000-0008-0000-0300-0000F8020000}"/>
          </ac:spMkLst>
        </pc:spChg>
        <pc:spChg chg="mod">
          <ac:chgData name="Schjold, Hanne Røvig" userId="72e82339-bab0-442f-8ca6-e6f386a713ee" providerId="ADAL" clId="{9706D415-2DA0-4D00-90B6-E46BF852F024}" dt="2023-03-16T12:49:25.666" v="782" actId="1038"/>
          <ac:spMkLst>
            <pc:docMk/>
            <pc:sldMk cId="2278995086" sldId="729"/>
            <ac:spMk id="3373" creationId="{00000000-0008-0000-0300-0000F9020000}"/>
          </ac:spMkLst>
        </pc:spChg>
        <pc:spChg chg="mod">
          <ac:chgData name="Schjold, Hanne Røvig" userId="72e82339-bab0-442f-8ca6-e6f386a713ee" providerId="ADAL" clId="{9706D415-2DA0-4D00-90B6-E46BF852F024}" dt="2023-03-16T12:49:25.666" v="782" actId="1038"/>
          <ac:spMkLst>
            <pc:docMk/>
            <pc:sldMk cId="2278995086" sldId="729"/>
            <ac:spMk id="3374" creationId="{00000000-0008-0000-0300-0000FA020000}"/>
          </ac:spMkLst>
        </pc:spChg>
        <pc:spChg chg="mod">
          <ac:chgData name="Schjold, Hanne Røvig" userId="72e82339-bab0-442f-8ca6-e6f386a713ee" providerId="ADAL" clId="{9706D415-2DA0-4D00-90B6-E46BF852F024}" dt="2023-03-16T12:49:25.666" v="782" actId="1038"/>
          <ac:spMkLst>
            <pc:docMk/>
            <pc:sldMk cId="2278995086" sldId="729"/>
            <ac:spMk id="3375" creationId="{00000000-0008-0000-0300-0000FB020000}"/>
          </ac:spMkLst>
        </pc:spChg>
        <pc:spChg chg="mod">
          <ac:chgData name="Schjold, Hanne Røvig" userId="72e82339-bab0-442f-8ca6-e6f386a713ee" providerId="ADAL" clId="{9706D415-2DA0-4D00-90B6-E46BF852F024}" dt="2023-03-16T12:49:25.666" v="782" actId="1038"/>
          <ac:spMkLst>
            <pc:docMk/>
            <pc:sldMk cId="2278995086" sldId="729"/>
            <ac:spMk id="3376" creationId="{00000000-0008-0000-0300-0000FC020000}"/>
          </ac:spMkLst>
        </pc:spChg>
        <pc:spChg chg="mod">
          <ac:chgData name="Schjold, Hanne Røvig" userId="72e82339-bab0-442f-8ca6-e6f386a713ee" providerId="ADAL" clId="{9706D415-2DA0-4D00-90B6-E46BF852F024}" dt="2023-03-16T12:49:25.666" v="782" actId="1038"/>
          <ac:spMkLst>
            <pc:docMk/>
            <pc:sldMk cId="2278995086" sldId="729"/>
            <ac:spMk id="3377" creationId="{00000000-0008-0000-0300-0000FD020000}"/>
          </ac:spMkLst>
        </pc:spChg>
        <pc:spChg chg="mod">
          <ac:chgData name="Schjold, Hanne Røvig" userId="72e82339-bab0-442f-8ca6-e6f386a713ee" providerId="ADAL" clId="{9706D415-2DA0-4D00-90B6-E46BF852F024}" dt="2023-03-16T12:49:25.666" v="782" actId="1038"/>
          <ac:spMkLst>
            <pc:docMk/>
            <pc:sldMk cId="2278995086" sldId="729"/>
            <ac:spMk id="3378" creationId="{00000000-0008-0000-0300-0000FE020000}"/>
          </ac:spMkLst>
        </pc:spChg>
        <pc:spChg chg="mod">
          <ac:chgData name="Schjold, Hanne Røvig" userId="72e82339-bab0-442f-8ca6-e6f386a713ee" providerId="ADAL" clId="{9706D415-2DA0-4D00-90B6-E46BF852F024}" dt="2023-03-16T12:49:25.666" v="782" actId="1038"/>
          <ac:spMkLst>
            <pc:docMk/>
            <pc:sldMk cId="2278995086" sldId="729"/>
            <ac:spMk id="3379" creationId="{00000000-0008-0000-0300-0000FF020000}"/>
          </ac:spMkLst>
        </pc:spChg>
        <pc:spChg chg="mod">
          <ac:chgData name="Schjold, Hanne Røvig" userId="72e82339-bab0-442f-8ca6-e6f386a713ee" providerId="ADAL" clId="{9706D415-2DA0-4D00-90B6-E46BF852F024}" dt="2023-03-16T12:49:25.666" v="782" actId="1038"/>
          <ac:spMkLst>
            <pc:docMk/>
            <pc:sldMk cId="2278995086" sldId="729"/>
            <ac:spMk id="3380" creationId="{00000000-0008-0000-0300-000000030000}"/>
          </ac:spMkLst>
        </pc:spChg>
        <pc:spChg chg="mod">
          <ac:chgData name="Schjold, Hanne Røvig" userId="72e82339-bab0-442f-8ca6-e6f386a713ee" providerId="ADAL" clId="{9706D415-2DA0-4D00-90B6-E46BF852F024}" dt="2023-03-16T12:49:25.666" v="782" actId="1038"/>
          <ac:spMkLst>
            <pc:docMk/>
            <pc:sldMk cId="2278995086" sldId="729"/>
            <ac:spMk id="3381" creationId="{00000000-0008-0000-0300-000001030000}"/>
          </ac:spMkLst>
        </pc:spChg>
        <pc:spChg chg="mod">
          <ac:chgData name="Schjold, Hanne Røvig" userId="72e82339-bab0-442f-8ca6-e6f386a713ee" providerId="ADAL" clId="{9706D415-2DA0-4D00-90B6-E46BF852F024}" dt="2023-03-16T12:49:25.666" v="782" actId="1038"/>
          <ac:spMkLst>
            <pc:docMk/>
            <pc:sldMk cId="2278995086" sldId="729"/>
            <ac:spMk id="3382" creationId="{00000000-0008-0000-0300-000002030000}"/>
          </ac:spMkLst>
        </pc:spChg>
        <pc:spChg chg="mod">
          <ac:chgData name="Schjold, Hanne Røvig" userId="72e82339-bab0-442f-8ca6-e6f386a713ee" providerId="ADAL" clId="{9706D415-2DA0-4D00-90B6-E46BF852F024}" dt="2023-03-16T12:49:25.666" v="782" actId="1038"/>
          <ac:spMkLst>
            <pc:docMk/>
            <pc:sldMk cId="2278995086" sldId="729"/>
            <ac:spMk id="3383" creationId="{00000000-0008-0000-0300-000003030000}"/>
          </ac:spMkLst>
        </pc:spChg>
        <pc:spChg chg="mod">
          <ac:chgData name="Schjold, Hanne Røvig" userId="72e82339-bab0-442f-8ca6-e6f386a713ee" providerId="ADAL" clId="{9706D415-2DA0-4D00-90B6-E46BF852F024}" dt="2023-03-16T12:49:25.666" v="782" actId="1038"/>
          <ac:spMkLst>
            <pc:docMk/>
            <pc:sldMk cId="2278995086" sldId="729"/>
            <ac:spMk id="3384" creationId="{00000000-0008-0000-0300-000004030000}"/>
          </ac:spMkLst>
        </pc:spChg>
        <pc:spChg chg="mod">
          <ac:chgData name="Schjold, Hanne Røvig" userId="72e82339-bab0-442f-8ca6-e6f386a713ee" providerId="ADAL" clId="{9706D415-2DA0-4D00-90B6-E46BF852F024}" dt="2023-03-16T12:49:25.666" v="782" actId="1038"/>
          <ac:spMkLst>
            <pc:docMk/>
            <pc:sldMk cId="2278995086" sldId="729"/>
            <ac:spMk id="3385" creationId="{00000000-0008-0000-0300-000005030000}"/>
          </ac:spMkLst>
        </pc:spChg>
        <pc:spChg chg="mod">
          <ac:chgData name="Schjold, Hanne Røvig" userId="72e82339-bab0-442f-8ca6-e6f386a713ee" providerId="ADAL" clId="{9706D415-2DA0-4D00-90B6-E46BF852F024}" dt="2023-03-16T12:49:25.666" v="782" actId="1038"/>
          <ac:spMkLst>
            <pc:docMk/>
            <pc:sldMk cId="2278995086" sldId="729"/>
            <ac:spMk id="3386" creationId="{00000000-0008-0000-0300-000006030000}"/>
          </ac:spMkLst>
        </pc:spChg>
        <pc:spChg chg="mod">
          <ac:chgData name="Schjold, Hanne Røvig" userId="72e82339-bab0-442f-8ca6-e6f386a713ee" providerId="ADAL" clId="{9706D415-2DA0-4D00-90B6-E46BF852F024}" dt="2023-03-16T12:49:25.666" v="782" actId="1038"/>
          <ac:spMkLst>
            <pc:docMk/>
            <pc:sldMk cId="2278995086" sldId="729"/>
            <ac:spMk id="3387" creationId="{00000000-0008-0000-0300-000007030000}"/>
          </ac:spMkLst>
        </pc:spChg>
        <pc:spChg chg="mod">
          <ac:chgData name="Schjold, Hanne Røvig" userId="72e82339-bab0-442f-8ca6-e6f386a713ee" providerId="ADAL" clId="{9706D415-2DA0-4D00-90B6-E46BF852F024}" dt="2023-03-16T12:49:25.666" v="782" actId="1038"/>
          <ac:spMkLst>
            <pc:docMk/>
            <pc:sldMk cId="2278995086" sldId="729"/>
            <ac:spMk id="3388" creationId="{00000000-0008-0000-0300-000008030000}"/>
          </ac:spMkLst>
        </pc:spChg>
        <pc:spChg chg="mod">
          <ac:chgData name="Schjold, Hanne Røvig" userId="72e82339-bab0-442f-8ca6-e6f386a713ee" providerId="ADAL" clId="{9706D415-2DA0-4D00-90B6-E46BF852F024}" dt="2023-03-16T12:49:25.666" v="782" actId="1038"/>
          <ac:spMkLst>
            <pc:docMk/>
            <pc:sldMk cId="2278995086" sldId="729"/>
            <ac:spMk id="3389" creationId="{00000000-0008-0000-0300-000009030000}"/>
          </ac:spMkLst>
        </pc:spChg>
        <pc:spChg chg="mod">
          <ac:chgData name="Schjold, Hanne Røvig" userId="72e82339-bab0-442f-8ca6-e6f386a713ee" providerId="ADAL" clId="{9706D415-2DA0-4D00-90B6-E46BF852F024}" dt="2023-03-16T12:49:25.666" v="782" actId="1038"/>
          <ac:spMkLst>
            <pc:docMk/>
            <pc:sldMk cId="2278995086" sldId="729"/>
            <ac:spMk id="3390" creationId="{00000000-0008-0000-0300-00000A030000}"/>
          </ac:spMkLst>
        </pc:spChg>
        <pc:spChg chg="mod">
          <ac:chgData name="Schjold, Hanne Røvig" userId="72e82339-bab0-442f-8ca6-e6f386a713ee" providerId="ADAL" clId="{9706D415-2DA0-4D00-90B6-E46BF852F024}" dt="2023-03-16T12:49:25.666" v="782" actId="1038"/>
          <ac:spMkLst>
            <pc:docMk/>
            <pc:sldMk cId="2278995086" sldId="729"/>
            <ac:spMk id="3391" creationId="{00000000-0008-0000-0300-00000B030000}"/>
          </ac:spMkLst>
        </pc:spChg>
        <pc:spChg chg="mod">
          <ac:chgData name="Schjold, Hanne Røvig" userId="72e82339-bab0-442f-8ca6-e6f386a713ee" providerId="ADAL" clId="{9706D415-2DA0-4D00-90B6-E46BF852F024}" dt="2023-03-16T12:49:25.666" v="782" actId="1038"/>
          <ac:spMkLst>
            <pc:docMk/>
            <pc:sldMk cId="2278995086" sldId="729"/>
            <ac:spMk id="3392" creationId="{00000000-0008-0000-0300-00000C030000}"/>
          </ac:spMkLst>
        </pc:spChg>
        <pc:spChg chg="mod">
          <ac:chgData name="Schjold, Hanne Røvig" userId="72e82339-bab0-442f-8ca6-e6f386a713ee" providerId="ADAL" clId="{9706D415-2DA0-4D00-90B6-E46BF852F024}" dt="2023-03-16T12:49:25.666" v="782" actId="1038"/>
          <ac:spMkLst>
            <pc:docMk/>
            <pc:sldMk cId="2278995086" sldId="729"/>
            <ac:spMk id="3393" creationId="{00000000-0008-0000-0300-00000D030000}"/>
          </ac:spMkLst>
        </pc:spChg>
        <pc:spChg chg="mod">
          <ac:chgData name="Schjold, Hanne Røvig" userId="72e82339-bab0-442f-8ca6-e6f386a713ee" providerId="ADAL" clId="{9706D415-2DA0-4D00-90B6-E46BF852F024}" dt="2023-03-16T12:49:25.666" v="782" actId="1038"/>
          <ac:spMkLst>
            <pc:docMk/>
            <pc:sldMk cId="2278995086" sldId="729"/>
            <ac:spMk id="3394" creationId="{00000000-0008-0000-0300-00000E030000}"/>
          </ac:spMkLst>
        </pc:spChg>
        <pc:spChg chg="mod">
          <ac:chgData name="Schjold, Hanne Røvig" userId="72e82339-bab0-442f-8ca6-e6f386a713ee" providerId="ADAL" clId="{9706D415-2DA0-4D00-90B6-E46BF852F024}" dt="2023-03-16T12:49:25.666" v="782" actId="1038"/>
          <ac:spMkLst>
            <pc:docMk/>
            <pc:sldMk cId="2278995086" sldId="729"/>
            <ac:spMk id="3395" creationId="{00000000-0008-0000-0300-00000F030000}"/>
          </ac:spMkLst>
        </pc:spChg>
        <pc:spChg chg="mod">
          <ac:chgData name="Schjold, Hanne Røvig" userId="72e82339-bab0-442f-8ca6-e6f386a713ee" providerId="ADAL" clId="{9706D415-2DA0-4D00-90B6-E46BF852F024}" dt="2023-03-16T12:49:25.666" v="782" actId="1038"/>
          <ac:spMkLst>
            <pc:docMk/>
            <pc:sldMk cId="2278995086" sldId="729"/>
            <ac:spMk id="3396" creationId="{00000000-0008-0000-0300-000010030000}"/>
          </ac:spMkLst>
        </pc:spChg>
        <pc:spChg chg="mod">
          <ac:chgData name="Schjold, Hanne Røvig" userId="72e82339-bab0-442f-8ca6-e6f386a713ee" providerId="ADAL" clId="{9706D415-2DA0-4D00-90B6-E46BF852F024}" dt="2023-03-16T12:49:25.666" v="782" actId="1038"/>
          <ac:spMkLst>
            <pc:docMk/>
            <pc:sldMk cId="2278995086" sldId="729"/>
            <ac:spMk id="3397" creationId="{00000000-0008-0000-0300-000011030000}"/>
          </ac:spMkLst>
        </pc:spChg>
        <pc:spChg chg="mod">
          <ac:chgData name="Schjold, Hanne Røvig" userId="72e82339-bab0-442f-8ca6-e6f386a713ee" providerId="ADAL" clId="{9706D415-2DA0-4D00-90B6-E46BF852F024}" dt="2023-03-16T12:49:25.666" v="782" actId="1038"/>
          <ac:spMkLst>
            <pc:docMk/>
            <pc:sldMk cId="2278995086" sldId="729"/>
            <ac:spMk id="3398" creationId="{00000000-0008-0000-0300-000012030000}"/>
          </ac:spMkLst>
        </pc:spChg>
        <pc:spChg chg="mod">
          <ac:chgData name="Schjold, Hanne Røvig" userId="72e82339-bab0-442f-8ca6-e6f386a713ee" providerId="ADAL" clId="{9706D415-2DA0-4D00-90B6-E46BF852F024}" dt="2023-03-16T12:49:25.666" v="782" actId="1038"/>
          <ac:spMkLst>
            <pc:docMk/>
            <pc:sldMk cId="2278995086" sldId="729"/>
            <ac:spMk id="3399" creationId="{00000000-0008-0000-0300-000013030000}"/>
          </ac:spMkLst>
        </pc:spChg>
        <pc:spChg chg="mod">
          <ac:chgData name="Schjold, Hanne Røvig" userId="72e82339-bab0-442f-8ca6-e6f386a713ee" providerId="ADAL" clId="{9706D415-2DA0-4D00-90B6-E46BF852F024}" dt="2023-03-16T12:49:25.666" v="782" actId="1038"/>
          <ac:spMkLst>
            <pc:docMk/>
            <pc:sldMk cId="2278995086" sldId="729"/>
            <ac:spMk id="3400" creationId="{00000000-0008-0000-0300-000014030000}"/>
          </ac:spMkLst>
        </pc:spChg>
        <pc:spChg chg="mod">
          <ac:chgData name="Schjold, Hanne Røvig" userId="72e82339-bab0-442f-8ca6-e6f386a713ee" providerId="ADAL" clId="{9706D415-2DA0-4D00-90B6-E46BF852F024}" dt="2023-03-16T12:49:25.666" v="782" actId="1038"/>
          <ac:spMkLst>
            <pc:docMk/>
            <pc:sldMk cId="2278995086" sldId="729"/>
            <ac:spMk id="3401" creationId="{00000000-0008-0000-0300-000015030000}"/>
          </ac:spMkLst>
        </pc:spChg>
        <pc:spChg chg="mod">
          <ac:chgData name="Schjold, Hanne Røvig" userId="72e82339-bab0-442f-8ca6-e6f386a713ee" providerId="ADAL" clId="{9706D415-2DA0-4D00-90B6-E46BF852F024}" dt="2023-03-16T12:49:25.666" v="782" actId="1038"/>
          <ac:spMkLst>
            <pc:docMk/>
            <pc:sldMk cId="2278995086" sldId="729"/>
            <ac:spMk id="3402" creationId="{00000000-0008-0000-0300-000016030000}"/>
          </ac:spMkLst>
        </pc:spChg>
        <pc:spChg chg="mod">
          <ac:chgData name="Schjold, Hanne Røvig" userId="72e82339-bab0-442f-8ca6-e6f386a713ee" providerId="ADAL" clId="{9706D415-2DA0-4D00-90B6-E46BF852F024}" dt="2023-03-16T12:49:25.666" v="782" actId="1038"/>
          <ac:spMkLst>
            <pc:docMk/>
            <pc:sldMk cId="2278995086" sldId="729"/>
            <ac:spMk id="3403" creationId="{00000000-0008-0000-0300-000017030000}"/>
          </ac:spMkLst>
        </pc:spChg>
        <pc:spChg chg="mod">
          <ac:chgData name="Schjold, Hanne Røvig" userId="72e82339-bab0-442f-8ca6-e6f386a713ee" providerId="ADAL" clId="{9706D415-2DA0-4D00-90B6-E46BF852F024}" dt="2023-03-16T12:49:25.666" v="782" actId="1038"/>
          <ac:spMkLst>
            <pc:docMk/>
            <pc:sldMk cId="2278995086" sldId="729"/>
            <ac:spMk id="3404" creationId="{00000000-0008-0000-0300-000018030000}"/>
          </ac:spMkLst>
        </pc:spChg>
        <pc:spChg chg="mod">
          <ac:chgData name="Schjold, Hanne Røvig" userId="72e82339-bab0-442f-8ca6-e6f386a713ee" providerId="ADAL" clId="{9706D415-2DA0-4D00-90B6-E46BF852F024}" dt="2023-03-16T12:49:25.666" v="782" actId="1038"/>
          <ac:spMkLst>
            <pc:docMk/>
            <pc:sldMk cId="2278995086" sldId="729"/>
            <ac:spMk id="3405" creationId="{00000000-0008-0000-0300-000019030000}"/>
          </ac:spMkLst>
        </pc:spChg>
        <pc:spChg chg="mod">
          <ac:chgData name="Schjold, Hanne Røvig" userId="72e82339-bab0-442f-8ca6-e6f386a713ee" providerId="ADAL" clId="{9706D415-2DA0-4D00-90B6-E46BF852F024}" dt="2023-03-16T12:49:25.666" v="782" actId="1038"/>
          <ac:spMkLst>
            <pc:docMk/>
            <pc:sldMk cId="2278995086" sldId="729"/>
            <ac:spMk id="3406" creationId="{00000000-0008-0000-0300-00001A030000}"/>
          </ac:spMkLst>
        </pc:spChg>
        <pc:spChg chg="mod">
          <ac:chgData name="Schjold, Hanne Røvig" userId="72e82339-bab0-442f-8ca6-e6f386a713ee" providerId="ADAL" clId="{9706D415-2DA0-4D00-90B6-E46BF852F024}" dt="2023-03-16T12:49:25.666" v="782" actId="1038"/>
          <ac:spMkLst>
            <pc:docMk/>
            <pc:sldMk cId="2278995086" sldId="729"/>
            <ac:spMk id="3407" creationId="{00000000-0008-0000-0300-00001B030000}"/>
          </ac:spMkLst>
        </pc:spChg>
        <pc:spChg chg="mod">
          <ac:chgData name="Schjold, Hanne Røvig" userId="72e82339-bab0-442f-8ca6-e6f386a713ee" providerId="ADAL" clId="{9706D415-2DA0-4D00-90B6-E46BF852F024}" dt="2023-03-16T12:49:25.666" v="782" actId="1038"/>
          <ac:spMkLst>
            <pc:docMk/>
            <pc:sldMk cId="2278995086" sldId="729"/>
            <ac:spMk id="3408" creationId="{00000000-0008-0000-0300-00001C030000}"/>
          </ac:spMkLst>
        </pc:spChg>
        <pc:spChg chg="mod">
          <ac:chgData name="Schjold, Hanne Røvig" userId="72e82339-bab0-442f-8ca6-e6f386a713ee" providerId="ADAL" clId="{9706D415-2DA0-4D00-90B6-E46BF852F024}" dt="2023-03-16T12:49:25.666" v="782" actId="1038"/>
          <ac:spMkLst>
            <pc:docMk/>
            <pc:sldMk cId="2278995086" sldId="729"/>
            <ac:spMk id="3409" creationId="{00000000-0008-0000-0300-00001D030000}"/>
          </ac:spMkLst>
        </pc:spChg>
        <pc:spChg chg="mod">
          <ac:chgData name="Schjold, Hanne Røvig" userId="72e82339-bab0-442f-8ca6-e6f386a713ee" providerId="ADAL" clId="{9706D415-2DA0-4D00-90B6-E46BF852F024}" dt="2023-03-16T12:49:25.666" v="782" actId="1038"/>
          <ac:spMkLst>
            <pc:docMk/>
            <pc:sldMk cId="2278995086" sldId="729"/>
            <ac:spMk id="3410" creationId="{00000000-0008-0000-0300-00001E030000}"/>
          </ac:spMkLst>
        </pc:spChg>
        <pc:spChg chg="mod">
          <ac:chgData name="Schjold, Hanne Røvig" userId="72e82339-bab0-442f-8ca6-e6f386a713ee" providerId="ADAL" clId="{9706D415-2DA0-4D00-90B6-E46BF852F024}" dt="2023-03-16T12:49:25.666" v="782" actId="1038"/>
          <ac:spMkLst>
            <pc:docMk/>
            <pc:sldMk cId="2278995086" sldId="729"/>
            <ac:spMk id="3411" creationId="{00000000-0008-0000-0300-00001F030000}"/>
          </ac:spMkLst>
        </pc:spChg>
        <pc:spChg chg="mod">
          <ac:chgData name="Schjold, Hanne Røvig" userId="72e82339-bab0-442f-8ca6-e6f386a713ee" providerId="ADAL" clId="{9706D415-2DA0-4D00-90B6-E46BF852F024}" dt="2023-03-16T12:49:25.666" v="782" actId="1038"/>
          <ac:spMkLst>
            <pc:docMk/>
            <pc:sldMk cId="2278995086" sldId="729"/>
            <ac:spMk id="3412" creationId="{00000000-0008-0000-0300-000020030000}"/>
          </ac:spMkLst>
        </pc:spChg>
        <pc:spChg chg="mod">
          <ac:chgData name="Schjold, Hanne Røvig" userId="72e82339-bab0-442f-8ca6-e6f386a713ee" providerId="ADAL" clId="{9706D415-2DA0-4D00-90B6-E46BF852F024}" dt="2023-03-16T12:49:25.666" v="782" actId="1038"/>
          <ac:spMkLst>
            <pc:docMk/>
            <pc:sldMk cId="2278995086" sldId="729"/>
            <ac:spMk id="3413" creationId="{00000000-0008-0000-0300-000021030000}"/>
          </ac:spMkLst>
        </pc:spChg>
        <pc:spChg chg="mod">
          <ac:chgData name="Schjold, Hanne Røvig" userId="72e82339-bab0-442f-8ca6-e6f386a713ee" providerId="ADAL" clId="{9706D415-2DA0-4D00-90B6-E46BF852F024}" dt="2023-03-16T12:49:25.666" v="782" actId="1038"/>
          <ac:spMkLst>
            <pc:docMk/>
            <pc:sldMk cId="2278995086" sldId="729"/>
            <ac:spMk id="3414" creationId="{00000000-0008-0000-0300-000022030000}"/>
          </ac:spMkLst>
        </pc:spChg>
        <pc:spChg chg="mod">
          <ac:chgData name="Schjold, Hanne Røvig" userId="72e82339-bab0-442f-8ca6-e6f386a713ee" providerId="ADAL" clId="{9706D415-2DA0-4D00-90B6-E46BF852F024}" dt="2023-03-16T12:49:25.666" v="782" actId="1038"/>
          <ac:spMkLst>
            <pc:docMk/>
            <pc:sldMk cId="2278995086" sldId="729"/>
            <ac:spMk id="3415" creationId="{00000000-0008-0000-0300-000023030000}"/>
          </ac:spMkLst>
        </pc:spChg>
        <pc:spChg chg="mod">
          <ac:chgData name="Schjold, Hanne Røvig" userId="72e82339-bab0-442f-8ca6-e6f386a713ee" providerId="ADAL" clId="{9706D415-2DA0-4D00-90B6-E46BF852F024}" dt="2023-03-16T12:49:25.666" v="782" actId="1038"/>
          <ac:spMkLst>
            <pc:docMk/>
            <pc:sldMk cId="2278995086" sldId="729"/>
            <ac:spMk id="3416" creationId="{00000000-0008-0000-0300-000024030000}"/>
          </ac:spMkLst>
        </pc:spChg>
        <pc:spChg chg="mod">
          <ac:chgData name="Schjold, Hanne Røvig" userId="72e82339-bab0-442f-8ca6-e6f386a713ee" providerId="ADAL" clId="{9706D415-2DA0-4D00-90B6-E46BF852F024}" dt="2023-03-16T12:49:25.666" v="782" actId="1038"/>
          <ac:spMkLst>
            <pc:docMk/>
            <pc:sldMk cId="2278995086" sldId="729"/>
            <ac:spMk id="3417" creationId="{00000000-0008-0000-0300-000025030000}"/>
          </ac:spMkLst>
        </pc:spChg>
        <pc:spChg chg="mod">
          <ac:chgData name="Schjold, Hanne Røvig" userId="72e82339-bab0-442f-8ca6-e6f386a713ee" providerId="ADAL" clId="{9706D415-2DA0-4D00-90B6-E46BF852F024}" dt="2023-03-16T12:49:25.666" v="782" actId="1038"/>
          <ac:spMkLst>
            <pc:docMk/>
            <pc:sldMk cId="2278995086" sldId="729"/>
            <ac:spMk id="3418" creationId="{00000000-0008-0000-0300-000026030000}"/>
          </ac:spMkLst>
        </pc:spChg>
        <pc:spChg chg="mod">
          <ac:chgData name="Schjold, Hanne Røvig" userId="72e82339-bab0-442f-8ca6-e6f386a713ee" providerId="ADAL" clId="{9706D415-2DA0-4D00-90B6-E46BF852F024}" dt="2023-03-16T12:49:25.666" v="782" actId="1038"/>
          <ac:spMkLst>
            <pc:docMk/>
            <pc:sldMk cId="2278995086" sldId="729"/>
            <ac:spMk id="3419" creationId="{00000000-0008-0000-0300-000027030000}"/>
          </ac:spMkLst>
        </pc:spChg>
        <pc:spChg chg="mod">
          <ac:chgData name="Schjold, Hanne Røvig" userId="72e82339-bab0-442f-8ca6-e6f386a713ee" providerId="ADAL" clId="{9706D415-2DA0-4D00-90B6-E46BF852F024}" dt="2023-03-16T12:49:25.666" v="782" actId="1038"/>
          <ac:spMkLst>
            <pc:docMk/>
            <pc:sldMk cId="2278995086" sldId="729"/>
            <ac:spMk id="3420" creationId="{00000000-0008-0000-0300-000028030000}"/>
          </ac:spMkLst>
        </pc:spChg>
        <pc:spChg chg="mod">
          <ac:chgData name="Schjold, Hanne Røvig" userId="72e82339-bab0-442f-8ca6-e6f386a713ee" providerId="ADAL" clId="{9706D415-2DA0-4D00-90B6-E46BF852F024}" dt="2023-03-16T12:49:25.666" v="782" actId="1038"/>
          <ac:spMkLst>
            <pc:docMk/>
            <pc:sldMk cId="2278995086" sldId="729"/>
            <ac:spMk id="3421" creationId="{00000000-0008-0000-0300-000029030000}"/>
          </ac:spMkLst>
        </pc:spChg>
        <pc:spChg chg="mod">
          <ac:chgData name="Schjold, Hanne Røvig" userId="72e82339-bab0-442f-8ca6-e6f386a713ee" providerId="ADAL" clId="{9706D415-2DA0-4D00-90B6-E46BF852F024}" dt="2023-03-16T12:49:25.666" v="782" actId="1038"/>
          <ac:spMkLst>
            <pc:docMk/>
            <pc:sldMk cId="2278995086" sldId="729"/>
            <ac:spMk id="3422" creationId="{00000000-0008-0000-0300-00002A030000}"/>
          </ac:spMkLst>
        </pc:spChg>
        <pc:spChg chg="mod">
          <ac:chgData name="Schjold, Hanne Røvig" userId="72e82339-bab0-442f-8ca6-e6f386a713ee" providerId="ADAL" clId="{9706D415-2DA0-4D00-90B6-E46BF852F024}" dt="2023-03-16T12:49:25.666" v="782" actId="1038"/>
          <ac:spMkLst>
            <pc:docMk/>
            <pc:sldMk cId="2278995086" sldId="729"/>
            <ac:spMk id="3423" creationId="{00000000-0008-0000-0300-00002B030000}"/>
          </ac:spMkLst>
        </pc:spChg>
        <pc:spChg chg="mod">
          <ac:chgData name="Schjold, Hanne Røvig" userId="72e82339-bab0-442f-8ca6-e6f386a713ee" providerId="ADAL" clId="{9706D415-2DA0-4D00-90B6-E46BF852F024}" dt="2023-03-16T12:49:25.666" v="782" actId="1038"/>
          <ac:spMkLst>
            <pc:docMk/>
            <pc:sldMk cId="2278995086" sldId="729"/>
            <ac:spMk id="3424" creationId="{00000000-0008-0000-0300-00002C030000}"/>
          </ac:spMkLst>
        </pc:spChg>
        <pc:spChg chg="mod">
          <ac:chgData name="Schjold, Hanne Røvig" userId="72e82339-bab0-442f-8ca6-e6f386a713ee" providerId="ADAL" clId="{9706D415-2DA0-4D00-90B6-E46BF852F024}" dt="2023-03-16T12:49:25.666" v="782" actId="1038"/>
          <ac:spMkLst>
            <pc:docMk/>
            <pc:sldMk cId="2278995086" sldId="729"/>
            <ac:spMk id="3425" creationId="{00000000-0008-0000-0300-00002D030000}"/>
          </ac:spMkLst>
        </pc:spChg>
        <pc:spChg chg="mod">
          <ac:chgData name="Schjold, Hanne Røvig" userId="72e82339-bab0-442f-8ca6-e6f386a713ee" providerId="ADAL" clId="{9706D415-2DA0-4D00-90B6-E46BF852F024}" dt="2023-03-16T12:49:25.666" v="782" actId="1038"/>
          <ac:spMkLst>
            <pc:docMk/>
            <pc:sldMk cId="2278995086" sldId="729"/>
            <ac:spMk id="3426" creationId="{00000000-0008-0000-0300-00002E030000}"/>
          </ac:spMkLst>
        </pc:spChg>
        <pc:spChg chg="mod">
          <ac:chgData name="Schjold, Hanne Røvig" userId="72e82339-bab0-442f-8ca6-e6f386a713ee" providerId="ADAL" clId="{9706D415-2DA0-4D00-90B6-E46BF852F024}" dt="2023-03-16T12:49:25.666" v="782" actId="1038"/>
          <ac:spMkLst>
            <pc:docMk/>
            <pc:sldMk cId="2278995086" sldId="729"/>
            <ac:spMk id="3427" creationId="{00000000-0008-0000-0300-00002F030000}"/>
          </ac:spMkLst>
        </pc:spChg>
        <pc:spChg chg="mod">
          <ac:chgData name="Schjold, Hanne Røvig" userId="72e82339-bab0-442f-8ca6-e6f386a713ee" providerId="ADAL" clId="{9706D415-2DA0-4D00-90B6-E46BF852F024}" dt="2023-03-16T12:49:25.666" v="782" actId="1038"/>
          <ac:spMkLst>
            <pc:docMk/>
            <pc:sldMk cId="2278995086" sldId="729"/>
            <ac:spMk id="3428" creationId="{00000000-0008-0000-0300-000030030000}"/>
          </ac:spMkLst>
        </pc:spChg>
        <pc:spChg chg="mod">
          <ac:chgData name="Schjold, Hanne Røvig" userId="72e82339-bab0-442f-8ca6-e6f386a713ee" providerId="ADAL" clId="{9706D415-2DA0-4D00-90B6-E46BF852F024}" dt="2023-03-16T12:49:25.666" v="782" actId="1038"/>
          <ac:spMkLst>
            <pc:docMk/>
            <pc:sldMk cId="2278995086" sldId="729"/>
            <ac:spMk id="3429" creationId="{00000000-0008-0000-0300-000031030000}"/>
          </ac:spMkLst>
        </pc:spChg>
        <pc:spChg chg="mod">
          <ac:chgData name="Schjold, Hanne Røvig" userId="72e82339-bab0-442f-8ca6-e6f386a713ee" providerId="ADAL" clId="{9706D415-2DA0-4D00-90B6-E46BF852F024}" dt="2023-03-16T12:49:25.666" v="782" actId="1038"/>
          <ac:spMkLst>
            <pc:docMk/>
            <pc:sldMk cId="2278995086" sldId="729"/>
            <ac:spMk id="3430" creationId="{00000000-0008-0000-0300-000032030000}"/>
          </ac:spMkLst>
        </pc:spChg>
        <pc:spChg chg="mod">
          <ac:chgData name="Schjold, Hanne Røvig" userId="72e82339-bab0-442f-8ca6-e6f386a713ee" providerId="ADAL" clId="{9706D415-2DA0-4D00-90B6-E46BF852F024}" dt="2023-03-16T12:49:25.666" v="782" actId="1038"/>
          <ac:spMkLst>
            <pc:docMk/>
            <pc:sldMk cId="2278995086" sldId="729"/>
            <ac:spMk id="3431" creationId="{00000000-0008-0000-0300-000033030000}"/>
          </ac:spMkLst>
        </pc:spChg>
        <pc:spChg chg="mod">
          <ac:chgData name="Schjold, Hanne Røvig" userId="72e82339-bab0-442f-8ca6-e6f386a713ee" providerId="ADAL" clId="{9706D415-2DA0-4D00-90B6-E46BF852F024}" dt="2023-03-16T12:49:25.666" v="782" actId="1038"/>
          <ac:spMkLst>
            <pc:docMk/>
            <pc:sldMk cId="2278995086" sldId="729"/>
            <ac:spMk id="3432" creationId="{00000000-0008-0000-0300-000034030000}"/>
          </ac:spMkLst>
        </pc:spChg>
        <pc:spChg chg="mod">
          <ac:chgData name="Schjold, Hanne Røvig" userId="72e82339-bab0-442f-8ca6-e6f386a713ee" providerId="ADAL" clId="{9706D415-2DA0-4D00-90B6-E46BF852F024}" dt="2023-03-16T12:49:25.666" v="782" actId="1038"/>
          <ac:spMkLst>
            <pc:docMk/>
            <pc:sldMk cId="2278995086" sldId="729"/>
            <ac:spMk id="3433" creationId="{00000000-0008-0000-0300-000035030000}"/>
          </ac:spMkLst>
        </pc:spChg>
        <pc:spChg chg="mod">
          <ac:chgData name="Schjold, Hanne Røvig" userId="72e82339-bab0-442f-8ca6-e6f386a713ee" providerId="ADAL" clId="{9706D415-2DA0-4D00-90B6-E46BF852F024}" dt="2023-03-16T12:49:25.666" v="782" actId="1038"/>
          <ac:spMkLst>
            <pc:docMk/>
            <pc:sldMk cId="2278995086" sldId="729"/>
            <ac:spMk id="3434" creationId="{00000000-0008-0000-0300-000036030000}"/>
          </ac:spMkLst>
        </pc:spChg>
        <pc:spChg chg="mod">
          <ac:chgData name="Schjold, Hanne Røvig" userId="72e82339-bab0-442f-8ca6-e6f386a713ee" providerId="ADAL" clId="{9706D415-2DA0-4D00-90B6-E46BF852F024}" dt="2023-03-16T12:49:25.666" v="782" actId="1038"/>
          <ac:spMkLst>
            <pc:docMk/>
            <pc:sldMk cId="2278995086" sldId="729"/>
            <ac:spMk id="3435" creationId="{00000000-0008-0000-0300-000037030000}"/>
          </ac:spMkLst>
        </pc:spChg>
        <pc:spChg chg="mod">
          <ac:chgData name="Schjold, Hanne Røvig" userId="72e82339-bab0-442f-8ca6-e6f386a713ee" providerId="ADAL" clId="{9706D415-2DA0-4D00-90B6-E46BF852F024}" dt="2023-03-16T12:49:25.666" v="782" actId="1038"/>
          <ac:spMkLst>
            <pc:docMk/>
            <pc:sldMk cId="2278995086" sldId="729"/>
            <ac:spMk id="3436" creationId="{00000000-0008-0000-0300-000038030000}"/>
          </ac:spMkLst>
        </pc:spChg>
        <pc:spChg chg="mod">
          <ac:chgData name="Schjold, Hanne Røvig" userId="72e82339-bab0-442f-8ca6-e6f386a713ee" providerId="ADAL" clId="{9706D415-2DA0-4D00-90B6-E46BF852F024}" dt="2023-03-16T12:49:25.666" v="782" actId="1038"/>
          <ac:spMkLst>
            <pc:docMk/>
            <pc:sldMk cId="2278995086" sldId="729"/>
            <ac:spMk id="3437" creationId="{00000000-0008-0000-0300-000039030000}"/>
          </ac:spMkLst>
        </pc:spChg>
        <pc:spChg chg="mod">
          <ac:chgData name="Schjold, Hanne Røvig" userId="72e82339-bab0-442f-8ca6-e6f386a713ee" providerId="ADAL" clId="{9706D415-2DA0-4D00-90B6-E46BF852F024}" dt="2023-03-16T12:49:25.666" v="782" actId="1038"/>
          <ac:spMkLst>
            <pc:docMk/>
            <pc:sldMk cId="2278995086" sldId="729"/>
            <ac:spMk id="3438" creationId="{00000000-0008-0000-0300-00003A030000}"/>
          </ac:spMkLst>
        </pc:spChg>
        <pc:spChg chg="mod">
          <ac:chgData name="Schjold, Hanne Røvig" userId="72e82339-bab0-442f-8ca6-e6f386a713ee" providerId="ADAL" clId="{9706D415-2DA0-4D00-90B6-E46BF852F024}" dt="2023-03-16T12:49:25.666" v="782" actId="1038"/>
          <ac:spMkLst>
            <pc:docMk/>
            <pc:sldMk cId="2278995086" sldId="729"/>
            <ac:spMk id="3439" creationId="{00000000-0008-0000-0300-00003B030000}"/>
          </ac:spMkLst>
        </pc:spChg>
        <pc:spChg chg="mod">
          <ac:chgData name="Schjold, Hanne Røvig" userId="72e82339-bab0-442f-8ca6-e6f386a713ee" providerId="ADAL" clId="{9706D415-2DA0-4D00-90B6-E46BF852F024}" dt="2023-03-16T12:49:25.666" v="782" actId="1038"/>
          <ac:spMkLst>
            <pc:docMk/>
            <pc:sldMk cId="2278995086" sldId="729"/>
            <ac:spMk id="3440" creationId="{00000000-0008-0000-0300-00003C030000}"/>
          </ac:spMkLst>
        </pc:spChg>
        <pc:spChg chg="mod">
          <ac:chgData name="Schjold, Hanne Røvig" userId="72e82339-bab0-442f-8ca6-e6f386a713ee" providerId="ADAL" clId="{9706D415-2DA0-4D00-90B6-E46BF852F024}" dt="2023-03-16T12:49:25.666" v="782" actId="1038"/>
          <ac:spMkLst>
            <pc:docMk/>
            <pc:sldMk cId="2278995086" sldId="729"/>
            <ac:spMk id="3441" creationId="{00000000-0008-0000-0300-00003D030000}"/>
          </ac:spMkLst>
        </pc:spChg>
        <pc:spChg chg="mod">
          <ac:chgData name="Schjold, Hanne Røvig" userId="72e82339-bab0-442f-8ca6-e6f386a713ee" providerId="ADAL" clId="{9706D415-2DA0-4D00-90B6-E46BF852F024}" dt="2023-03-16T12:49:25.666" v="782" actId="1038"/>
          <ac:spMkLst>
            <pc:docMk/>
            <pc:sldMk cId="2278995086" sldId="729"/>
            <ac:spMk id="3442" creationId="{00000000-0008-0000-0300-00003E030000}"/>
          </ac:spMkLst>
        </pc:spChg>
        <pc:spChg chg="mod">
          <ac:chgData name="Schjold, Hanne Røvig" userId="72e82339-bab0-442f-8ca6-e6f386a713ee" providerId="ADAL" clId="{9706D415-2DA0-4D00-90B6-E46BF852F024}" dt="2023-03-16T12:49:25.666" v="782" actId="1038"/>
          <ac:spMkLst>
            <pc:docMk/>
            <pc:sldMk cId="2278995086" sldId="729"/>
            <ac:spMk id="3443" creationId="{00000000-0008-0000-0300-00003F030000}"/>
          </ac:spMkLst>
        </pc:spChg>
        <pc:spChg chg="mod">
          <ac:chgData name="Schjold, Hanne Røvig" userId="72e82339-bab0-442f-8ca6-e6f386a713ee" providerId="ADAL" clId="{9706D415-2DA0-4D00-90B6-E46BF852F024}" dt="2023-03-16T12:49:25.666" v="782" actId="1038"/>
          <ac:spMkLst>
            <pc:docMk/>
            <pc:sldMk cId="2278995086" sldId="729"/>
            <ac:spMk id="3444" creationId="{00000000-0008-0000-0300-000040030000}"/>
          </ac:spMkLst>
        </pc:spChg>
        <pc:spChg chg="mod">
          <ac:chgData name="Schjold, Hanne Røvig" userId="72e82339-bab0-442f-8ca6-e6f386a713ee" providerId="ADAL" clId="{9706D415-2DA0-4D00-90B6-E46BF852F024}" dt="2023-03-16T12:49:25.666" v="782" actId="1038"/>
          <ac:spMkLst>
            <pc:docMk/>
            <pc:sldMk cId="2278995086" sldId="729"/>
            <ac:spMk id="3445" creationId="{00000000-0008-0000-0300-000041030000}"/>
          </ac:spMkLst>
        </pc:spChg>
        <pc:spChg chg="mod">
          <ac:chgData name="Schjold, Hanne Røvig" userId="72e82339-bab0-442f-8ca6-e6f386a713ee" providerId="ADAL" clId="{9706D415-2DA0-4D00-90B6-E46BF852F024}" dt="2023-03-16T12:49:25.666" v="782" actId="1038"/>
          <ac:spMkLst>
            <pc:docMk/>
            <pc:sldMk cId="2278995086" sldId="729"/>
            <ac:spMk id="3446" creationId="{00000000-0008-0000-0300-000042030000}"/>
          </ac:spMkLst>
        </pc:spChg>
        <pc:spChg chg="mod">
          <ac:chgData name="Schjold, Hanne Røvig" userId="72e82339-bab0-442f-8ca6-e6f386a713ee" providerId="ADAL" clId="{9706D415-2DA0-4D00-90B6-E46BF852F024}" dt="2023-03-16T12:49:25.666" v="782" actId="1038"/>
          <ac:spMkLst>
            <pc:docMk/>
            <pc:sldMk cId="2278995086" sldId="729"/>
            <ac:spMk id="3447" creationId="{00000000-0008-0000-0300-000043030000}"/>
          </ac:spMkLst>
        </pc:spChg>
        <pc:spChg chg="mod">
          <ac:chgData name="Schjold, Hanne Røvig" userId="72e82339-bab0-442f-8ca6-e6f386a713ee" providerId="ADAL" clId="{9706D415-2DA0-4D00-90B6-E46BF852F024}" dt="2023-03-16T12:49:25.666" v="782" actId="1038"/>
          <ac:spMkLst>
            <pc:docMk/>
            <pc:sldMk cId="2278995086" sldId="729"/>
            <ac:spMk id="3448" creationId="{00000000-0008-0000-0300-000044030000}"/>
          </ac:spMkLst>
        </pc:spChg>
        <pc:spChg chg="mod">
          <ac:chgData name="Schjold, Hanne Røvig" userId="72e82339-bab0-442f-8ca6-e6f386a713ee" providerId="ADAL" clId="{9706D415-2DA0-4D00-90B6-E46BF852F024}" dt="2023-03-16T12:49:25.666" v="782" actId="1038"/>
          <ac:spMkLst>
            <pc:docMk/>
            <pc:sldMk cId="2278995086" sldId="729"/>
            <ac:spMk id="3449" creationId="{00000000-0008-0000-0300-000045030000}"/>
          </ac:spMkLst>
        </pc:spChg>
        <pc:spChg chg="mod">
          <ac:chgData name="Schjold, Hanne Røvig" userId="72e82339-bab0-442f-8ca6-e6f386a713ee" providerId="ADAL" clId="{9706D415-2DA0-4D00-90B6-E46BF852F024}" dt="2023-03-16T12:49:25.666" v="782" actId="1038"/>
          <ac:spMkLst>
            <pc:docMk/>
            <pc:sldMk cId="2278995086" sldId="729"/>
            <ac:spMk id="3450" creationId="{00000000-0008-0000-0300-000046030000}"/>
          </ac:spMkLst>
        </pc:spChg>
        <pc:spChg chg="mod">
          <ac:chgData name="Schjold, Hanne Røvig" userId="72e82339-bab0-442f-8ca6-e6f386a713ee" providerId="ADAL" clId="{9706D415-2DA0-4D00-90B6-E46BF852F024}" dt="2023-03-16T12:49:25.666" v="782" actId="1038"/>
          <ac:spMkLst>
            <pc:docMk/>
            <pc:sldMk cId="2278995086" sldId="729"/>
            <ac:spMk id="3451" creationId="{00000000-0008-0000-0300-000047030000}"/>
          </ac:spMkLst>
        </pc:spChg>
        <pc:spChg chg="mod">
          <ac:chgData name="Schjold, Hanne Røvig" userId="72e82339-bab0-442f-8ca6-e6f386a713ee" providerId="ADAL" clId="{9706D415-2DA0-4D00-90B6-E46BF852F024}" dt="2023-03-16T12:49:25.666" v="782" actId="1038"/>
          <ac:spMkLst>
            <pc:docMk/>
            <pc:sldMk cId="2278995086" sldId="729"/>
            <ac:spMk id="3452" creationId="{00000000-0008-0000-0300-000048030000}"/>
          </ac:spMkLst>
        </pc:spChg>
        <pc:spChg chg="mod">
          <ac:chgData name="Schjold, Hanne Røvig" userId="72e82339-bab0-442f-8ca6-e6f386a713ee" providerId="ADAL" clId="{9706D415-2DA0-4D00-90B6-E46BF852F024}" dt="2023-03-16T12:49:25.666" v="782" actId="1038"/>
          <ac:spMkLst>
            <pc:docMk/>
            <pc:sldMk cId="2278995086" sldId="729"/>
            <ac:spMk id="3453" creationId="{00000000-0008-0000-0300-000049030000}"/>
          </ac:spMkLst>
        </pc:spChg>
        <pc:spChg chg="mod">
          <ac:chgData name="Schjold, Hanne Røvig" userId="72e82339-bab0-442f-8ca6-e6f386a713ee" providerId="ADAL" clId="{9706D415-2DA0-4D00-90B6-E46BF852F024}" dt="2023-03-16T12:49:25.666" v="782" actId="1038"/>
          <ac:spMkLst>
            <pc:docMk/>
            <pc:sldMk cId="2278995086" sldId="729"/>
            <ac:spMk id="3454" creationId="{00000000-0008-0000-0300-00004A030000}"/>
          </ac:spMkLst>
        </pc:spChg>
        <pc:spChg chg="mod">
          <ac:chgData name="Schjold, Hanne Røvig" userId="72e82339-bab0-442f-8ca6-e6f386a713ee" providerId="ADAL" clId="{9706D415-2DA0-4D00-90B6-E46BF852F024}" dt="2023-03-16T12:49:25.666" v="782" actId="1038"/>
          <ac:spMkLst>
            <pc:docMk/>
            <pc:sldMk cId="2278995086" sldId="729"/>
            <ac:spMk id="3455" creationId="{00000000-0008-0000-0300-00004B030000}"/>
          </ac:spMkLst>
        </pc:spChg>
        <pc:spChg chg="mod">
          <ac:chgData name="Schjold, Hanne Røvig" userId="72e82339-bab0-442f-8ca6-e6f386a713ee" providerId="ADAL" clId="{9706D415-2DA0-4D00-90B6-E46BF852F024}" dt="2023-03-16T12:49:25.666" v="782" actId="1038"/>
          <ac:spMkLst>
            <pc:docMk/>
            <pc:sldMk cId="2278995086" sldId="729"/>
            <ac:spMk id="3456" creationId="{00000000-0008-0000-0300-00004C030000}"/>
          </ac:spMkLst>
        </pc:spChg>
        <pc:spChg chg="mod">
          <ac:chgData name="Schjold, Hanne Røvig" userId="72e82339-bab0-442f-8ca6-e6f386a713ee" providerId="ADAL" clId="{9706D415-2DA0-4D00-90B6-E46BF852F024}" dt="2023-03-16T12:49:25.666" v="782" actId="1038"/>
          <ac:spMkLst>
            <pc:docMk/>
            <pc:sldMk cId="2278995086" sldId="729"/>
            <ac:spMk id="3457" creationId="{00000000-0008-0000-0300-00004D030000}"/>
          </ac:spMkLst>
        </pc:spChg>
        <pc:spChg chg="mod">
          <ac:chgData name="Schjold, Hanne Røvig" userId="72e82339-bab0-442f-8ca6-e6f386a713ee" providerId="ADAL" clId="{9706D415-2DA0-4D00-90B6-E46BF852F024}" dt="2023-03-16T12:49:25.666" v="782" actId="1038"/>
          <ac:spMkLst>
            <pc:docMk/>
            <pc:sldMk cId="2278995086" sldId="729"/>
            <ac:spMk id="3458" creationId="{00000000-0008-0000-0300-00004E030000}"/>
          </ac:spMkLst>
        </pc:spChg>
        <pc:spChg chg="mod">
          <ac:chgData name="Schjold, Hanne Røvig" userId="72e82339-bab0-442f-8ca6-e6f386a713ee" providerId="ADAL" clId="{9706D415-2DA0-4D00-90B6-E46BF852F024}" dt="2023-03-16T12:49:25.666" v="782" actId="1038"/>
          <ac:spMkLst>
            <pc:docMk/>
            <pc:sldMk cId="2278995086" sldId="729"/>
            <ac:spMk id="3459" creationId="{00000000-0008-0000-0300-00004F030000}"/>
          </ac:spMkLst>
        </pc:spChg>
        <pc:spChg chg="mod">
          <ac:chgData name="Schjold, Hanne Røvig" userId="72e82339-bab0-442f-8ca6-e6f386a713ee" providerId="ADAL" clId="{9706D415-2DA0-4D00-90B6-E46BF852F024}" dt="2023-03-16T12:49:25.666" v="782" actId="1038"/>
          <ac:spMkLst>
            <pc:docMk/>
            <pc:sldMk cId="2278995086" sldId="729"/>
            <ac:spMk id="3460" creationId="{00000000-0008-0000-0300-000050030000}"/>
          </ac:spMkLst>
        </pc:spChg>
        <pc:spChg chg="mod">
          <ac:chgData name="Schjold, Hanne Røvig" userId="72e82339-bab0-442f-8ca6-e6f386a713ee" providerId="ADAL" clId="{9706D415-2DA0-4D00-90B6-E46BF852F024}" dt="2023-03-16T12:49:25.666" v="782" actId="1038"/>
          <ac:spMkLst>
            <pc:docMk/>
            <pc:sldMk cId="2278995086" sldId="729"/>
            <ac:spMk id="3461" creationId="{00000000-0008-0000-0300-000051030000}"/>
          </ac:spMkLst>
        </pc:spChg>
        <pc:spChg chg="mod">
          <ac:chgData name="Schjold, Hanne Røvig" userId="72e82339-bab0-442f-8ca6-e6f386a713ee" providerId="ADAL" clId="{9706D415-2DA0-4D00-90B6-E46BF852F024}" dt="2023-03-16T12:49:25.666" v="782" actId="1038"/>
          <ac:spMkLst>
            <pc:docMk/>
            <pc:sldMk cId="2278995086" sldId="729"/>
            <ac:spMk id="3462" creationId="{00000000-0008-0000-0300-000052030000}"/>
          </ac:spMkLst>
        </pc:spChg>
        <pc:spChg chg="mod">
          <ac:chgData name="Schjold, Hanne Røvig" userId="72e82339-bab0-442f-8ca6-e6f386a713ee" providerId="ADAL" clId="{9706D415-2DA0-4D00-90B6-E46BF852F024}" dt="2023-03-16T12:49:25.666" v="782" actId="1038"/>
          <ac:spMkLst>
            <pc:docMk/>
            <pc:sldMk cId="2278995086" sldId="729"/>
            <ac:spMk id="3463" creationId="{00000000-0008-0000-0300-000053030000}"/>
          </ac:spMkLst>
        </pc:spChg>
        <pc:spChg chg="mod">
          <ac:chgData name="Schjold, Hanne Røvig" userId="72e82339-bab0-442f-8ca6-e6f386a713ee" providerId="ADAL" clId="{9706D415-2DA0-4D00-90B6-E46BF852F024}" dt="2023-03-16T12:49:25.666" v="782" actId="1038"/>
          <ac:spMkLst>
            <pc:docMk/>
            <pc:sldMk cId="2278995086" sldId="729"/>
            <ac:spMk id="3464" creationId="{00000000-0008-0000-0300-000054030000}"/>
          </ac:spMkLst>
        </pc:spChg>
        <pc:spChg chg="mod">
          <ac:chgData name="Schjold, Hanne Røvig" userId="72e82339-bab0-442f-8ca6-e6f386a713ee" providerId="ADAL" clId="{9706D415-2DA0-4D00-90B6-E46BF852F024}" dt="2023-03-16T12:49:25.666" v="782" actId="1038"/>
          <ac:spMkLst>
            <pc:docMk/>
            <pc:sldMk cId="2278995086" sldId="729"/>
            <ac:spMk id="3465" creationId="{00000000-0008-0000-0300-000055030000}"/>
          </ac:spMkLst>
        </pc:spChg>
        <pc:spChg chg="mod">
          <ac:chgData name="Schjold, Hanne Røvig" userId="72e82339-bab0-442f-8ca6-e6f386a713ee" providerId="ADAL" clId="{9706D415-2DA0-4D00-90B6-E46BF852F024}" dt="2023-03-16T12:49:25.666" v="782" actId="1038"/>
          <ac:spMkLst>
            <pc:docMk/>
            <pc:sldMk cId="2278995086" sldId="729"/>
            <ac:spMk id="3466" creationId="{00000000-0008-0000-0300-000056030000}"/>
          </ac:spMkLst>
        </pc:spChg>
        <pc:spChg chg="mod">
          <ac:chgData name="Schjold, Hanne Røvig" userId="72e82339-bab0-442f-8ca6-e6f386a713ee" providerId="ADAL" clId="{9706D415-2DA0-4D00-90B6-E46BF852F024}" dt="2023-03-16T12:49:25.666" v="782" actId="1038"/>
          <ac:spMkLst>
            <pc:docMk/>
            <pc:sldMk cId="2278995086" sldId="729"/>
            <ac:spMk id="3467" creationId="{00000000-0008-0000-0300-000057030000}"/>
          </ac:spMkLst>
        </pc:spChg>
        <pc:spChg chg="mod">
          <ac:chgData name="Schjold, Hanne Røvig" userId="72e82339-bab0-442f-8ca6-e6f386a713ee" providerId="ADAL" clId="{9706D415-2DA0-4D00-90B6-E46BF852F024}" dt="2023-03-16T12:49:25.666" v="782" actId="1038"/>
          <ac:spMkLst>
            <pc:docMk/>
            <pc:sldMk cId="2278995086" sldId="729"/>
            <ac:spMk id="3468" creationId="{00000000-0008-0000-0300-000058030000}"/>
          </ac:spMkLst>
        </pc:spChg>
        <pc:spChg chg="mod">
          <ac:chgData name="Schjold, Hanne Røvig" userId="72e82339-bab0-442f-8ca6-e6f386a713ee" providerId="ADAL" clId="{9706D415-2DA0-4D00-90B6-E46BF852F024}" dt="2023-03-16T12:49:25.666" v="782" actId="1038"/>
          <ac:spMkLst>
            <pc:docMk/>
            <pc:sldMk cId="2278995086" sldId="729"/>
            <ac:spMk id="3469" creationId="{00000000-0008-0000-0300-000059030000}"/>
          </ac:spMkLst>
        </pc:spChg>
        <pc:spChg chg="mod">
          <ac:chgData name="Schjold, Hanne Røvig" userId="72e82339-bab0-442f-8ca6-e6f386a713ee" providerId="ADAL" clId="{9706D415-2DA0-4D00-90B6-E46BF852F024}" dt="2023-03-16T12:49:25.666" v="782" actId="1038"/>
          <ac:spMkLst>
            <pc:docMk/>
            <pc:sldMk cId="2278995086" sldId="729"/>
            <ac:spMk id="3470" creationId="{00000000-0008-0000-0300-00005A030000}"/>
          </ac:spMkLst>
        </pc:spChg>
        <pc:spChg chg="mod">
          <ac:chgData name="Schjold, Hanne Røvig" userId="72e82339-bab0-442f-8ca6-e6f386a713ee" providerId="ADAL" clId="{9706D415-2DA0-4D00-90B6-E46BF852F024}" dt="2023-03-16T12:49:25.666" v="782" actId="1038"/>
          <ac:spMkLst>
            <pc:docMk/>
            <pc:sldMk cId="2278995086" sldId="729"/>
            <ac:spMk id="3471" creationId="{00000000-0008-0000-0300-00005B030000}"/>
          </ac:spMkLst>
        </pc:spChg>
        <pc:spChg chg="mod">
          <ac:chgData name="Schjold, Hanne Røvig" userId="72e82339-bab0-442f-8ca6-e6f386a713ee" providerId="ADAL" clId="{9706D415-2DA0-4D00-90B6-E46BF852F024}" dt="2023-03-16T12:49:25.666" v="782" actId="1038"/>
          <ac:spMkLst>
            <pc:docMk/>
            <pc:sldMk cId="2278995086" sldId="729"/>
            <ac:spMk id="3472" creationId="{00000000-0008-0000-0300-00005C030000}"/>
          </ac:spMkLst>
        </pc:spChg>
        <pc:spChg chg="mod">
          <ac:chgData name="Schjold, Hanne Røvig" userId="72e82339-bab0-442f-8ca6-e6f386a713ee" providerId="ADAL" clId="{9706D415-2DA0-4D00-90B6-E46BF852F024}" dt="2023-03-16T12:49:25.666" v="782" actId="1038"/>
          <ac:spMkLst>
            <pc:docMk/>
            <pc:sldMk cId="2278995086" sldId="729"/>
            <ac:spMk id="3473" creationId="{00000000-0008-0000-0300-00005D030000}"/>
          </ac:spMkLst>
        </pc:spChg>
        <pc:spChg chg="mod">
          <ac:chgData name="Schjold, Hanne Røvig" userId="72e82339-bab0-442f-8ca6-e6f386a713ee" providerId="ADAL" clId="{9706D415-2DA0-4D00-90B6-E46BF852F024}" dt="2023-03-16T12:49:25.666" v="782" actId="1038"/>
          <ac:spMkLst>
            <pc:docMk/>
            <pc:sldMk cId="2278995086" sldId="729"/>
            <ac:spMk id="3474" creationId="{00000000-0008-0000-0300-00005E030000}"/>
          </ac:spMkLst>
        </pc:spChg>
        <pc:spChg chg="mod">
          <ac:chgData name="Schjold, Hanne Røvig" userId="72e82339-bab0-442f-8ca6-e6f386a713ee" providerId="ADAL" clId="{9706D415-2DA0-4D00-90B6-E46BF852F024}" dt="2023-03-16T12:49:25.666" v="782" actId="1038"/>
          <ac:spMkLst>
            <pc:docMk/>
            <pc:sldMk cId="2278995086" sldId="729"/>
            <ac:spMk id="3475" creationId="{00000000-0008-0000-0300-00005F030000}"/>
          </ac:spMkLst>
        </pc:spChg>
        <pc:spChg chg="mod">
          <ac:chgData name="Schjold, Hanne Røvig" userId="72e82339-bab0-442f-8ca6-e6f386a713ee" providerId="ADAL" clId="{9706D415-2DA0-4D00-90B6-E46BF852F024}" dt="2023-03-16T12:49:25.666" v="782" actId="1038"/>
          <ac:spMkLst>
            <pc:docMk/>
            <pc:sldMk cId="2278995086" sldId="729"/>
            <ac:spMk id="3476" creationId="{00000000-0008-0000-0300-000060030000}"/>
          </ac:spMkLst>
        </pc:spChg>
        <pc:spChg chg="mod">
          <ac:chgData name="Schjold, Hanne Røvig" userId="72e82339-bab0-442f-8ca6-e6f386a713ee" providerId="ADAL" clId="{9706D415-2DA0-4D00-90B6-E46BF852F024}" dt="2023-03-16T12:49:25.666" v="782" actId="1038"/>
          <ac:spMkLst>
            <pc:docMk/>
            <pc:sldMk cId="2278995086" sldId="729"/>
            <ac:spMk id="3477" creationId="{00000000-0008-0000-0300-000061030000}"/>
          </ac:spMkLst>
        </pc:spChg>
        <pc:spChg chg="mod">
          <ac:chgData name="Schjold, Hanne Røvig" userId="72e82339-bab0-442f-8ca6-e6f386a713ee" providerId="ADAL" clId="{9706D415-2DA0-4D00-90B6-E46BF852F024}" dt="2023-03-16T12:49:25.666" v="782" actId="1038"/>
          <ac:spMkLst>
            <pc:docMk/>
            <pc:sldMk cId="2278995086" sldId="729"/>
            <ac:spMk id="3478" creationId="{00000000-0008-0000-0300-000062030000}"/>
          </ac:spMkLst>
        </pc:spChg>
        <pc:spChg chg="mod">
          <ac:chgData name="Schjold, Hanne Røvig" userId="72e82339-bab0-442f-8ca6-e6f386a713ee" providerId="ADAL" clId="{9706D415-2DA0-4D00-90B6-E46BF852F024}" dt="2023-03-16T12:49:25.666" v="782" actId="1038"/>
          <ac:spMkLst>
            <pc:docMk/>
            <pc:sldMk cId="2278995086" sldId="729"/>
            <ac:spMk id="3479" creationId="{00000000-0008-0000-0300-000063030000}"/>
          </ac:spMkLst>
        </pc:spChg>
        <pc:spChg chg="mod">
          <ac:chgData name="Schjold, Hanne Røvig" userId="72e82339-bab0-442f-8ca6-e6f386a713ee" providerId="ADAL" clId="{9706D415-2DA0-4D00-90B6-E46BF852F024}" dt="2023-03-16T12:49:25.666" v="782" actId="1038"/>
          <ac:spMkLst>
            <pc:docMk/>
            <pc:sldMk cId="2278995086" sldId="729"/>
            <ac:spMk id="3480" creationId="{00000000-0008-0000-0300-000064030000}"/>
          </ac:spMkLst>
        </pc:spChg>
        <pc:spChg chg="mod">
          <ac:chgData name="Schjold, Hanne Røvig" userId="72e82339-bab0-442f-8ca6-e6f386a713ee" providerId="ADAL" clId="{9706D415-2DA0-4D00-90B6-E46BF852F024}" dt="2023-03-16T12:49:25.666" v="782" actId="1038"/>
          <ac:spMkLst>
            <pc:docMk/>
            <pc:sldMk cId="2278995086" sldId="729"/>
            <ac:spMk id="3481" creationId="{00000000-0008-0000-0300-000065030000}"/>
          </ac:spMkLst>
        </pc:spChg>
        <pc:spChg chg="mod">
          <ac:chgData name="Schjold, Hanne Røvig" userId="72e82339-bab0-442f-8ca6-e6f386a713ee" providerId="ADAL" clId="{9706D415-2DA0-4D00-90B6-E46BF852F024}" dt="2023-03-16T12:49:25.666" v="782" actId="1038"/>
          <ac:spMkLst>
            <pc:docMk/>
            <pc:sldMk cId="2278995086" sldId="729"/>
            <ac:spMk id="3482" creationId="{00000000-0008-0000-0300-000066030000}"/>
          </ac:spMkLst>
        </pc:spChg>
        <pc:spChg chg="mod">
          <ac:chgData name="Schjold, Hanne Røvig" userId="72e82339-bab0-442f-8ca6-e6f386a713ee" providerId="ADAL" clId="{9706D415-2DA0-4D00-90B6-E46BF852F024}" dt="2023-03-16T12:49:25.666" v="782" actId="1038"/>
          <ac:spMkLst>
            <pc:docMk/>
            <pc:sldMk cId="2278995086" sldId="729"/>
            <ac:spMk id="3483" creationId="{00000000-0008-0000-0300-000067030000}"/>
          </ac:spMkLst>
        </pc:spChg>
        <pc:spChg chg="mod">
          <ac:chgData name="Schjold, Hanne Røvig" userId="72e82339-bab0-442f-8ca6-e6f386a713ee" providerId="ADAL" clId="{9706D415-2DA0-4D00-90B6-E46BF852F024}" dt="2023-03-16T12:49:25.666" v="782" actId="1038"/>
          <ac:spMkLst>
            <pc:docMk/>
            <pc:sldMk cId="2278995086" sldId="729"/>
            <ac:spMk id="3484" creationId="{00000000-0008-0000-0300-000068030000}"/>
          </ac:spMkLst>
        </pc:spChg>
        <pc:spChg chg="mod">
          <ac:chgData name="Schjold, Hanne Røvig" userId="72e82339-bab0-442f-8ca6-e6f386a713ee" providerId="ADAL" clId="{9706D415-2DA0-4D00-90B6-E46BF852F024}" dt="2023-03-16T12:49:25.666" v="782" actId="1038"/>
          <ac:spMkLst>
            <pc:docMk/>
            <pc:sldMk cId="2278995086" sldId="729"/>
            <ac:spMk id="3485" creationId="{00000000-0008-0000-0300-000069030000}"/>
          </ac:spMkLst>
        </pc:spChg>
        <pc:spChg chg="mod">
          <ac:chgData name="Schjold, Hanne Røvig" userId="72e82339-bab0-442f-8ca6-e6f386a713ee" providerId="ADAL" clId="{9706D415-2DA0-4D00-90B6-E46BF852F024}" dt="2023-03-16T12:49:25.666" v="782" actId="1038"/>
          <ac:spMkLst>
            <pc:docMk/>
            <pc:sldMk cId="2278995086" sldId="729"/>
            <ac:spMk id="3486" creationId="{00000000-0008-0000-0300-00006A030000}"/>
          </ac:spMkLst>
        </pc:spChg>
        <pc:spChg chg="mod">
          <ac:chgData name="Schjold, Hanne Røvig" userId="72e82339-bab0-442f-8ca6-e6f386a713ee" providerId="ADAL" clId="{9706D415-2DA0-4D00-90B6-E46BF852F024}" dt="2023-03-16T12:49:25.666" v="782" actId="1038"/>
          <ac:spMkLst>
            <pc:docMk/>
            <pc:sldMk cId="2278995086" sldId="729"/>
            <ac:spMk id="3487" creationId="{00000000-0008-0000-0300-00006B030000}"/>
          </ac:spMkLst>
        </pc:spChg>
        <pc:spChg chg="mod">
          <ac:chgData name="Schjold, Hanne Røvig" userId="72e82339-bab0-442f-8ca6-e6f386a713ee" providerId="ADAL" clId="{9706D415-2DA0-4D00-90B6-E46BF852F024}" dt="2023-03-16T12:49:25.666" v="782" actId="1038"/>
          <ac:spMkLst>
            <pc:docMk/>
            <pc:sldMk cId="2278995086" sldId="729"/>
            <ac:spMk id="3488" creationId="{00000000-0008-0000-0300-00006C030000}"/>
          </ac:spMkLst>
        </pc:spChg>
        <pc:spChg chg="mod">
          <ac:chgData name="Schjold, Hanne Røvig" userId="72e82339-bab0-442f-8ca6-e6f386a713ee" providerId="ADAL" clId="{9706D415-2DA0-4D00-90B6-E46BF852F024}" dt="2023-03-16T12:49:25.666" v="782" actId="1038"/>
          <ac:spMkLst>
            <pc:docMk/>
            <pc:sldMk cId="2278995086" sldId="729"/>
            <ac:spMk id="3489" creationId="{00000000-0008-0000-0300-00006D030000}"/>
          </ac:spMkLst>
        </pc:spChg>
        <pc:spChg chg="mod">
          <ac:chgData name="Schjold, Hanne Røvig" userId="72e82339-bab0-442f-8ca6-e6f386a713ee" providerId="ADAL" clId="{9706D415-2DA0-4D00-90B6-E46BF852F024}" dt="2023-03-16T12:49:25.666" v="782" actId="1038"/>
          <ac:spMkLst>
            <pc:docMk/>
            <pc:sldMk cId="2278995086" sldId="729"/>
            <ac:spMk id="3490" creationId="{00000000-0008-0000-0300-00006E030000}"/>
          </ac:spMkLst>
        </pc:spChg>
        <pc:spChg chg="mod">
          <ac:chgData name="Schjold, Hanne Røvig" userId="72e82339-bab0-442f-8ca6-e6f386a713ee" providerId="ADAL" clId="{9706D415-2DA0-4D00-90B6-E46BF852F024}" dt="2023-03-16T12:49:25.666" v="782" actId="1038"/>
          <ac:spMkLst>
            <pc:docMk/>
            <pc:sldMk cId="2278995086" sldId="729"/>
            <ac:spMk id="3491" creationId="{00000000-0008-0000-0300-00006F030000}"/>
          </ac:spMkLst>
        </pc:spChg>
        <pc:spChg chg="mod">
          <ac:chgData name="Schjold, Hanne Røvig" userId="72e82339-bab0-442f-8ca6-e6f386a713ee" providerId="ADAL" clId="{9706D415-2DA0-4D00-90B6-E46BF852F024}" dt="2023-03-16T12:49:25.666" v="782" actId="1038"/>
          <ac:spMkLst>
            <pc:docMk/>
            <pc:sldMk cId="2278995086" sldId="729"/>
            <ac:spMk id="3492" creationId="{00000000-0008-0000-0300-000070030000}"/>
          </ac:spMkLst>
        </pc:spChg>
        <pc:spChg chg="mod">
          <ac:chgData name="Schjold, Hanne Røvig" userId="72e82339-bab0-442f-8ca6-e6f386a713ee" providerId="ADAL" clId="{9706D415-2DA0-4D00-90B6-E46BF852F024}" dt="2023-03-16T12:49:25.666" v="782" actId="1038"/>
          <ac:spMkLst>
            <pc:docMk/>
            <pc:sldMk cId="2278995086" sldId="729"/>
            <ac:spMk id="3493" creationId="{00000000-0008-0000-0300-000071030000}"/>
          </ac:spMkLst>
        </pc:spChg>
        <pc:spChg chg="mod">
          <ac:chgData name="Schjold, Hanne Røvig" userId="72e82339-bab0-442f-8ca6-e6f386a713ee" providerId="ADAL" clId="{9706D415-2DA0-4D00-90B6-E46BF852F024}" dt="2023-03-16T12:49:25.666" v="782" actId="1038"/>
          <ac:spMkLst>
            <pc:docMk/>
            <pc:sldMk cId="2278995086" sldId="729"/>
            <ac:spMk id="3494" creationId="{00000000-0008-0000-0300-000072030000}"/>
          </ac:spMkLst>
        </pc:spChg>
        <pc:spChg chg="mod">
          <ac:chgData name="Schjold, Hanne Røvig" userId="72e82339-bab0-442f-8ca6-e6f386a713ee" providerId="ADAL" clId="{9706D415-2DA0-4D00-90B6-E46BF852F024}" dt="2023-03-16T12:49:25.666" v="782" actId="1038"/>
          <ac:spMkLst>
            <pc:docMk/>
            <pc:sldMk cId="2278995086" sldId="729"/>
            <ac:spMk id="3495" creationId="{00000000-0008-0000-0300-000073030000}"/>
          </ac:spMkLst>
        </pc:spChg>
        <pc:spChg chg="mod">
          <ac:chgData name="Schjold, Hanne Røvig" userId="72e82339-bab0-442f-8ca6-e6f386a713ee" providerId="ADAL" clId="{9706D415-2DA0-4D00-90B6-E46BF852F024}" dt="2023-03-16T12:49:25.666" v="782" actId="1038"/>
          <ac:spMkLst>
            <pc:docMk/>
            <pc:sldMk cId="2278995086" sldId="729"/>
            <ac:spMk id="3496" creationId="{00000000-0008-0000-0300-000074030000}"/>
          </ac:spMkLst>
        </pc:spChg>
        <pc:spChg chg="mod">
          <ac:chgData name="Schjold, Hanne Røvig" userId="72e82339-bab0-442f-8ca6-e6f386a713ee" providerId="ADAL" clId="{9706D415-2DA0-4D00-90B6-E46BF852F024}" dt="2023-03-16T12:49:25.666" v="782" actId="1038"/>
          <ac:spMkLst>
            <pc:docMk/>
            <pc:sldMk cId="2278995086" sldId="729"/>
            <ac:spMk id="3497" creationId="{00000000-0008-0000-0300-000075030000}"/>
          </ac:spMkLst>
        </pc:spChg>
        <pc:spChg chg="mod">
          <ac:chgData name="Schjold, Hanne Røvig" userId="72e82339-bab0-442f-8ca6-e6f386a713ee" providerId="ADAL" clId="{9706D415-2DA0-4D00-90B6-E46BF852F024}" dt="2023-03-16T12:49:25.666" v="782" actId="1038"/>
          <ac:spMkLst>
            <pc:docMk/>
            <pc:sldMk cId="2278995086" sldId="729"/>
            <ac:spMk id="3498" creationId="{00000000-0008-0000-0300-000076030000}"/>
          </ac:spMkLst>
        </pc:spChg>
        <pc:spChg chg="mod">
          <ac:chgData name="Schjold, Hanne Røvig" userId="72e82339-bab0-442f-8ca6-e6f386a713ee" providerId="ADAL" clId="{9706D415-2DA0-4D00-90B6-E46BF852F024}" dt="2023-03-16T12:49:25.666" v="782" actId="1038"/>
          <ac:spMkLst>
            <pc:docMk/>
            <pc:sldMk cId="2278995086" sldId="729"/>
            <ac:spMk id="3499" creationId="{00000000-0008-0000-0300-000077030000}"/>
          </ac:spMkLst>
        </pc:spChg>
        <pc:spChg chg="mod">
          <ac:chgData name="Schjold, Hanne Røvig" userId="72e82339-bab0-442f-8ca6-e6f386a713ee" providerId="ADAL" clId="{9706D415-2DA0-4D00-90B6-E46BF852F024}" dt="2023-03-16T12:49:25.666" v="782" actId="1038"/>
          <ac:spMkLst>
            <pc:docMk/>
            <pc:sldMk cId="2278995086" sldId="729"/>
            <ac:spMk id="3500" creationId="{00000000-0008-0000-0300-000078030000}"/>
          </ac:spMkLst>
        </pc:spChg>
        <pc:spChg chg="mod">
          <ac:chgData name="Schjold, Hanne Røvig" userId="72e82339-bab0-442f-8ca6-e6f386a713ee" providerId="ADAL" clId="{9706D415-2DA0-4D00-90B6-E46BF852F024}" dt="2023-03-16T12:49:25.666" v="782" actId="1038"/>
          <ac:spMkLst>
            <pc:docMk/>
            <pc:sldMk cId="2278995086" sldId="729"/>
            <ac:spMk id="3501" creationId="{00000000-0008-0000-0300-000079030000}"/>
          </ac:spMkLst>
        </pc:spChg>
        <pc:spChg chg="mod">
          <ac:chgData name="Schjold, Hanne Røvig" userId="72e82339-bab0-442f-8ca6-e6f386a713ee" providerId="ADAL" clId="{9706D415-2DA0-4D00-90B6-E46BF852F024}" dt="2023-03-16T12:49:25.666" v="782" actId="1038"/>
          <ac:spMkLst>
            <pc:docMk/>
            <pc:sldMk cId="2278995086" sldId="729"/>
            <ac:spMk id="3502" creationId="{00000000-0008-0000-0300-00007A030000}"/>
          </ac:spMkLst>
        </pc:spChg>
        <pc:spChg chg="mod">
          <ac:chgData name="Schjold, Hanne Røvig" userId="72e82339-bab0-442f-8ca6-e6f386a713ee" providerId="ADAL" clId="{9706D415-2DA0-4D00-90B6-E46BF852F024}" dt="2023-03-16T12:49:25.666" v="782" actId="1038"/>
          <ac:spMkLst>
            <pc:docMk/>
            <pc:sldMk cId="2278995086" sldId="729"/>
            <ac:spMk id="3503" creationId="{00000000-0008-0000-0300-00007B030000}"/>
          </ac:spMkLst>
        </pc:spChg>
        <pc:spChg chg="mod">
          <ac:chgData name="Schjold, Hanne Røvig" userId="72e82339-bab0-442f-8ca6-e6f386a713ee" providerId="ADAL" clId="{9706D415-2DA0-4D00-90B6-E46BF852F024}" dt="2023-03-16T12:49:25.666" v="782" actId="1038"/>
          <ac:spMkLst>
            <pc:docMk/>
            <pc:sldMk cId="2278995086" sldId="729"/>
            <ac:spMk id="3504" creationId="{00000000-0008-0000-0300-00007C030000}"/>
          </ac:spMkLst>
        </pc:spChg>
        <pc:spChg chg="mod">
          <ac:chgData name="Schjold, Hanne Røvig" userId="72e82339-bab0-442f-8ca6-e6f386a713ee" providerId="ADAL" clId="{9706D415-2DA0-4D00-90B6-E46BF852F024}" dt="2023-03-16T12:49:25.666" v="782" actId="1038"/>
          <ac:spMkLst>
            <pc:docMk/>
            <pc:sldMk cId="2278995086" sldId="729"/>
            <ac:spMk id="3505" creationId="{00000000-0008-0000-0300-00007D030000}"/>
          </ac:spMkLst>
        </pc:spChg>
        <pc:spChg chg="mod">
          <ac:chgData name="Schjold, Hanne Røvig" userId="72e82339-bab0-442f-8ca6-e6f386a713ee" providerId="ADAL" clId="{9706D415-2DA0-4D00-90B6-E46BF852F024}" dt="2023-03-16T12:49:25.666" v="782" actId="1038"/>
          <ac:spMkLst>
            <pc:docMk/>
            <pc:sldMk cId="2278995086" sldId="729"/>
            <ac:spMk id="3506" creationId="{00000000-0008-0000-0300-00007E030000}"/>
          </ac:spMkLst>
        </pc:spChg>
        <pc:spChg chg="mod">
          <ac:chgData name="Schjold, Hanne Røvig" userId="72e82339-bab0-442f-8ca6-e6f386a713ee" providerId="ADAL" clId="{9706D415-2DA0-4D00-90B6-E46BF852F024}" dt="2023-03-16T12:49:25.666" v="782" actId="1038"/>
          <ac:spMkLst>
            <pc:docMk/>
            <pc:sldMk cId="2278995086" sldId="729"/>
            <ac:spMk id="3507" creationId="{00000000-0008-0000-0300-00007F030000}"/>
          </ac:spMkLst>
        </pc:spChg>
        <pc:spChg chg="mod">
          <ac:chgData name="Schjold, Hanne Røvig" userId="72e82339-bab0-442f-8ca6-e6f386a713ee" providerId="ADAL" clId="{9706D415-2DA0-4D00-90B6-E46BF852F024}" dt="2023-03-16T12:49:25.666" v="782" actId="1038"/>
          <ac:spMkLst>
            <pc:docMk/>
            <pc:sldMk cId="2278995086" sldId="729"/>
            <ac:spMk id="3508" creationId="{00000000-0008-0000-0300-000080030000}"/>
          </ac:spMkLst>
        </pc:spChg>
        <pc:spChg chg="mod">
          <ac:chgData name="Schjold, Hanne Røvig" userId="72e82339-bab0-442f-8ca6-e6f386a713ee" providerId="ADAL" clId="{9706D415-2DA0-4D00-90B6-E46BF852F024}" dt="2023-03-16T12:49:25.666" v="782" actId="1038"/>
          <ac:spMkLst>
            <pc:docMk/>
            <pc:sldMk cId="2278995086" sldId="729"/>
            <ac:spMk id="3509" creationId="{00000000-0008-0000-0300-000081030000}"/>
          </ac:spMkLst>
        </pc:spChg>
        <pc:spChg chg="mod">
          <ac:chgData name="Schjold, Hanne Røvig" userId="72e82339-bab0-442f-8ca6-e6f386a713ee" providerId="ADAL" clId="{9706D415-2DA0-4D00-90B6-E46BF852F024}" dt="2023-03-16T12:49:25.666" v="782" actId="1038"/>
          <ac:spMkLst>
            <pc:docMk/>
            <pc:sldMk cId="2278995086" sldId="729"/>
            <ac:spMk id="3510" creationId="{00000000-0008-0000-0300-000082030000}"/>
          </ac:spMkLst>
        </pc:spChg>
        <pc:spChg chg="mod">
          <ac:chgData name="Schjold, Hanne Røvig" userId="72e82339-bab0-442f-8ca6-e6f386a713ee" providerId="ADAL" clId="{9706D415-2DA0-4D00-90B6-E46BF852F024}" dt="2023-03-16T12:49:25.666" v="782" actId="1038"/>
          <ac:spMkLst>
            <pc:docMk/>
            <pc:sldMk cId="2278995086" sldId="729"/>
            <ac:spMk id="3511" creationId="{00000000-0008-0000-0300-000083030000}"/>
          </ac:spMkLst>
        </pc:spChg>
        <pc:spChg chg="mod">
          <ac:chgData name="Schjold, Hanne Røvig" userId="72e82339-bab0-442f-8ca6-e6f386a713ee" providerId="ADAL" clId="{9706D415-2DA0-4D00-90B6-E46BF852F024}" dt="2023-03-16T12:49:25.666" v="782" actId="1038"/>
          <ac:spMkLst>
            <pc:docMk/>
            <pc:sldMk cId="2278995086" sldId="729"/>
            <ac:spMk id="3512" creationId="{00000000-0008-0000-0300-000084030000}"/>
          </ac:spMkLst>
        </pc:spChg>
        <pc:spChg chg="mod">
          <ac:chgData name="Schjold, Hanne Røvig" userId="72e82339-bab0-442f-8ca6-e6f386a713ee" providerId="ADAL" clId="{9706D415-2DA0-4D00-90B6-E46BF852F024}" dt="2023-03-16T12:49:25.666" v="782" actId="1038"/>
          <ac:spMkLst>
            <pc:docMk/>
            <pc:sldMk cId="2278995086" sldId="729"/>
            <ac:spMk id="3513" creationId="{00000000-0008-0000-0300-000085030000}"/>
          </ac:spMkLst>
        </pc:spChg>
        <pc:spChg chg="mod">
          <ac:chgData name="Schjold, Hanne Røvig" userId="72e82339-bab0-442f-8ca6-e6f386a713ee" providerId="ADAL" clId="{9706D415-2DA0-4D00-90B6-E46BF852F024}" dt="2023-03-16T12:49:25.666" v="782" actId="1038"/>
          <ac:spMkLst>
            <pc:docMk/>
            <pc:sldMk cId="2278995086" sldId="729"/>
            <ac:spMk id="3514" creationId="{00000000-0008-0000-0300-000086030000}"/>
          </ac:spMkLst>
        </pc:spChg>
        <pc:spChg chg="mod">
          <ac:chgData name="Schjold, Hanne Røvig" userId="72e82339-bab0-442f-8ca6-e6f386a713ee" providerId="ADAL" clId="{9706D415-2DA0-4D00-90B6-E46BF852F024}" dt="2023-03-16T12:49:25.666" v="782" actId="1038"/>
          <ac:spMkLst>
            <pc:docMk/>
            <pc:sldMk cId="2278995086" sldId="729"/>
            <ac:spMk id="3515" creationId="{00000000-0008-0000-0300-000087030000}"/>
          </ac:spMkLst>
        </pc:spChg>
        <pc:spChg chg="mod">
          <ac:chgData name="Schjold, Hanne Røvig" userId="72e82339-bab0-442f-8ca6-e6f386a713ee" providerId="ADAL" clId="{9706D415-2DA0-4D00-90B6-E46BF852F024}" dt="2023-03-16T12:49:25.666" v="782" actId="1038"/>
          <ac:spMkLst>
            <pc:docMk/>
            <pc:sldMk cId="2278995086" sldId="729"/>
            <ac:spMk id="3516" creationId="{00000000-0008-0000-0300-000088030000}"/>
          </ac:spMkLst>
        </pc:spChg>
        <pc:spChg chg="mod">
          <ac:chgData name="Schjold, Hanne Røvig" userId="72e82339-bab0-442f-8ca6-e6f386a713ee" providerId="ADAL" clId="{9706D415-2DA0-4D00-90B6-E46BF852F024}" dt="2023-03-16T12:49:25.666" v="782" actId="1038"/>
          <ac:spMkLst>
            <pc:docMk/>
            <pc:sldMk cId="2278995086" sldId="729"/>
            <ac:spMk id="3517" creationId="{00000000-0008-0000-0300-000089030000}"/>
          </ac:spMkLst>
        </pc:spChg>
        <pc:spChg chg="mod">
          <ac:chgData name="Schjold, Hanne Røvig" userId="72e82339-bab0-442f-8ca6-e6f386a713ee" providerId="ADAL" clId="{9706D415-2DA0-4D00-90B6-E46BF852F024}" dt="2023-03-16T12:49:25.666" v="782" actId="1038"/>
          <ac:spMkLst>
            <pc:docMk/>
            <pc:sldMk cId="2278995086" sldId="729"/>
            <ac:spMk id="3518" creationId="{00000000-0008-0000-0300-00008A030000}"/>
          </ac:spMkLst>
        </pc:spChg>
        <pc:spChg chg="mod">
          <ac:chgData name="Schjold, Hanne Røvig" userId="72e82339-bab0-442f-8ca6-e6f386a713ee" providerId="ADAL" clId="{9706D415-2DA0-4D00-90B6-E46BF852F024}" dt="2023-03-16T12:49:25.666" v="782" actId="1038"/>
          <ac:spMkLst>
            <pc:docMk/>
            <pc:sldMk cId="2278995086" sldId="729"/>
            <ac:spMk id="3519" creationId="{00000000-0008-0000-0300-00008B030000}"/>
          </ac:spMkLst>
        </pc:spChg>
        <pc:spChg chg="mod">
          <ac:chgData name="Schjold, Hanne Røvig" userId="72e82339-bab0-442f-8ca6-e6f386a713ee" providerId="ADAL" clId="{9706D415-2DA0-4D00-90B6-E46BF852F024}" dt="2023-03-16T12:49:25.666" v="782" actId="1038"/>
          <ac:spMkLst>
            <pc:docMk/>
            <pc:sldMk cId="2278995086" sldId="729"/>
            <ac:spMk id="3520" creationId="{00000000-0008-0000-0300-00008C030000}"/>
          </ac:spMkLst>
        </pc:spChg>
        <pc:spChg chg="mod">
          <ac:chgData name="Schjold, Hanne Røvig" userId="72e82339-bab0-442f-8ca6-e6f386a713ee" providerId="ADAL" clId="{9706D415-2DA0-4D00-90B6-E46BF852F024}" dt="2023-03-16T12:49:25.666" v="782" actId="1038"/>
          <ac:spMkLst>
            <pc:docMk/>
            <pc:sldMk cId="2278995086" sldId="729"/>
            <ac:spMk id="3521" creationId="{00000000-0008-0000-0300-00008D030000}"/>
          </ac:spMkLst>
        </pc:spChg>
        <pc:spChg chg="mod">
          <ac:chgData name="Schjold, Hanne Røvig" userId="72e82339-bab0-442f-8ca6-e6f386a713ee" providerId="ADAL" clId="{9706D415-2DA0-4D00-90B6-E46BF852F024}" dt="2023-03-16T12:49:25.666" v="782" actId="1038"/>
          <ac:spMkLst>
            <pc:docMk/>
            <pc:sldMk cId="2278995086" sldId="729"/>
            <ac:spMk id="3522" creationId="{00000000-0008-0000-0300-00008E030000}"/>
          </ac:spMkLst>
        </pc:spChg>
        <pc:spChg chg="mod">
          <ac:chgData name="Schjold, Hanne Røvig" userId="72e82339-bab0-442f-8ca6-e6f386a713ee" providerId="ADAL" clId="{9706D415-2DA0-4D00-90B6-E46BF852F024}" dt="2023-03-16T12:49:25.666" v="782" actId="1038"/>
          <ac:spMkLst>
            <pc:docMk/>
            <pc:sldMk cId="2278995086" sldId="729"/>
            <ac:spMk id="3523" creationId="{00000000-0008-0000-0300-00008F030000}"/>
          </ac:spMkLst>
        </pc:spChg>
        <pc:spChg chg="mod">
          <ac:chgData name="Schjold, Hanne Røvig" userId="72e82339-bab0-442f-8ca6-e6f386a713ee" providerId="ADAL" clId="{9706D415-2DA0-4D00-90B6-E46BF852F024}" dt="2023-03-16T12:49:25.666" v="782" actId="1038"/>
          <ac:spMkLst>
            <pc:docMk/>
            <pc:sldMk cId="2278995086" sldId="729"/>
            <ac:spMk id="3524" creationId="{00000000-0008-0000-0300-000090030000}"/>
          </ac:spMkLst>
        </pc:spChg>
        <pc:spChg chg="mod">
          <ac:chgData name="Schjold, Hanne Røvig" userId="72e82339-bab0-442f-8ca6-e6f386a713ee" providerId="ADAL" clId="{9706D415-2DA0-4D00-90B6-E46BF852F024}" dt="2023-03-16T12:49:25.666" v="782" actId="1038"/>
          <ac:spMkLst>
            <pc:docMk/>
            <pc:sldMk cId="2278995086" sldId="729"/>
            <ac:spMk id="3525" creationId="{00000000-0008-0000-0300-000091030000}"/>
          </ac:spMkLst>
        </pc:spChg>
        <pc:spChg chg="mod">
          <ac:chgData name="Schjold, Hanne Røvig" userId="72e82339-bab0-442f-8ca6-e6f386a713ee" providerId="ADAL" clId="{9706D415-2DA0-4D00-90B6-E46BF852F024}" dt="2023-03-16T12:49:25.666" v="782" actId="1038"/>
          <ac:spMkLst>
            <pc:docMk/>
            <pc:sldMk cId="2278995086" sldId="729"/>
            <ac:spMk id="3526" creationId="{00000000-0008-0000-0300-000092030000}"/>
          </ac:spMkLst>
        </pc:spChg>
        <pc:spChg chg="mod">
          <ac:chgData name="Schjold, Hanne Røvig" userId="72e82339-bab0-442f-8ca6-e6f386a713ee" providerId="ADAL" clId="{9706D415-2DA0-4D00-90B6-E46BF852F024}" dt="2023-03-16T12:49:25.666" v="782" actId="1038"/>
          <ac:spMkLst>
            <pc:docMk/>
            <pc:sldMk cId="2278995086" sldId="729"/>
            <ac:spMk id="3527" creationId="{00000000-0008-0000-0300-000093030000}"/>
          </ac:spMkLst>
        </pc:spChg>
        <pc:spChg chg="mod">
          <ac:chgData name="Schjold, Hanne Røvig" userId="72e82339-bab0-442f-8ca6-e6f386a713ee" providerId="ADAL" clId="{9706D415-2DA0-4D00-90B6-E46BF852F024}" dt="2023-03-16T12:49:25.666" v="782" actId="1038"/>
          <ac:spMkLst>
            <pc:docMk/>
            <pc:sldMk cId="2278995086" sldId="729"/>
            <ac:spMk id="3528" creationId="{00000000-0008-0000-0300-000094030000}"/>
          </ac:spMkLst>
        </pc:spChg>
        <pc:spChg chg="mod">
          <ac:chgData name="Schjold, Hanne Røvig" userId="72e82339-bab0-442f-8ca6-e6f386a713ee" providerId="ADAL" clId="{9706D415-2DA0-4D00-90B6-E46BF852F024}" dt="2023-03-16T12:49:25.666" v="782" actId="1038"/>
          <ac:spMkLst>
            <pc:docMk/>
            <pc:sldMk cId="2278995086" sldId="729"/>
            <ac:spMk id="3529" creationId="{00000000-0008-0000-0300-000095030000}"/>
          </ac:spMkLst>
        </pc:spChg>
        <pc:spChg chg="mod">
          <ac:chgData name="Schjold, Hanne Røvig" userId="72e82339-bab0-442f-8ca6-e6f386a713ee" providerId="ADAL" clId="{9706D415-2DA0-4D00-90B6-E46BF852F024}" dt="2023-03-16T12:49:25.666" v="782" actId="1038"/>
          <ac:spMkLst>
            <pc:docMk/>
            <pc:sldMk cId="2278995086" sldId="729"/>
            <ac:spMk id="3530" creationId="{00000000-0008-0000-0300-000096030000}"/>
          </ac:spMkLst>
        </pc:spChg>
        <pc:spChg chg="mod">
          <ac:chgData name="Schjold, Hanne Røvig" userId="72e82339-bab0-442f-8ca6-e6f386a713ee" providerId="ADAL" clId="{9706D415-2DA0-4D00-90B6-E46BF852F024}" dt="2023-03-16T12:49:25.666" v="782" actId="1038"/>
          <ac:spMkLst>
            <pc:docMk/>
            <pc:sldMk cId="2278995086" sldId="729"/>
            <ac:spMk id="3531" creationId="{00000000-0008-0000-0300-000097030000}"/>
          </ac:spMkLst>
        </pc:spChg>
        <pc:spChg chg="mod">
          <ac:chgData name="Schjold, Hanne Røvig" userId="72e82339-bab0-442f-8ca6-e6f386a713ee" providerId="ADAL" clId="{9706D415-2DA0-4D00-90B6-E46BF852F024}" dt="2023-03-16T12:49:25.666" v="782" actId="1038"/>
          <ac:spMkLst>
            <pc:docMk/>
            <pc:sldMk cId="2278995086" sldId="729"/>
            <ac:spMk id="3532" creationId="{00000000-0008-0000-0300-000098030000}"/>
          </ac:spMkLst>
        </pc:spChg>
        <pc:spChg chg="mod">
          <ac:chgData name="Schjold, Hanne Røvig" userId="72e82339-bab0-442f-8ca6-e6f386a713ee" providerId="ADAL" clId="{9706D415-2DA0-4D00-90B6-E46BF852F024}" dt="2023-03-16T12:49:25.666" v="782" actId="1038"/>
          <ac:spMkLst>
            <pc:docMk/>
            <pc:sldMk cId="2278995086" sldId="729"/>
            <ac:spMk id="3533" creationId="{00000000-0008-0000-0300-000099030000}"/>
          </ac:spMkLst>
        </pc:spChg>
        <pc:spChg chg="mod">
          <ac:chgData name="Schjold, Hanne Røvig" userId="72e82339-bab0-442f-8ca6-e6f386a713ee" providerId="ADAL" clId="{9706D415-2DA0-4D00-90B6-E46BF852F024}" dt="2023-03-16T12:49:25.666" v="782" actId="1038"/>
          <ac:spMkLst>
            <pc:docMk/>
            <pc:sldMk cId="2278995086" sldId="729"/>
            <ac:spMk id="3534" creationId="{00000000-0008-0000-0300-00009A030000}"/>
          </ac:spMkLst>
        </pc:spChg>
        <pc:spChg chg="mod">
          <ac:chgData name="Schjold, Hanne Røvig" userId="72e82339-bab0-442f-8ca6-e6f386a713ee" providerId="ADAL" clId="{9706D415-2DA0-4D00-90B6-E46BF852F024}" dt="2023-03-16T12:49:25.666" v="782" actId="1038"/>
          <ac:spMkLst>
            <pc:docMk/>
            <pc:sldMk cId="2278995086" sldId="729"/>
            <ac:spMk id="3535" creationId="{00000000-0008-0000-0300-00009B030000}"/>
          </ac:spMkLst>
        </pc:spChg>
        <pc:spChg chg="mod">
          <ac:chgData name="Schjold, Hanne Røvig" userId="72e82339-bab0-442f-8ca6-e6f386a713ee" providerId="ADAL" clId="{9706D415-2DA0-4D00-90B6-E46BF852F024}" dt="2023-03-16T12:49:25.666" v="782" actId="1038"/>
          <ac:spMkLst>
            <pc:docMk/>
            <pc:sldMk cId="2278995086" sldId="729"/>
            <ac:spMk id="3536" creationId="{00000000-0008-0000-0300-00009C030000}"/>
          </ac:spMkLst>
        </pc:spChg>
        <pc:spChg chg="mod">
          <ac:chgData name="Schjold, Hanne Røvig" userId="72e82339-bab0-442f-8ca6-e6f386a713ee" providerId="ADAL" clId="{9706D415-2DA0-4D00-90B6-E46BF852F024}" dt="2023-03-16T12:49:25.666" v="782" actId="1038"/>
          <ac:spMkLst>
            <pc:docMk/>
            <pc:sldMk cId="2278995086" sldId="729"/>
            <ac:spMk id="3537" creationId="{00000000-0008-0000-0300-00009D030000}"/>
          </ac:spMkLst>
        </pc:spChg>
        <pc:spChg chg="mod">
          <ac:chgData name="Schjold, Hanne Røvig" userId="72e82339-bab0-442f-8ca6-e6f386a713ee" providerId="ADAL" clId="{9706D415-2DA0-4D00-90B6-E46BF852F024}" dt="2023-03-16T12:49:25.666" v="782" actId="1038"/>
          <ac:spMkLst>
            <pc:docMk/>
            <pc:sldMk cId="2278995086" sldId="729"/>
            <ac:spMk id="3538" creationId="{00000000-0008-0000-0300-00009E030000}"/>
          </ac:spMkLst>
        </pc:spChg>
        <pc:spChg chg="mod">
          <ac:chgData name="Schjold, Hanne Røvig" userId="72e82339-bab0-442f-8ca6-e6f386a713ee" providerId="ADAL" clId="{9706D415-2DA0-4D00-90B6-E46BF852F024}" dt="2023-03-16T12:49:25.666" v="782" actId="1038"/>
          <ac:spMkLst>
            <pc:docMk/>
            <pc:sldMk cId="2278995086" sldId="729"/>
            <ac:spMk id="3539" creationId="{00000000-0008-0000-0300-00009F030000}"/>
          </ac:spMkLst>
        </pc:spChg>
        <pc:spChg chg="mod">
          <ac:chgData name="Schjold, Hanne Røvig" userId="72e82339-bab0-442f-8ca6-e6f386a713ee" providerId="ADAL" clId="{9706D415-2DA0-4D00-90B6-E46BF852F024}" dt="2023-03-16T12:49:25.666" v="782" actId="1038"/>
          <ac:spMkLst>
            <pc:docMk/>
            <pc:sldMk cId="2278995086" sldId="729"/>
            <ac:spMk id="3540" creationId="{00000000-0008-0000-0300-0000A0030000}"/>
          </ac:spMkLst>
        </pc:spChg>
        <pc:spChg chg="mod">
          <ac:chgData name="Schjold, Hanne Røvig" userId="72e82339-bab0-442f-8ca6-e6f386a713ee" providerId="ADAL" clId="{9706D415-2DA0-4D00-90B6-E46BF852F024}" dt="2023-03-16T12:49:25.666" v="782" actId="1038"/>
          <ac:spMkLst>
            <pc:docMk/>
            <pc:sldMk cId="2278995086" sldId="729"/>
            <ac:spMk id="3541" creationId="{00000000-0008-0000-0300-0000A1030000}"/>
          </ac:spMkLst>
        </pc:spChg>
        <pc:spChg chg="mod">
          <ac:chgData name="Schjold, Hanne Røvig" userId="72e82339-bab0-442f-8ca6-e6f386a713ee" providerId="ADAL" clId="{9706D415-2DA0-4D00-90B6-E46BF852F024}" dt="2023-03-16T12:49:25.666" v="782" actId="1038"/>
          <ac:spMkLst>
            <pc:docMk/>
            <pc:sldMk cId="2278995086" sldId="729"/>
            <ac:spMk id="3542" creationId="{00000000-0008-0000-0300-0000A2030000}"/>
          </ac:spMkLst>
        </pc:spChg>
        <pc:spChg chg="mod">
          <ac:chgData name="Schjold, Hanne Røvig" userId="72e82339-bab0-442f-8ca6-e6f386a713ee" providerId="ADAL" clId="{9706D415-2DA0-4D00-90B6-E46BF852F024}" dt="2023-03-16T12:49:25.666" v="782" actId="1038"/>
          <ac:spMkLst>
            <pc:docMk/>
            <pc:sldMk cId="2278995086" sldId="729"/>
            <ac:spMk id="3543" creationId="{00000000-0008-0000-0300-0000A3030000}"/>
          </ac:spMkLst>
        </pc:spChg>
        <pc:spChg chg="mod">
          <ac:chgData name="Schjold, Hanne Røvig" userId="72e82339-bab0-442f-8ca6-e6f386a713ee" providerId="ADAL" clId="{9706D415-2DA0-4D00-90B6-E46BF852F024}" dt="2023-03-16T12:49:25.666" v="782" actId="1038"/>
          <ac:spMkLst>
            <pc:docMk/>
            <pc:sldMk cId="2278995086" sldId="729"/>
            <ac:spMk id="3544" creationId="{00000000-0008-0000-0300-0000A4030000}"/>
          </ac:spMkLst>
        </pc:spChg>
        <pc:spChg chg="mod">
          <ac:chgData name="Schjold, Hanne Røvig" userId="72e82339-bab0-442f-8ca6-e6f386a713ee" providerId="ADAL" clId="{9706D415-2DA0-4D00-90B6-E46BF852F024}" dt="2023-03-16T12:49:25.666" v="782" actId="1038"/>
          <ac:spMkLst>
            <pc:docMk/>
            <pc:sldMk cId="2278995086" sldId="729"/>
            <ac:spMk id="3545" creationId="{00000000-0008-0000-0300-0000A5030000}"/>
          </ac:spMkLst>
        </pc:spChg>
        <pc:spChg chg="mod">
          <ac:chgData name="Schjold, Hanne Røvig" userId="72e82339-bab0-442f-8ca6-e6f386a713ee" providerId="ADAL" clId="{9706D415-2DA0-4D00-90B6-E46BF852F024}" dt="2023-03-16T12:49:25.666" v="782" actId="1038"/>
          <ac:spMkLst>
            <pc:docMk/>
            <pc:sldMk cId="2278995086" sldId="729"/>
            <ac:spMk id="3546" creationId="{00000000-0008-0000-0300-0000A6030000}"/>
          </ac:spMkLst>
        </pc:spChg>
        <pc:spChg chg="mod">
          <ac:chgData name="Schjold, Hanne Røvig" userId="72e82339-bab0-442f-8ca6-e6f386a713ee" providerId="ADAL" clId="{9706D415-2DA0-4D00-90B6-E46BF852F024}" dt="2023-03-16T12:49:25.666" v="782" actId="1038"/>
          <ac:spMkLst>
            <pc:docMk/>
            <pc:sldMk cId="2278995086" sldId="729"/>
            <ac:spMk id="3547" creationId="{00000000-0008-0000-0300-0000A7030000}"/>
          </ac:spMkLst>
        </pc:spChg>
        <pc:spChg chg="mod">
          <ac:chgData name="Schjold, Hanne Røvig" userId="72e82339-bab0-442f-8ca6-e6f386a713ee" providerId="ADAL" clId="{9706D415-2DA0-4D00-90B6-E46BF852F024}" dt="2023-03-16T12:49:25.666" v="782" actId="1038"/>
          <ac:spMkLst>
            <pc:docMk/>
            <pc:sldMk cId="2278995086" sldId="729"/>
            <ac:spMk id="3548" creationId="{00000000-0008-0000-0300-0000A8030000}"/>
          </ac:spMkLst>
        </pc:spChg>
        <pc:spChg chg="mod">
          <ac:chgData name="Schjold, Hanne Røvig" userId="72e82339-bab0-442f-8ca6-e6f386a713ee" providerId="ADAL" clId="{9706D415-2DA0-4D00-90B6-E46BF852F024}" dt="2023-03-16T12:49:25.666" v="782" actId="1038"/>
          <ac:spMkLst>
            <pc:docMk/>
            <pc:sldMk cId="2278995086" sldId="729"/>
            <ac:spMk id="3549" creationId="{00000000-0008-0000-0300-0000A9030000}"/>
          </ac:spMkLst>
        </pc:spChg>
        <pc:spChg chg="mod">
          <ac:chgData name="Schjold, Hanne Røvig" userId="72e82339-bab0-442f-8ca6-e6f386a713ee" providerId="ADAL" clId="{9706D415-2DA0-4D00-90B6-E46BF852F024}" dt="2023-03-16T12:49:25.666" v="782" actId="1038"/>
          <ac:spMkLst>
            <pc:docMk/>
            <pc:sldMk cId="2278995086" sldId="729"/>
            <ac:spMk id="3550" creationId="{00000000-0008-0000-0300-0000AA030000}"/>
          </ac:spMkLst>
        </pc:spChg>
        <pc:spChg chg="mod">
          <ac:chgData name="Schjold, Hanne Røvig" userId="72e82339-bab0-442f-8ca6-e6f386a713ee" providerId="ADAL" clId="{9706D415-2DA0-4D00-90B6-E46BF852F024}" dt="2023-03-16T12:49:25.666" v="782" actId="1038"/>
          <ac:spMkLst>
            <pc:docMk/>
            <pc:sldMk cId="2278995086" sldId="729"/>
            <ac:spMk id="3551" creationId="{00000000-0008-0000-0300-0000AB030000}"/>
          </ac:spMkLst>
        </pc:spChg>
        <pc:spChg chg="mod">
          <ac:chgData name="Schjold, Hanne Røvig" userId="72e82339-bab0-442f-8ca6-e6f386a713ee" providerId="ADAL" clId="{9706D415-2DA0-4D00-90B6-E46BF852F024}" dt="2023-03-16T12:49:25.666" v="782" actId="1038"/>
          <ac:spMkLst>
            <pc:docMk/>
            <pc:sldMk cId="2278995086" sldId="729"/>
            <ac:spMk id="3552" creationId="{00000000-0008-0000-0300-0000AC030000}"/>
          </ac:spMkLst>
        </pc:spChg>
        <pc:spChg chg="mod">
          <ac:chgData name="Schjold, Hanne Røvig" userId="72e82339-bab0-442f-8ca6-e6f386a713ee" providerId="ADAL" clId="{9706D415-2DA0-4D00-90B6-E46BF852F024}" dt="2023-03-16T12:49:25.666" v="782" actId="1038"/>
          <ac:spMkLst>
            <pc:docMk/>
            <pc:sldMk cId="2278995086" sldId="729"/>
            <ac:spMk id="3553" creationId="{00000000-0008-0000-0300-0000AD030000}"/>
          </ac:spMkLst>
        </pc:spChg>
        <pc:spChg chg="mod">
          <ac:chgData name="Schjold, Hanne Røvig" userId="72e82339-bab0-442f-8ca6-e6f386a713ee" providerId="ADAL" clId="{9706D415-2DA0-4D00-90B6-E46BF852F024}" dt="2023-03-16T12:49:25.666" v="782" actId="1038"/>
          <ac:spMkLst>
            <pc:docMk/>
            <pc:sldMk cId="2278995086" sldId="729"/>
            <ac:spMk id="3554" creationId="{00000000-0008-0000-0300-0000AE030000}"/>
          </ac:spMkLst>
        </pc:spChg>
        <pc:spChg chg="mod">
          <ac:chgData name="Schjold, Hanne Røvig" userId="72e82339-bab0-442f-8ca6-e6f386a713ee" providerId="ADAL" clId="{9706D415-2DA0-4D00-90B6-E46BF852F024}" dt="2023-03-16T12:49:25.666" v="782" actId="1038"/>
          <ac:spMkLst>
            <pc:docMk/>
            <pc:sldMk cId="2278995086" sldId="729"/>
            <ac:spMk id="3555" creationId="{00000000-0008-0000-0300-0000AF030000}"/>
          </ac:spMkLst>
        </pc:spChg>
        <pc:spChg chg="mod">
          <ac:chgData name="Schjold, Hanne Røvig" userId="72e82339-bab0-442f-8ca6-e6f386a713ee" providerId="ADAL" clId="{9706D415-2DA0-4D00-90B6-E46BF852F024}" dt="2023-03-16T12:49:25.666" v="782" actId="1038"/>
          <ac:spMkLst>
            <pc:docMk/>
            <pc:sldMk cId="2278995086" sldId="729"/>
            <ac:spMk id="3556" creationId="{00000000-0008-0000-0300-0000B0030000}"/>
          </ac:spMkLst>
        </pc:spChg>
        <pc:spChg chg="mod">
          <ac:chgData name="Schjold, Hanne Røvig" userId="72e82339-bab0-442f-8ca6-e6f386a713ee" providerId="ADAL" clId="{9706D415-2DA0-4D00-90B6-E46BF852F024}" dt="2023-03-16T12:49:25.666" v="782" actId="1038"/>
          <ac:spMkLst>
            <pc:docMk/>
            <pc:sldMk cId="2278995086" sldId="729"/>
            <ac:spMk id="3557" creationId="{00000000-0008-0000-0300-0000B1030000}"/>
          </ac:spMkLst>
        </pc:spChg>
        <pc:spChg chg="mod">
          <ac:chgData name="Schjold, Hanne Røvig" userId="72e82339-bab0-442f-8ca6-e6f386a713ee" providerId="ADAL" clId="{9706D415-2DA0-4D00-90B6-E46BF852F024}" dt="2023-03-16T12:49:25.666" v="782" actId="1038"/>
          <ac:spMkLst>
            <pc:docMk/>
            <pc:sldMk cId="2278995086" sldId="729"/>
            <ac:spMk id="3558" creationId="{00000000-0008-0000-0300-0000B2030000}"/>
          </ac:spMkLst>
        </pc:spChg>
        <pc:spChg chg="mod">
          <ac:chgData name="Schjold, Hanne Røvig" userId="72e82339-bab0-442f-8ca6-e6f386a713ee" providerId="ADAL" clId="{9706D415-2DA0-4D00-90B6-E46BF852F024}" dt="2023-03-16T12:49:25.666" v="782" actId="1038"/>
          <ac:spMkLst>
            <pc:docMk/>
            <pc:sldMk cId="2278995086" sldId="729"/>
            <ac:spMk id="3559" creationId="{00000000-0008-0000-0300-0000B3030000}"/>
          </ac:spMkLst>
        </pc:spChg>
        <pc:spChg chg="mod">
          <ac:chgData name="Schjold, Hanne Røvig" userId="72e82339-bab0-442f-8ca6-e6f386a713ee" providerId="ADAL" clId="{9706D415-2DA0-4D00-90B6-E46BF852F024}" dt="2023-03-16T12:49:25.666" v="782" actId="1038"/>
          <ac:spMkLst>
            <pc:docMk/>
            <pc:sldMk cId="2278995086" sldId="729"/>
            <ac:spMk id="3560" creationId="{00000000-0008-0000-0300-0000B4030000}"/>
          </ac:spMkLst>
        </pc:spChg>
        <pc:spChg chg="mod">
          <ac:chgData name="Schjold, Hanne Røvig" userId="72e82339-bab0-442f-8ca6-e6f386a713ee" providerId="ADAL" clId="{9706D415-2DA0-4D00-90B6-E46BF852F024}" dt="2023-03-16T12:49:25.666" v="782" actId="1038"/>
          <ac:spMkLst>
            <pc:docMk/>
            <pc:sldMk cId="2278995086" sldId="729"/>
            <ac:spMk id="3561" creationId="{00000000-0008-0000-0300-0000B5030000}"/>
          </ac:spMkLst>
        </pc:spChg>
        <pc:spChg chg="mod">
          <ac:chgData name="Schjold, Hanne Røvig" userId="72e82339-bab0-442f-8ca6-e6f386a713ee" providerId="ADAL" clId="{9706D415-2DA0-4D00-90B6-E46BF852F024}" dt="2023-03-16T12:49:25.666" v="782" actId="1038"/>
          <ac:spMkLst>
            <pc:docMk/>
            <pc:sldMk cId="2278995086" sldId="729"/>
            <ac:spMk id="3562" creationId="{00000000-0008-0000-0300-0000B6030000}"/>
          </ac:spMkLst>
        </pc:spChg>
        <pc:spChg chg="mod">
          <ac:chgData name="Schjold, Hanne Røvig" userId="72e82339-bab0-442f-8ca6-e6f386a713ee" providerId="ADAL" clId="{9706D415-2DA0-4D00-90B6-E46BF852F024}" dt="2023-03-16T12:49:25.666" v="782" actId="1038"/>
          <ac:spMkLst>
            <pc:docMk/>
            <pc:sldMk cId="2278995086" sldId="729"/>
            <ac:spMk id="3563" creationId="{00000000-0008-0000-0300-0000B7030000}"/>
          </ac:spMkLst>
        </pc:spChg>
        <pc:spChg chg="mod">
          <ac:chgData name="Schjold, Hanne Røvig" userId="72e82339-bab0-442f-8ca6-e6f386a713ee" providerId="ADAL" clId="{9706D415-2DA0-4D00-90B6-E46BF852F024}" dt="2023-03-16T12:49:25.666" v="782" actId="1038"/>
          <ac:spMkLst>
            <pc:docMk/>
            <pc:sldMk cId="2278995086" sldId="729"/>
            <ac:spMk id="3564" creationId="{00000000-0008-0000-0300-0000B8030000}"/>
          </ac:spMkLst>
        </pc:spChg>
        <pc:spChg chg="mod">
          <ac:chgData name="Schjold, Hanne Røvig" userId="72e82339-bab0-442f-8ca6-e6f386a713ee" providerId="ADAL" clId="{9706D415-2DA0-4D00-90B6-E46BF852F024}" dt="2023-03-16T12:49:25.666" v="782" actId="1038"/>
          <ac:spMkLst>
            <pc:docMk/>
            <pc:sldMk cId="2278995086" sldId="729"/>
            <ac:spMk id="3565" creationId="{00000000-0008-0000-0300-0000B9030000}"/>
          </ac:spMkLst>
        </pc:spChg>
        <pc:spChg chg="mod">
          <ac:chgData name="Schjold, Hanne Røvig" userId="72e82339-bab0-442f-8ca6-e6f386a713ee" providerId="ADAL" clId="{9706D415-2DA0-4D00-90B6-E46BF852F024}" dt="2023-03-16T12:49:25.666" v="782" actId="1038"/>
          <ac:spMkLst>
            <pc:docMk/>
            <pc:sldMk cId="2278995086" sldId="729"/>
            <ac:spMk id="3566" creationId="{00000000-0008-0000-0300-0000BA030000}"/>
          </ac:spMkLst>
        </pc:spChg>
        <pc:spChg chg="mod">
          <ac:chgData name="Schjold, Hanne Røvig" userId="72e82339-bab0-442f-8ca6-e6f386a713ee" providerId="ADAL" clId="{9706D415-2DA0-4D00-90B6-E46BF852F024}" dt="2023-03-16T12:49:25.666" v="782" actId="1038"/>
          <ac:spMkLst>
            <pc:docMk/>
            <pc:sldMk cId="2278995086" sldId="729"/>
            <ac:spMk id="3567" creationId="{00000000-0008-0000-0300-0000BB030000}"/>
          </ac:spMkLst>
        </pc:spChg>
        <pc:spChg chg="mod">
          <ac:chgData name="Schjold, Hanne Røvig" userId="72e82339-bab0-442f-8ca6-e6f386a713ee" providerId="ADAL" clId="{9706D415-2DA0-4D00-90B6-E46BF852F024}" dt="2023-03-16T12:49:25.666" v="782" actId="1038"/>
          <ac:spMkLst>
            <pc:docMk/>
            <pc:sldMk cId="2278995086" sldId="729"/>
            <ac:spMk id="3568" creationId="{00000000-0008-0000-0300-0000BC030000}"/>
          </ac:spMkLst>
        </pc:spChg>
        <pc:spChg chg="mod">
          <ac:chgData name="Schjold, Hanne Røvig" userId="72e82339-bab0-442f-8ca6-e6f386a713ee" providerId="ADAL" clId="{9706D415-2DA0-4D00-90B6-E46BF852F024}" dt="2023-03-16T12:49:25.666" v="782" actId="1038"/>
          <ac:spMkLst>
            <pc:docMk/>
            <pc:sldMk cId="2278995086" sldId="729"/>
            <ac:spMk id="3569" creationId="{00000000-0008-0000-0300-0000BD030000}"/>
          </ac:spMkLst>
        </pc:spChg>
        <pc:spChg chg="mod">
          <ac:chgData name="Schjold, Hanne Røvig" userId="72e82339-bab0-442f-8ca6-e6f386a713ee" providerId="ADAL" clId="{9706D415-2DA0-4D00-90B6-E46BF852F024}" dt="2023-03-16T12:49:25.666" v="782" actId="1038"/>
          <ac:spMkLst>
            <pc:docMk/>
            <pc:sldMk cId="2278995086" sldId="729"/>
            <ac:spMk id="3570" creationId="{00000000-0008-0000-0300-0000BE030000}"/>
          </ac:spMkLst>
        </pc:spChg>
        <pc:spChg chg="mod">
          <ac:chgData name="Schjold, Hanne Røvig" userId="72e82339-bab0-442f-8ca6-e6f386a713ee" providerId="ADAL" clId="{9706D415-2DA0-4D00-90B6-E46BF852F024}" dt="2023-03-16T12:49:25.666" v="782" actId="1038"/>
          <ac:spMkLst>
            <pc:docMk/>
            <pc:sldMk cId="2278995086" sldId="729"/>
            <ac:spMk id="3571" creationId="{00000000-0008-0000-0300-0000BF030000}"/>
          </ac:spMkLst>
        </pc:spChg>
        <pc:spChg chg="mod">
          <ac:chgData name="Schjold, Hanne Røvig" userId="72e82339-bab0-442f-8ca6-e6f386a713ee" providerId="ADAL" clId="{9706D415-2DA0-4D00-90B6-E46BF852F024}" dt="2023-03-16T12:49:25.666" v="782" actId="1038"/>
          <ac:spMkLst>
            <pc:docMk/>
            <pc:sldMk cId="2278995086" sldId="729"/>
            <ac:spMk id="3572" creationId="{00000000-0008-0000-0300-0000C0030000}"/>
          </ac:spMkLst>
        </pc:spChg>
        <pc:spChg chg="mod">
          <ac:chgData name="Schjold, Hanne Røvig" userId="72e82339-bab0-442f-8ca6-e6f386a713ee" providerId="ADAL" clId="{9706D415-2DA0-4D00-90B6-E46BF852F024}" dt="2023-03-16T12:49:25.666" v="782" actId="1038"/>
          <ac:spMkLst>
            <pc:docMk/>
            <pc:sldMk cId="2278995086" sldId="729"/>
            <ac:spMk id="3573" creationId="{00000000-0008-0000-0300-0000C1030000}"/>
          </ac:spMkLst>
        </pc:spChg>
        <pc:spChg chg="mod">
          <ac:chgData name="Schjold, Hanne Røvig" userId="72e82339-bab0-442f-8ca6-e6f386a713ee" providerId="ADAL" clId="{9706D415-2DA0-4D00-90B6-E46BF852F024}" dt="2023-03-16T12:49:25.666" v="782" actId="1038"/>
          <ac:spMkLst>
            <pc:docMk/>
            <pc:sldMk cId="2278995086" sldId="729"/>
            <ac:spMk id="3574" creationId="{00000000-0008-0000-0300-0000C2030000}"/>
          </ac:spMkLst>
        </pc:spChg>
        <pc:spChg chg="mod">
          <ac:chgData name="Schjold, Hanne Røvig" userId="72e82339-bab0-442f-8ca6-e6f386a713ee" providerId="ADAL" clId="{9706D415-2DA0-4D00-90B6-E46BF852F024}" dt="2023-03-16T12:49:25.666" v="782" actId="1038"/>
          <ac:spMkLst>
            <pc:docMk/>
            <pc:sldMk cId="2278995086" sldId="729"/>
            <ac:spMk id="3575" creationId="{00000000-0008-0000-0300-0000C3030000}"/>
          </ac:spMkLst>
        </pc:spChg>
        <pc:spChg chg="mod">
          <ac:chgData name="Schjold, Hanne Røvig" userId="72e82339-bab0-442f-8ca6-e6f386a713ee" providerId="ADAL" clId="{9706D415-2DA0-4D00-90B6-E46BF852F024}" dt="2023-03-16T12:49:25.666" v="782" actId="1038"/>
          <ac:spMkLst>
            <pc:docMk/>
            <pc:sldMk cId="2278995086" sldId="729"/>
            <ac:spMk id="3576" creationId="{00000000-0008-0000-0300-0000C4030000}"/>
          </ac:spMkLst>
        </pc:spChg>
        <pc:spChg chg="mod">
          <ac:chgData name="Schjold, Hanne Røvig" userId="72e82339-bab0-442f-8ca6-e6f386a713ee" providerId="ADAL" clId="{9706D415-2DA0-4D00-90B6-E46BF852F024}" dt="2023-03-16T12:49:25.666" v="782" actId="1038"/>
          <ac:spMkLst>
            <pc:docMk/>
            <pc:sldMk cId="2278995086" sldId="729"/>
            <ac:spMk id="3577" creationId="{00000000-0008-0000-0300-0000C5030000}"/>
          </ac:spMkLst>
        </pc:spChg>
        <pc:spChg chg="mod">
          <ac:chgData name="Schjold, Hanne Røvig" userId="72e82339-bab0-442f-8ca6-e6f386a713ee" providerId="ADAL" clId="{9706D415-2DA0-4D00-90B6-E46BF852F024}" dt="2023-03-16T12:49:25.666" v="782" actId="1038"/>
          <ac:spMkLst>
            <pc:docMk/>
            <pc:sldMk cId="2278995086" sldId="729"/>
            <ac:spMk id="3578" creationId="{00000000-0008-0000-0300-0000C6030000}"/>
          </ac:spMkLst>
        </pc:spChg>
        <pc:spChg chg="mod">
          <ac:chgData name="Schjold, Hanne Røvig" userId="72e82339-bab0-442f-8ca6-e6f386a713ee" providerId="ADAL" clId="{9706D415-2DA0-4D00-90B6-E46BF852F024}" dt="2023-03-16T12:49:25.666" v="782" actId="1038"/>
          <ac:spMkLst>
            <pc:docMk/>
            <pc:sldMk cId="2278995086" sldId="729"/>
            <ac:spMk id="3579" creationId="{00000000-0008-0000-0300-0000C7030000}"/>
          </ac:spMkLst>
        </pc:spChg>
        <pc:spChg chg="mod">
          <ac:chgData name="Schjold, Hanne Røvig" userId="72e82339-bab0-442f-8ca6-e6f386a713ee" providerId="ADAL" clId="{9706D415-2DA0-4D00-90B6-E46BF852F024}" dt="2023-03-16T12:49:25.666" v="782" actId="1038"/>
          <ac:spMkLst>
            <pc:docMk/>
            <pc:sldMk cId="2278995086" sldId="729"/>
            <ac:spMk id="3580" creationId="{00000000-0008-0000-0300-0000C8030000}"/>
          </ac:spMkLst>
        </pc:spChg>
        <pc:spChg chg="mod">
          <ac:chgData name="Schjold, Hanne Røvig" userId="72e82339-bab0-442f-8ca6-e6f386a713ee" providerId="ADAL" clId="{9706D415-2DA0-4D00-90B6-E46BF852F024}" dt="2023-03-16T12:49:25.666" v="782" actId="1038"/>
          <ac:spMkLst>
            <pc:docMk/>
            <pc:sldMk cId="2278995086" sldId="729"/>
            <ac:spMk id="3581" creationId="{00000000-0008-0000-0300-0000C9030000}"/>
          </ac:spMkLst>
        </pc:spChg>
        <pc:spChg chg="mod">
          <ac:chgData name="Schjold, Hanne Røvig" userId="72e82339-bab0-442f-8ca6-e6f386a713ee" providerId="ADAL" clId="{9706D415-2DA0-4D00-90B6-E46BF852F024}" dt="2023-03-16T12:49:25.666" v="782" actId="1038"/>
          <ac:spMkLst>
            <pc:docMk/>
            <pc:sldMk cId="2278995086" sldId="729"/>
            <ac:spMk id="3582" creationId="{00000000-0008-0000-0300-0000CA030000}"/>
          </ac:spMkLst>
        </pc:spChg>
        <pc:spChg chg="mod">
          <ac:chgData name="Schjold, Hanne Røvig" userId="72e82339-bab0-442f-8ca6-e6f386a713ee" providerId="ADAL" clId="{9706D415-2DA0-4D00-90B6-E46BF852F024}" dt="2023-03-16T12:49:25.666" v="782" actId="1038"/>
          <ac:spMkLst>
            <pc:docMk/>
            <pc:sldMk cId="2278995086" sldId="729"/>
            <ac:spMk id="3583" creationId="{00000000-0008-0000-0300-0000CB030000}"/>
          </ac:spMkLst>
        </pc:spChg>
        <pc:spChg chg="mod">
          <ac:chgData name="Schjold, Hanne Røvig" userId="72e82339-bab0-442f-8ca6-e6f386a713ee" providerId="ADAL" clId="{9706D415-2DA0-4D00-90B6-E46BF852F024}" dt="2023-03-16T12:49:25.666" v="782" actId="1038"/>
          <ac:spMkLst>
            <pc:docMk/>
            <pc:sldMk cId="2278995086" sldId="729"/>
            <ac:spMk id="3584" creationId="{00000000-0008-0000-0300-0000CC030000}"/>
          </ac:spMkLst>
        </pc:spChg>
        <pc:spChg chg="mod">
          <ac:chgData name="Schjold, Hanne Røvig" userId="72e82339-bab0-442f-8ca6-e6f386a713ee" providerId="ADAL" clId="{9706D415-2DA0-4D00-90B6-E46BF852F024}" dt="2023-03-16T12:49:25.666" v="782" actId="1038"/>
          <ac:spMkLst>
            <pc:docMk/>
            <pc:sldMk cId="2278995086" sldId="729"/>
            <ac:spMk id="3585" creationId="{00000000-0008-0000-0300-0000CD030000}"/>
          </ac:spMkLst>
        </pc:spChg>
        <pc:spChg chg="mod">
          <ac:chgData name="Schjold, Hanne Røvig" userId="72e82339-bab0-442f-8ca6-e6f386a713ee" providerId="ADAL" clId="{9706D415-2DA0-4D00-90B6-E46BF852F024}" dt="2023-03-16T12:49:25.666" v="782" actId="1038"/>
          <ac:spMkLst>
            <pc:docMk/>
            <pc:sldMk cId="2278995086" sldId="729"/>
            <ac:spMk id="3586" creationId="{00000000-0008-0000-0300-0000CE030000}"/>
          </ac:spMkLst>
        </pc:spChg>
        <pc:spChg chg="mod">
          <ac:chgData name="Schjold, Hanne Røvig" userId="72e82339-bab0-442f-8ca6-e6f386a713ee" providerId="ADAL" clId="{9706D415-2DA0-4D00-90B6-E46BF852F024}" dt="2023-03-16T12:49:25.666" v="782" actId="1038"/>
          <ac:spMkLst>
            <pc:docMk/>
            <pc:sldMk cId="2278995086" sldId="729"/>
            <ac:spMk id="3587" creationId="{00000000-0008-0000-0300-0000CF030000}"/>
          </ac:spMkLst>
        </pc:spChg>
        <pc:spChg chg="mod">
          <ac:chgData name="Schjold, Hanne Røvig" userId="72e82339-bab0-442f-8ca6-e6f386a713ee" providerId="ADAL" clId="{9706D415-2DA0-4D00-90B6-E46BF852F024}" dt="2023-03-16T12:49:25.666" v="782" actId="1038"/>
          <ac:spMkLst>
            <pc:docMk/>
            <pc:sldMk cId="2278995086" sldId="729"/>
            <ac:spMk id="3588" creationId="{00000000-0008-0000-0300-0000D0030000}"/>
          </ac:spMkLst>
        </pc:spChg>
        <pc:spChg chg="mod">
          <ac:chgData name="Schjold, Hanne Røvig" userId="72e82339-bab0-442f-8ca6-e6f386a713ee" providerId="ADAL" clId="{9706D415-2DA0-4D00-90B6-E46BF852F024}" dt="2023-03-16T12:49:25.666" v="782" actId="1038"/>
          <ac:spMkLst>
            <pc:docMk/>
            <pc:sldMk cId="2278995086" sldId="729"/>
            <ac:spMk id="3589" creationId="{00000000-0008-0000-0300-0000D1030000}"/>
          </ac:spMkLst>
        </pc:spChg>
        <pc:spChg chg="mod">
          <ac:chgData name="Schjold, Hanne Røvig" userId="72e82339-bab0-442f-8ca6-e6f386a713ee" providerId="ADAL" clId="{9706D415-2DA0-4D00-90B6-E46BF852F024}" dt="2023-03-16T12:49:25.666" v="782" actId="1038"/>
          <ac:spMkLst>
            <pc:docMk/>
            <pc:sldMk cId="2278995086" sldId="729"/>
            <ac:spMk id="3590" creationId="{00000000-0008-0000-0300-0000D2030000}"/>
          </ac:spMkLst>
        </pc:spChg>
        <pc:spChg chg="mod">
          <ac:chgData name="Schjold, Hanne Røvig" userId="72e82339-bab0-442f-8ca6-e6f386a713ee" providerId="ADAL" clId="{9706D415-2DA0-4D00-90B6-E46BF852F024}" dt="2023-03-16T12:49:25.666" v="782" actId="1038"/>
          <ac:spMkLst>
            <pc:docMk/>
            <pc:sldMk cId="2278995086" sldId="729"/>
            <ac:spMk id="3591" creationId="{00000000-0008-0000-0300-0000D3030000}"/>
          </ac:spMkLst>
        </pc:spChg>
        <pc:spChg chg="mod">
          <ac:chgData name="Schjold, Hanne Røvig" userId="72e82339-bab0-442f-8ca6-e6f386a713ee" providerId="ADAL" clId="{9706D415-2DA0-4D00-90B6-E46BF852F024}" dt="2023-03-16T12:49:25.666" v="782" actId="1038"/>
          <ac:spMkLst>
            <pc:docMk/>
            <pc:sldMk cId="2278995086" sldId="729"/>
            <ac:spMk id="3592" creationId="{00000000-0008-0000-0300-0000D4030000}"/>
          </ac:spMkLst>
        </pc:spChg>
        <pc:spChg chg="mod">
          <ac:chgData name="Schjold, Hanne Røvig" userId="72e82339-bab0-442f-8ca6-e6f386a713ee" providerId="ADAL" clId="{9706D415-2DA0-4D00-90B6-E46BF852F024}" dt="2023-03-16T12:49:25.666" v="782" actId="1038"/>
          <ac:spMkLst>
            <pc:docMk/>
            <pc:sldMk cId="2278995086" sldId="729"/>
            <ac:spMk id="3593" creationId="{00000000-0008-0000-0300-0000D5030000}"/>
          </ac:spMkLst>
        </pc:spChg>
        <pc:spChg chg="mod">
          <ac:chgData name="Schjold, Hanne Røvig" userId="72e82339-bab0-442f-8ca6-e6f386a713ee" providerId="ADAL" clId="{9706D415-2DA0-4D00-90B6-E46BF852F024}" dt="2023-03-16T12:49:25.666" v="782" actId="1038"/>
          <ac:spMkLst>
            <pc:docMk/>
            <pc:sldMk cId="2278995086" sldId="729"/>
            <ac:spMk id="3594" creationId="{00000000-0008-0000-0300-0000D6030000}"/>
          </ac:spMkLst>
        </pc:spChg>
        <pc:spChg chg="mod">
          <ac:chgData name="Schjold, Hanne Røvig" userId="72e82339-bab0-442f-8ca6-e6f386a713ee" providerId="ADAL" clId="{9706D415-2DA0-4D00-90B6-E46BF852F024}" dt="2023-03-16T12:49:25.666" v="782" actId="1038"/>
          <ac:spMkLst>
            <pc:docMk/>
            <pc:sldMk cId="2278995086" sldId="729"/>
            <ac:spMk id="3595" creationId="{00000000-0008-0000-0300-0000D7030000}"/>
          </ac:spMkLst>
        </pc:spChg>
        <pc:spChg chg="mod">
          <ac:chgData name="Schjold, Hanne Røvig" userId="72e82339-bab0-442f-8ca6-e6f386a713ee" providerId="ADAL" clId="{9706D415-2DA0-4D00-90B6-E46BF852F024}" dt="2023-03-16T12:49:25.666" v="782" actId="1038"/>
          <ac:spMkLst>
            <pc:docMk/>
            <pc:sldMk cId="2278995086" sldId="729"/>
            <ac:spMk id="3596" creationId="{00000000-0008-0000-0300-0000D8030000}"/>
          </ac:spMkLst>
        </pc:spChg>
        <pc:spChg chg="mod">
          <ac:chgData name="Schjold, Hanne Røvig" userId="72e82339-bab0-442f-8ca6-e6f386a713ee" providerId="ADAL" clId="{9706D415-2DA0-4D00-90B6-E46BF852F024}" dt="2023-03-16T12:49:25.666" v="782" actId="1038"/>
          <ac:spMkLst>
            <pc:docMk/>
            <pc:sldMk cId="2278995086" sldId="729"/>
            <ac:spMk id="3597" creationId="{00000000-0008-0000-0300-0000D9030000}"/>
          </ac:spMkLst>
        </pc:spChg>
        <pc:spChg chg="mod">
          <ac:chgData name="Schjold, Hanne Røvig" userId="72e82339-bab0-442f-8ca6-e6f386a713ee" providerId="ADAL" clId="{9706D415-2DA0-4D00-90B6-E46BF852F024}" dt="2023-03-16T12:49:25.666" v="782" actId="1038"/>
          <ac:spMkLst>
            <pc:docMk/>
            <pc:sldMk cId="2278995086" sldId="729"/>
            <ac:spMk id="3598" creationId="{00000000-0008-0000-0300-0000DA030000}"/>
          </ac:spMkLst>
        </pc:spChg>
        <pc:spChg chg="mod">
          <ac:chgData name="Schjold, Hanne Røvig" userId="72e82339-bab0-442f-8ca6-e6f386a713ee" providerId="ADAL" clId="{9706D415-2DA0-4D00-90B6-E46BF852F024}" dt="2023-03-16T12:49:25.666" v="782" actId="1038"/>
          <ac:spMkLst>
            <pc:docMk/>
            <pc:sldMk cId="2278995086" sldId="729"/>
            <ac:spMk id="3599" creationId="{00000000-0008-0000-0300-0000DB030000}"/>
          </ac:spMkLst>
        </pc:spChg>
        <pc:spChg chg="mod">
          <ac:chgData name="Schjold, Hanne Røvig" userId="72e82339-bab0-442f-8ca6-e6f386a713ee" providerId="ADAL" clId="{9706D415-2DA0-4D00-90B6-E46BF852F024}" dt="2023-03-16T12:49:25.666" v="782" actId="1038"/>
          <ac:spMkLst>
            <pc:docMk/>
            <pc:sldMk cId="2278995086" sldId="729"/>
            <ac:spMk id="3600" creationId="{00000000-0008-0000-0300-0000DC030000}"/>
          </ac:spMkLst>
        </pc:spChg>
        <pc:spChg chg="mod">
          <ac:chgData name="Schjold, Hanne Røvig" userId="72e82339-bab0-442f-8ca6-e6f386a713ee" providerId="ADAL" clId="{9706D415-2DA0-4D00-90B6-E46BF852F024}" dt="2023-03-16T12:49:25.666" v="782" actId="1038"/>
          <ac:spMkLst>
            <pc:docMk/>
            <pc:sldMk cId="2278995086" sldId="729"/>
            <ac:spMk id="3601" creationId="{00000000-0008-0000-0300-0000DD030000}"/>
          </ac:spMkLst>
        </pc:spChg>
        <pc:spChg chg="mod">
          <ac:chgData name="Schjold, Hanne Røvig" userId="72e82339-bab0-442f-8ca6-e6f386a713ee" providerId="ADAL" clId="{9706D415-2DA0-4D00-90B6-E46BF852F024}" dt="2023-03-16T12:49:25.666" v="782" actId="1038"/>
          <ac:spMkLst>
            <pc:docMk/>
            <pc:sldMk cId="2278995086" sldId="729"/>
            <ac:spMk id="3602" creationId="{00000000-0008-0000-0300-0000DE030000}"/>
          </ac:spMkLst>
        </pc:spChg>
        <pc:spChg chg="mod">
          <ac:chgData name="Schjold, Hanne Røvig" userId="72e82339-bab0-442f-8ca6-e6f386a713ee" providerId="ADAL" clId="{9706D415-2DA0-4D00-90B6-E46BF852F024}" dt="2023-03-16T12:49:25.666" v="782" actId="1038"/>
          <ac:spMkLst>
            <pc:docMk/>
            <pc:sldMk cId="2278995086" sldId="729"/>
            <ac:spMk id="3603" creationId="{00000000-0008-0000-0300-0000DF030000}"/>
          </ac:spMkLst>
        </pc:spChg>
        <pc:spChg chg="mod">
          <ac:chgData name="Schjold, Hanne Røvig" userId="72e82339-bab0-442f-8ca6-e6f386a713ee" providerId="ADAL" clId="{9706D415-2DA0-4D00-90B6-E46BF852F024}" dt="2023-03-16T12:49:25.666" v="782" actId="1038"/>
          <ac:spMkLst>
            <pc:docMk/>
            <pc:sldMk cId="2278995086" sldId="729"/>
            <ac:spMk id="3604" creationId="{00000000-0008-0000-0300-0000E0030000}"/>
          </ac:spMkLst>
        </pc:spChg>
        <pc:spChg chg="mod">
          <ac:chgData name="Schjold, Hanne Røvig" userId="72e82339-bab0-442f-8ca6-e6f386a713ee" providerId="ADAL" clId="{9706D415-2DA0-4D00-90B6-E46BF852F024}" dt="2023-03-16T12:49:25.666" v="782" actId="1038"/>
          <ac:spMkLst>
            <pc:docMk/>
            <pc:sldMk cId="2278995086" sldId="729"/>
            <ac:spMk id="3605" creationId="{00000000-0008-0000-0300-0000E1030000}"/>
          </ac:spMkLst>
        </pc:spChg>
        <pc:spChg chg="mod">
          <ac:chgData name="Schjold, Hanne Røvig" userId="72e82339-bab0-442f-8ca6-e6f386a713ee" providerId="ADAL" clId="{9706D415-2DA0-4D00-90B6-E46BF852F024}" dt="2023-03-16T12:49:25.666" v="782" actId="1038"/>
          <ac:spMkLst>
            <pc:docMk/>
            <pc:sldMk cId="2278995086" sldId="729"/>
            <ac:spMk id="3606" creationId="{00000000-0008-0000-0300-0000E2030000}"/>
          </ac:spMkLst>
        </pc:spChg>
        <pc:spChg chg="mod">
          <ac:chgData name="Schjold, Hanne Røvig" userId="72e82339-bab0-442f-8ca6-e6f386a713ee" providerId="ADAL" clId="{9706D415-2DA0-4D00-90B6-E46BF852F024}" dt="2023-03-16T12:49:25.666" v="782" actId="1038"/>
          <ac:spMkLst>
            <pc:docMk/>
            <pc:sldMk cId="2278995086" sldId="729"/>
            <ac:spMk id="3607" creationId="{00000000-0008-0000-0300-0000E3030000}"/>
          </ac:spMkLst>
        </pc:spChg>
        <pc:spChg chg="mod">
          <ac:chgData name="Schjold, Hanne Røvig" userId="72e82339-bab0-442f-8ca6-e6f386a713ee" providerId="ADAL" clId="{9706D415-2DA0-4D00-90B6-E46BF852F024}" dt="2023-03-16T12:49:25.666" v="782" actId="1038"/>
          <ac:spMkLst>
            <pc:docMk/>
            <pc:sldMk cId="2278995086" sldId="729"/>
            <ac:spMk id="3608" creationId="{00000000-0008-0000-0300-0000E4030000}"/>
          </ac:spMkLst>
        </pc:spChg>
        <pc:spChg chg="mod">
          <ac:chgData name="Schjold, Hanne Røvig" userId="72e82339-bab0-442f-8ca6-e6f386a713ee" providerId="ADAL" clId="{9706D415-2DA0-4D00-90B6-E46BF852F024}" dt="2023-03-16T12:49:25.666" v="782" actId="1038"/>
          <ac:spMkLst>
            <pc:docMk/>
            <pc:sldMk cId="2278995086" sldId="729"/>
            <ac:spMk id="3609" creationId="{00000000-0008-0000-0300-0000E5030000}"/>
          </ac:spMkLst>
        </pc:spChg>
        <pc:spChg chg="mod">
          <ac:chgData name="Schjold, Hanne Røvig" userId="72e82339-bab0-442f-8ca6-e6f386a713ee" providerId="ADAL" clId="{9706D415-2DA0-4D00-90B6-E46BF852F024}" dt="2023-03-16T12:49:25.666" v="782" actId="1038"/>
          <ac:spMkLst>
            <pc:docMk/>
            <pc:sldMk cId="2278995086" sldId="729"/>
            <ac:spMk id="3610" creationId="{00000000-0008-0000-0300-0000E6030000}"/>
          </ac:spMkLst>
        </pc:spChg>
        <pc:spChg chg="mod">
          <ac:chgData name="Schjold, Hanne Røvig" userId="72e82339-bab0-442f-8ca6-e6f386a713ee" providerId="ADAL" clId="{9706D415-2DA0-4D00-90B6-E46BF852F024}" dt="2023-03-16T12:49:25.666" v="782" actId="1038"/>
          <ac:spMkLst>
            <pc:docMk/>
            <pc:sldMk cId="2278995086" sldId="729"/>
            <ac:spMk id="3611" creationId="{00000000-0008-0000-0300-0000E7030000}"/>
          </ac:spMkLst>
        </pc:spChg>
        <pc:spChg chg="mod">
          <ac:chgData name="Schjold, Hanne Røvig" userId="72e82339-bab0-442f-8ca6-e6f386a713ee" providerId="ADAL" clId="{9706D415-2DA0-4D00-90B6-E46BF852F024}" dt="2023-03-16T12:49:25.666" v="782" actId="1038"/>
          <ac:spMkLst>
            <pc:docMk/>
            <pc:sldMk cId="2278995086" sldId="729"/>
            <ac:spMk id="3612" creationId="{00000000-0008-0000-0300-0000E8030000}"/>
          </ac:spMkLst>
        </pc:spChg>
        <pc:spChg chg="mod">
          <ac:chgData name="Schjold, Hanne Røvig" userId="72e82339-bab0-442f-8ca6-e6f386a713ee" providerId="ADAL" clId="{9706D415-2DA0-4D00-90B6-E46BF852F024}" dt="2023-03-16T12:49:25.666" v="782" actId="1038"/>
          <ac:spMkLst>
            <pc:docMk/>
            <pc:sldMk cId="2278995086" sldId="729"/>
            <ac:spMk id="3613" creationId="{00000000-0008-0000-0300-0000E9030000}"/>
          </ac:spMkLst>
        </pc:spChg>
        <pc:spChg chg="mod">
          <ac:chgData name="Schjold, Hanne Røvig" userId="72e82339-bab0-442f-8ca6-e6f386a713ee" providerId="ADAL" clId="{9706D415-2DA0-4D00-90B6-E46BF852F024}" dt="2023-03-16T12:49:25.666" v="782" actId="1038"/>
          <ac:spMkLst>
            <pc:docMk/>
            <pc:sldMk cId="2278995086" sldId="729"/>
            <ac:spMk id="3614" creationId="{00000000-0008-0000-0300-0000EA030000}"/>
          </ac:spMkLst>
        </pc:spChg>
        <pc:spChg chg="mod">
          <ac:chgData name="Schjold, Hanne Røvig" userId="72e82339-bab0-442f-8ca6-e6f386a713ee" providerId="ADAL" clId="{9706D415-2DA0-4D00-90B6-E46BF852F024}" dt="2023-03-16T12:49:25.666" v="782" actId="1038"/>
          <ac:spMkLst>
            <pc:docMk/>
            <pc:sldMk cId="2278995086" sldId="729"/>
            <ac:spMk id="3615" creationId="{00000000-0008-0000-0300-0000EB030000}"/>
          </ac:spMkLst>
        </pc:spChg>
        <pc:spChg chg="mod">
          <ac:chgData name="Schjold, Hanne Røvig" userId="72e82339-bab0-442f-8ca6-e6f386a713ee" providerId="ADAL" clId="{9706D415-2DA0-4D00-90B6-E46BF852F024}" dt="2023-03-16T12:49:25.666" v="782" actId="1038"/>
          <ac:spMkLst>
            <pc:docMk/>
            <pc:sldMk cId="2278995086" sldId="729"/>
            <ac:spMk id="3616" creationId="{00000000-0008-0000-0300-0000EC030000}"/>
          </ac:spMkLst>
        </pc:spChg>
        <pc:spChg chg="mod">
          <ac:chgData name="Schjold, Hanne Røvig" userId="72e82339-bab0-442f-8ca6-e6f386a713ee" providerId="ADAL" clId="{9706D415-2DA0-4D00-90B6-E46BF852F024}" dt="2023-03-16T12:49:25.666" v="782" actId="1038"/>
          <ac:spMkLst>
            <pc:docMk/>
            <pc:sldMk cId="2278995086" sldId="729"/>
            <ac:spMk id="3617" creationId="{00000000-0008-0000-0300-0000ED030000}"/>
          </ac:spMkLst>
        </pc:spChg>
        <pc:spChg chg="mod">
          <ac:chgData name="Schjold, Hanne Røvig" userId="72e82339-bab0-442f-8ca6-e6f386a713ee" providerId="ADAL" clId="{9706D415-2DA0-4D00-90B6-E46BF852F024}" dt="2023-03-16T12:49:25.666" v="782" actId="1038"/>
          <ac:spMkLst>
            <pc:docMk/>
            <pc:sldMk cId="2278995086" sldId="729"/>
            <ac:spMk id="3618" creationId="{00000000-0008-0000-0300-0000EE030000}"/>
          </ac:spMkLst>
        </pc:spChg>
        <pc:spChg chg="mod">
          <ac:chgData name="Schjold, Hanne Røvig" userId="72e82339-bab0-442f-8ca6-e6f386a713ee" providerId="ADAL" clId="{9706D415-2DA0-4D00-90B6-E46BF852F024}" dt="2023-03-16T12:49:25.666" v="782" actId="1038"/>
          <ac:spMkLst>
            <pc:docMk/>
            <pc:sldMk cId="2278995086" sldId="729"/>
            <ac:spMk id="3619" creationId="{00000000-0008-0000-0300-0000EF030000}"/>
          </ac:spMkLst>
        </pc:spChg>
        <pc:spChg chg="mod">
          <ac:chgData name="Schjold, Hanne Røvig" userId="72e82339-bab0-442f-8ca6-e6f386a713ee" providerId="ADAL" clId="{9706D415-2DA0-4D00-90B6-E46BF852F024}" dt="2023-03-16T12:49:25.666" v="782" actId="1038"/>
          <ac:spMkLst>
            <pc:docMk/>
            <pc:sldMk cId="2278995086" sldId="729"/>
            <ac:spMk id="3620" creationId="{00000000-0008-0000-0300-0000F0030000}"/>
          </ac:spMkLst>
        </pc:spChg>
        <pc:spChg chg="mod">
          <ac:chgData name="Schjold, Hanne Røvig" userId="72e82339-bab0-442f-8ca6-e6f386a713ee" providerId="ADAL" clId="{9706D415-2DA0-4D00-90B6-E46BF852F024}" dt="2023-03-16T12:49:25.666" v="782" actId="1038"/>
          <ac:spMkLst>
            <pc:docMk/>
            <pc:sldMk cId="2278995086" sldId="729"/>
            <ac:spMk id="3621" creationId="{00000000-0008-0000-0300-0000F1030000}"/>
          </ac:spMkLst>
        </pc:spChg>
        <pc:spChg chg="mod">
          <ac:chgData name="Schjold, Hanne Røvig" userId="72e82339-bab0-442f-8ca6-e6f386a713ee" providerId="ADAL" clId="{9706D415-2DA0-4D00-90B6-E46BF852F024}" dt="2023-03-16T12:49:25.666" v="782" actId="1038"/>
          <ac:spMkLst>
            <pc:docMk/>
            <pc:sldMk cId="2278995086" sldId="729"/>
            <ac:spMk id="3622" creationId="{00000000-0008-0000-0300-0000F2030000}"/>
          </ac:spMkLst>
        </pc:spChg>
        <pc:spChg chg="mod">
          <ac:chgData name="Schjold, Hanne Røvig" userId="72e82339-bab0-442f-8ca6-e6f386a713ee" providerId="ADAL" clId="{9706D415-2DA0-4D00-90B6-E46BF852F024}" dt="2023-03-16T12:49:25.666" v="782" actId="1038"/>
          <ac:spMkLst>
            <pc:docMk/>
            <pc:sldMk cId="2278995086" sldId="729"/>
            <ac:spMk id="3623" creationId="{00000000-0008-0000-0300-0000F3030000}"/>
          </ac:spMkLst>
        </pc:spChg>
        <pc:spChg chg="mod">
          <ac:chgData name="Schjold, Hanne Røvig" userId="72e82339-bab0-442f-8ca6-e6f386a713ee" providerId="ADAL" clId="{9706D415-2DA0-4D00-90B6-E46BF852F024}" dt="2023-03-16T12:49:25.666" v="782" actId="1038"/>
          <ac:spMkLst>
            <pc:docMk/>
            <pc:sldMk cId="2278995086" sldId="729"/>
            <ac:spMk id="3624" creationId="{00000000-0008-0000-0300-0000F4030000}"/>
          </ac:spMkLst>
        </pc:spChg>
        <pc:spChg chg="mod">
          <ac:chgData name="Schjold, Hanne Røvig" userId="72e82339-bab0-442f-8ca6-e6f386a713ee" providerId="ADAL" clId="{9706D415-2DA0-4D00-90B6-E46BF852F024}" dt="2023-03-16T12:49:25.666" v="782" actId="1038"/>
          <ac:spMkLst>
            <pc:docMk/>
            <pc:sldMk cId="2278995086" sldId="729"/>
            <ac:spMk id="3625" creationId="{00000000-0008-0000-0300-0000F5030000}"/>
          </ac:spMkLst>
        </pc:spChg>
        <pc:spChg chg="mod">
          <ac:chgData name="Schjold, Hanne Røvig" userId="72e82339-bab0-442f-8ca6-e6f386a713ee" providerId="ADAL" clId="{9706D415-2DA0-4D00-90B6-E46BF852F024}" dt="2023-03-16T12:49:25.666" v="782" actId="1038"/>
          <ac:spMkLst>
            <pc:docMk/>
            <pc:sldMk cId="2278995086" sldId="729"/>
            <ac:spMk id="3626" creationId="{00000000-0008-0000-0300-0000F6030000}"/>
          </ac:spMkLst>
        </pc:spChg>
        <pc:spChg chg="mod">
          <ac:chgData name="Schjold, Hanne Røvig" userId="72e82339-bab0-442f-8ca6-e6f386a713ee" providerId="ADAL" clId="{9706D415-2DA0-4D00-90B6-E46BF852F024}" dt="2023-03-16T12:49:25.666" v="782" actId="1038"/>
          <ac:spMkLst>
            <pc:docMk/>
            <pc:sldMk cId="2278995086" sldId="729"/>
            <ac:spMk id="3627" creationId="{00000000-0008-0000-0300-0000F7030000}"/>
          </ac:spMkLst>
        </pc:spChg>
        <pc:spChg chg="mod">
          <ac:chgData name="Schjold, Hanne Røvig" userId="72e82339-bab0-442f-8ca6-e6f386a713ee" providerId="ADAL" clId="{9706D415-2DA0-4D00-90B6-E46BF852F024}" dt="2023-03-16T12:49:25.666" v="782" actId="1038"/>
          <ac:spMkLst>
            <pc:docMk/>
            <pc:sldMk cId="2278995086" sldId="729"/>
            <ac:spMk id="3628" creationId="{00000000-0008-0000-0300-0000F8030000}"/>
          </ac:spMkLst>
        </pc:spChg>
        <pc:spChg chg="mod">
          <ac:chgData name="Schjold, Hanne Røvig" userId="72e82339-bab0-442f-8ca6-e6f386a713ee" providerId="ADAL" clId="{9706D415-2DA0-4D00-90B6-E46BF852F024}" dt="2023-03-16T12:49:25.666" v="782" actId="1038"/>
          <ac:spMkLst>
            <pc:docMk/>
            <pc:sldMk cId="2278995086" sldId="729"/>
            <ac:spMk id="3629" creationId="{00000000-0008-0000-0300-0000F9030000}"/>
          </ac:spMkLst>
        </pc:spChg>
        <pc:spChg chg="mod">
          <ac:chgData name="Schjold, Hanne Røvig" userId="72e82339-bab0-442f-8ca6-e6f386a713ee" providerId="ADAL" clId="{9706D415-2DA0-4D00-90B6-E46BF852F024}" dt="2023-03-16T12:49:25.666" v="782" actId="1038"/>
          <ac:spMkLst>
            <pc:docMk/>
            <pc:sldMk cId="2278995086" sldId="729"/>
            <ac:spMk id="3630" creationId="{00000000-0008-0000-0300-0000FA030000}"/>
          </ac:spMkLst>
        </pc:spChg>
        <pc:spChg chg="mod">
          <ac:chgData name="Schjold, Hanne Røvig" userId="72e82339-bab0-442f-8ca6-e6f386a713ee" providerId="ADAL" clId="{9706D415-2DA0-4D00-90B6-E46BF852F024}" dt="2023-03-16T12:49:25.666" v="782" actId="1038"/>
          <ac:spMkLst>
            <pc:docMk/>
            <pc:sldMk cId="2278995086" sldId="729"/>
            <ac:spMk id="3631" creationId="{00000000-0008-0000-0300-0000FB030000}"/>
          </ac:spMkLst>
        </pc:spChg>
        <pc:spChg chg="mod">
          <ac:chgData name="Schjold, Hanne Røvig" userId="72e82339-bab0-442f-8ca6-e6f386a713ee" providerId="ADAL" clId="{9706D415-2DA0-4D00-90B6-E46BF852F024}" dt="2023-03-16T12:49:25.666" v="782" actId="1038"/>
          <ac:spMkLst>
            <pc:docMk/>
            <pc:sldMk cId="2278995086" sldId="729"/>
            <ac:spMk id="3632" creationId="{00000000-0008-0000-0300-0000FC030000}"/>
          </ac:spMkLst>
        </pc:spChg>
        <pc:spChg chg="mod">
          <ac:chgData name="Schjold, Hanne Røvig" userId="72e82339-bab0-442f-8ca6-e6f386a713ee" providerId="ADAL" clId="{9706D415-2DA0-4D00-90B6-E46BF852F024}" dt="2023-03-16T12:49:25.666" v="782" actId="1038"/>
          <ac:spMkLst>
            <pc:docMk/>
            <pc:sldMk cId="2278995086" sldId="729"/>
            <ac:spMk id="3633" creationId="{00000000-0008-0000-0300-0000FD030000}"/>
          </ac:spMkLst>
        </pc:spChg>
        <pc:spChg chg="mod">
          <ac:chgData name="Schjold, Hanne Røvig" userId="72e82339-bab0-442f-8ca6-e6f386a713ee" providerId="ADAL" clId="{9706D415-2DA0-4D00-90B6-E46BF852F024}" dt="2023-03-16T12:49:25.666" v="782" actId="1038"/>
          <ac:spMkLst>
            <pc:docMk/>
            <pc:sldMk cId="2278995086" sldId="729"/>
            <ac:spMk id="3634" creationId="{00000000-0008-0000-0300-0000FE030000}"/>
          </ac:spMkLst>
        </pc:spChg>
        <pc:spChg chg="mod">
          <ac:chgData name="Schjold, Hanne Røvig" userId="72e82339-bab0-442f-8ca6-e6f386a713ee" providerId="ADAL" clId="{9706D415-2DA0-4D00-90B6-E46BF852F024}" dt="2023-03-16T12:49:25.666" v="782" actId="1038"/>
          <ac:spMkLst>
            <pc:docMk/>
            <pc:sldMk cId="2278995086" sldId="729"/>
            <ac:spMk id="3635" creationId="{00000000-0008-0000-0300-0000FF030000}"/>
          </ac:spMkLst>
        </pc:spChg>
        <pc:spChg chg="mod">
          <ac:chgData name="Schjold, Hanne Røvig" userId="72e82339-bab0-442f-8ca6-e6f386a713ee" providerId="ADAL" clId="{9706D415-2DA0-4D00-90B6-E46BF852F024}" dt="2023-03-16T12:49:25.666" v="782" actId="1038"/>
          <ac:spMkLst>
            <pc:docMk/>
            <pc:sldMk cId="2278995086" sldId="729"/>
            <ac:spMk id="3636" creationId="{00000000-0008-0000-0300-000000040000}"/>
          </ac:spMkLst>
        </pc:spChg>
        <pc:spChg chg="mod">
          <ac:chgData name="Schjold, Hanne Røvig" userId="72e82339-bab0-442f-8ca6-e6f386a713ee" providerId="ADAL" clId="{9706D415-2DA0-4D00-90B6-E46BF852F024}" dt="2023-03-16T12:49:25.666" v="782" actId="1038"/>
          <ac:spMkLst>
            <pc:docMk/>
            <pc:sldMk cId="2278995086" sldId="729"/>
            <ac:spMk id="3637" creationId="{00000000-0008-0000-0300-000001040000}"/>
          </ac:spMkLst>
        </pc:spChg>
        <pc:spChg chg="mod">
          <ac:chgData name="Schjold, Hanne Røvig" userId="72e82339-bab0-442f-8ca6-e6f386a713ee" providerId="ADAL" clId="{9706D415-2DA0-4D00-90B6-E46BF852F024}" dt="2023-03-16T12:49:25.666" v="782" actId="1038"/>
          <ac:spMkLst>
            <pc:docMk/>
            <pc:sldMk cId="2278995086" sldId="729"/>
            <ac:spMk id="3638" creationId="{00000000-0008-0000-0300-000002040000}"/>
          </ac:spMkLst>
        </pc:spChg>
        <pc:spChg chg="mod">
          <ac:chgData name="Schjold, Hanne Røvig" userId="72e82339-bab0-442f-8ca6-e6f386a713ee" providerId="ADAL" clId="{9706D415-2DA0-4D00-90B6-E46BF852F024}" dt="2023-03-16T12:49:25.666" v="782" actId="1038"/>
          <ac:spMkLst>
            <pc:docMk/>
            <pc:sldMk cId="2278995086" sldId="729"/>
            <ac:spMk id="3639" creationId="{00000000-0008-0000-0300-000003040000}"/>
          </ac:spMkLst>
        </pc:spChg>
        <pc:spChg chg="mod">
          <ac:chgData name="Schjold, Hanne Røvig" userId="72e82339-bab0-442f-8ca6-e6f386a713ee" providerId="ADAL" clId="{9706D415-2DA0-4D00-90B6-E46BF852F024}" dt="2023-03-16T12:49:25.666" v="782" actId="1038"/>
          <ac:spMkLst>
            <pc:docMk/>
            <pc:sldMk cId="2278995086" sldId="729"/>
            <ac:spMk id="3640" creationId="{00000000-0008-0000-0300-000004040000}"/>
          </ac:spMkLst>
        </pc:spChg>
        <pc:spChg chg="mod">
          <ac:chgData name="Schjold, Hanne Røvig" userId="72e82339-bab0-442f-8ca6-e6f386a713ee" providerId="ADAL" clId="{9706D415-2DA0-4D00-90B6-E46BF852F024}" dt="2023-03-16T12:49:25.666" v="782" actId="1038"/>
          <ac:spMkLst>
            <pc:docMk/>
            <pc:sldMk cId="2278995086" sldId="729"/>
            <ac:spMk id="3641" creationId="{00000000-0008-0000-0300-000005040000}"/>
          </ac:spMkLst>
        </pc:spChg>
        <pc:spChg chg="mod">
          <ac:chgData name="Schjold, Hanne Røvig" userId="72e82339-bab0-442f-8ca6-e6f386a713ee" providerId="ADAL" clId="{9706D415-2DA0-4D00-90B6-E46BF852F024}" dt="2023-03-16T12:49:25.666" v="782" actId="1038"/>
          <ac:spMkLst>
            <pc:docMk/>
            <pc:sldMk cId="2278995086" sldId="729"/>
            <ac:spMk id="3642" creationId="{00000000-0008-0000-0300-000006040000}"/>
          </ac:spMkLst>
        </pc:spChg>
        <pc:spChg chg="mod">
          <ac:chgData name="Schjold, Hanne Røvig" userId="72e82339-bab0-442f-8ca6-e6f386a713ee" providerId="ADAL" clId="{9706D415-2DA0-4D00-90B6-E46BF852F024}" dt="2023-03-16T12:49:25.666" v="782" actId="1038"/>
          <ac:spMkLst>
            <pc:docMk/>
            <pc:sldMk cId="2278995086" sldId="729"/>
            <ac:spMk id="3643" creationId="{00000000-0008-0000-0300-000007040000}"/>
          </ac:spMkLst>
        </pc:spChg>
        <pc:spChg chg="mod">
          <ac:chgData name="Schjold, Hanne Røvig" userId="72e82339-bab0-442f-8ca6-e6f386a713ee" providerId="ADAL" clId="{9706D415-2DA0-4D00-90B6-E46BF852F024}" dt="2023-03-16T12:49:25.666" v="782" actId="1038"/>
          <ac:spMkLst>
            <pc:docMk/>
            <pc:sldMk cId="2278995086" sldId="729"/>
            <ac:spMk id="3644" creationId="{00000000-0008-0000-0300-000008040000}"/>
          </ac:spMkLst>
        </pc:spChg>
        <pc:spChg chg="mod">
          <ac:chgData name="Schjold, Hanne Røvig" userId="72e82339-bab0-442f-8ca6-e6f386a713ee" providerId="ADAL" clId="{9706D415-2DA0-4D00-90B6-E46BF852F024}" dt="2023-03-16T12:49:25.666" v="782" actId="1038"/>
          <ac:spMkLst>
            <pc:docMk/>
            <pc:sldMk cId="2278995086" sldId="729"/>
            <ac:spMk id="3645" creationId="{00000000-0008-0000-0300-000009040000}"/>
          </ac:spMkLst>
        </pc:spChg>
        <pc:spChg chg="mod">
          <ac:chgData name="Schjold, Hanne Røvig" userId="72e82339-bab0-442f-8ca6-e6f386a713ee" providerId="ADAL" clId="{9706D415-2DA0-4D00-90B6-E46BF852F024}" dt="2023-03-16T12:49:25.666" v="782" actId="1038"/>
          <ac:spMkLst>
            <pc:docMk/>
            <pc:sldMk cId="2278995086" sldId="729"/>
            <ac:spMk id="3646" creationId="{00000000-0008-0000-0300-00000A040000}"/>
          </ac:spMkLst>
        </pc:spChg>
        <pc:spChg chg="mod">
          <ac:chgData name="Schjold, Hanne Røvig" userId="72e82339-bab0-442f-8ca6-e6f386a713ee" providerId="ADAL" clId="{9706D415-2DA0-4D00-90B6-E46BF852F024}" dt="2023-03-16T12:49:25.666" v="782" actId="1038"/>
          <ac:spMkLst>
            <pc:docMk/>
            <pc:sldMk cId="2278995086" sldId="729"/>
            <ac:spMk id="3647" creationId="{00000000-0008-0000-0300-00000B040000}"/>
          </ac:spMkLst>
        </pc:spChg>
        <pc:spChg chg="mod">
          <ac:chgData name="Schjold, Hanne Røvig" userId="72e82339-bab0-442f-8ca6-e6f386a713ee" providerId="ADAL" clId="{9706D415-2DA0-4D00-90B6-E46BF852F024}" dt="2023-03-16T12:49:25.666" v="782" actId="1038"/>
          <ac:spMkLst>
            <pc:docMk/>
            <pc:sldMk cId="2278995086" sldId="729"/>
            <ac:spMk id="3648" creationId="{00000000-0008-0000-0300-00000C040000}"/>
          </ac:spMkLst>
        </pc:spChg>
        <pc:spChg chg="mod">
          <ac:chgData name="Schjold, Hanne Røvig" userId="72e82339-bab0-442f-8ca6-e6f386a713ee" providerId="ADAL" clId="{9706D415-2DA0-4D00-90B6-E46BF852F024}" dt="2023-03-16T12:49:25.666" v="782" actId="1038"/>
          <ac:spMkLst>
            <pc:docMk/>
            <pc:sldMk cId="2278995086" sldId="729"/>
            <ac:spMk id="3649" creationId="{00000000-0008-0000-0300-00000D040000}"/>
          </ac:spMkLst>
        </pc:spChg>
        <pc:spChg chg="mod">
          <ac:chgData name="Schjold, Hanne Røvig" userId="72e82339-bab0-442f-8ca6-e6f386a713ee" providerId="ADAL" clId="{9706D415-2DA0-4D00-90B6-E46BF852F024}" dt="2023-03-16T12:49:25.666" v="782" actId="1038"/>
          <ac:spMkLst>
            <pc:docMk/>
            <pc:sldMk cId="2278995086" sldId="729"/>
            <ac:spMk id="3650" creationId="{00000000-0008-0000-0300-00000E040000}"/>
          </ac:spMkLst>
        </pc:spChg>
        <pc:spChg chg="mod">
          <ac:chgData name="Schjold, Hanne Røvig" userId="72e82339-bab0-442f-8ca6-e6f386a713ee" providerId="ADAL" clId="{9706D415-2DA0-4D00-90B6-E46BF852F024}" dt="2023-03-16T12:49:25.666" v="782" actId="1038"/>
          <ac:spMkLst>
            <pc:docMk/>
            <pc:sldMk cId="2278995086" sldId="729"/>
            <ac:spMk id="3651" creationId="{00000000-0008-0000-0300-00000F040000}"/>
          </ac:spMkLst>
        </pc:spChg>
        <pc:spChg chg="mod">
          <ac:chgData name="Schjold, Hanne Røvig" userId="72e82339-bab0-442f-8ca6-e6f386a713ee" providerId="ADAL" clId="{9706D415-2DA0-4D00-90B6-E46BF852F024}" dt="2023-03-16T12:49:25.666" v="782" actId="1038"/>
          <ac:spMkLst>
            <pc:docMk/>
            <pc:sldMk cId="2278995086" sldId="729"/>
            <ac:spMk id="3652" creationId="{00000000-0008-0000-0300-000010040000}"/>
          </ac:spMkLst>
        </pc:spChg>
        <pc:spChg chg="mod">
          <ac:chgData name="Schjold, Hanne Røvig" userId="72e82339-bab0-442f-8ca6-e6f386a713ee" providerId="ADAL" clId="{9706D415-2DA0-4D00-90B6-E46BF852F024}" dt="2023-03-16T12:49:25.666" v="782" actId="1038"/>
          <ac:spMkLst>
            <pc:docMk/>
            <pc:sldMk cId="2278995086" sldId="729"/>
            <ac:spMk id="3653" creationId="{00000000-0008-0000-0300-000011040000}"/>
          </ac:spMkLst>
        </pc:spChg>
        <pc:spChg chg="mod">
          <ac:chgData name="Schjold, Hanne Røvig" userId="72e82339-bab0-442f-8ca6-e6f386a713ee" providerId="ADAL" clId="{9706D415-2DA0-4D00-90B6-E46BF852F024}" dt="2023-03-16T12:49:25.666" v="782" actId="1038"/>
          <ac:spMkLst>
            <pc:docMk/>
            <pc:sldMk cId="2278995086" sldId="729"/>
            <ac:spMk id="3654" creationId="{00000000-0008-0000-0300-000012040000}"/>
          </ac:spMkLst>
        </pc:spChg>
        <pc:spChg chg="mod">
          <ac:chgData name="Schjold, Hanne Røvig" userId="72e82339-bab0-442f-8ca6-e6f386a713ee" providerId="ADAL" clId="{9706D415-2DA0-4D00-90B6-E46BF852F024}" dt="2023-03-16T12:49:25.666" v="782" actId="1038"/>
          <ac:spMkLst>
            <pc:docMk/>
            <pc:sldMk cId="2278995086" sldId="729"/>
            <ac:spMk id="3655" creationId="{00000000-0008-0000-0300-000013040000}"/>
          </ac:spMkLst>
        </pc:spChg>
        <pc:spChg chg="mod">
          <ac:chgData name="Schjold, Hanne Røvig" userId="72e82339-bab0-442f-8ca6-e6f386a713ee" providerId="ADAL" clId="{9706D415-2DA0-4D00-90B6-E46BF852F024}" dt="2023-03-16T12:49:25.666" v="782" actId="1038"/>
          <ac:spMkLst>
            <pc:docMk/>
            <pc:sldMk cId="2278995086" sldId="729"/>
            <ac:spMk id="3656" creationId="{00000000-0008-0000-0300-000014040000}"/>
          </ac:spMkLst>
        </pc:spChg>
        <pc:spChg chg="mod">
          <ac:chgData name="Schjold, Hanne Røvig" userId="72e82339-bab0-442f-8ca6-e6f386a713ee" providerId="ADAL" clId="{9706D415-2DA0-4D00-90B6-E46BF852F024}" dt="2023-03-16T12:49:25.666" v="782" actId="1038"/>
          <ac:spMkLst>
            <pc:docMk/>
            <pc:sldMk cId="2278995086" sldId="729"/>
            <ac:spMk id="3657" creationId="{00000000-0008-0000-0300-000015040000}"/>
          </ac:spMkLst>
        </pc:spChg>
        <pc:spChg chg="mod">
          <ac:chgData name="Schjold, Hanne Røvig" userId="72e82339-bab0-442f-8ca6-e6f386a713ee" providerId="ADAL" clId="{9706D415-2DA0-4D00-90B6-E46BF852F024}" dt="2023-03-16T12:49:25.666" v="782" actId="1038"/>
          <ac:spMkLst>
            <pc:docMk/>
            <pc:sldMk cId="2278995086" sldId="729"/>
            <ac:spMk id="3658" creationId="{00000000-0008-0000-0300-000016040000}"/>
          </ac:spMkLst>
        </pc:spChg>
        <pc:spChg chg="mod">
          <ac:chgData name="Schjold, Hanne Røvig" userId="72e82339-bab0-442f-8ca6-e6f386a713ee" providerId="ADAL" clId="{9706D415-2DA0-4D00-90B6-E46BF852F024}" dt="2023-03-16T12:49:25.666" v="782" actId="1038"/>
          <ac:spMkLst>
            <pc:docMk/>
            <pc:sldMk cId="2278995086" sldId="729"/>
            <ac:spMk id="3659" creationId="{00000000-0008-0000-0300-000017040000}"/>
          </ac:spMkLst>
        </pc:spChg>
        <pc:spChg chg="mod">
          <ac:chgData name="Schjold, Hanne Røvig" userId="72e82339-bab0-442f-8ca6-e6f386a713ee" providerId="ADAL" clId="{9706D415-2DA0-4D00-90B6-E46BF852F024}" dt="2023-03-16T12:49:25.666" v="782" actId="1038"/>
          <ac:spMkLst>
            <pc:docMk/>
            <pc:sldMk cId="2278995086" sldId="729"/>
            <ac:spMk id="3660" creationId="{00000000-0008-0000-0300-000018040000}"/>
          </ac:spMkLst>
        </pc:spChg>
        <pc:spChg chg="mod">
          <ac:chgData name="Schjold, Hanne Røvig" userId="72e82339-bab0-442f-8ca6-e6f386a713ee" providerId="ADAL" clId="{9706D415-2DA0-4D00-90B6-E46BF852F024}" dt="2023-03-16T12:49:25.666" v="782" actId="1038"/>
          <ac:spMkLst>
            <pc:docMk/>
            <pc:sldMk cId="2278995086" sldId="729"/>
            <ac:spMk id="3661" creationId="{00000000-0008-0000-0300-000019040000}"/>
          </ac:spMkLst>
        </pc:spChg>
        <pc:spChg chg="mod">
          <ac:chgData name="Schjold, Hanne Røvig" userId="72e82339-bab0-442f-8ca6-e6f386a713ee" providerId="ADAL" clId="{9706D415-2DA0-4D00-90B6-E46BF852F024}" dt="2023-03-16T12:49:25.666" v="782" actId="1038"/>
          <ac:spMkLst>
            <pc:docMk/>
            <pc:sldMk cId="2278995086" sldId="729"/>
            <ac:spMk id="3662" creationId="{00000000-0008-0000-0300-00001A040000}"/>
          </ac:spMkLst>
        </pc:spChg>
        <pc:spChg chg="mod">
          <ac:chgData name="Schjold, Hanne Røvig" userId="72e82339-bab0-442f-8ca6-e6f386a713ee" providerId="ADAL" clId="{9706D415-2DA0-4D00-90B6-E46BF852F024}" dt="2023-03-16T12:49:25.666" v="782" actId="1038"/>
          <ac:spMkLst>
            <pc:docMk/>
            <pc:sldMk cId="2278995086" sldId="729"/>
            <ac:spMk id="3663" creationId="{00000000-0008-0000-0300-00001B040000}"/>
          </ac:spMkLst>
        </pc:spChg>
        <pc:spChg chg="mod">
          <ac:chgData name="Schjold, Hanne Røvig" userId="72e82339-bab0-442f-8ca6-e6f386a713ee" providerId="ADAL" clId="{9706D415-2DA0-4D00-90B6-E46BF852F024}" dt="2023-03-16T12:49:25.666" v="782" actId="1038"/>
          <ac:spMkLst>
            <pc:docMk/>
            <pc:sldMk cId="2278995086" sldId="729"/>
            <ac:spMk id="3664" creationId="{00000000-0008-0000-0300-00001C040000}"/>
          </ac:spMkLst>
        </pc:spChg>
        <pc:spChg chg="mod">
          <ac:chgData name="Schjold, Hanne Røvig" userId="72e82339-bab0-442f-8ca6-e6f386a713ee" providerId="ADAL" clId="{9706D415-2DA0-4D00-90B6-E46BF852F024}" dt="2023-03-16T12:49:25.666" v="782" actId="1038"/>
          <ac:spMkLst>
            <pc:docMk/>
            <pc:sldMk cId="2278995086" sldId="729"/>
            <ac:spMk id="3665" creationId="{00000000-0008-0000-0300-00001D040000}"/>
          </ac:spMkLst>
        </pc:spChg>
        <pc:spChg chg="mod">
          <ac:chgData name="Schjold, Hanne Røvig" userId="72e82339-bab0-442f-8ca6-e6f386a713ee" providerId="ADAL" clId="{9706D415-2DA0-4D00-90B6-E46BF852F024}" dt="2023-03-16T12:49:25.666" v="782" actId="1038"/>
          <ac:spMkLst>
            <pc:docMk/>
            <pc:sldMk cId="2278995086" sldId="729"/>
            <ac:spMk id="3666" creationId="{00000000-0008-0000-0300-00001E040000}"/>
          </ac:spMkLst>
        </pc:spChg>
        <pc:spChg chg="mod">
          <ac:chgData name="Schjold, Hanne Røvig" userId="72e82339-bab0-442f-8ca6-e6f386a713ee" providerId="ADAL" clId="{9706D415-2DA0-4D00-90B6-E46BF852F024}" dt="2023-03-16T12:49:25.666" v="782" actId="1038"/>
          <ac:spMkLst>
            <pc:docMk/>
            <pc:sldMk cId="2278995086" sldId="729"/>
            <ac:spMk id="3667" creationId="{00000000-0008-0000-0300-00001F040000}"/>
          </ac:spMkLst>
        </pc:spChg>
        <pc:spChg chg="mod">
          <ac:chgData name="Schjold, Hanne Røvig" userId="72e82339-bab0-442f-8ca6-e6f386a713ee" providerId="ADAL" clId="{9706D415-2DA0-4D00-90B6-E46BF852F024}" dt="2023-03-16T12:49:25.666" v="782" actId="1038"/>
          <ac:spMkLst>
            <pc:docMk/>
            <pc:sldMk cId="2278995086" sldId="729"/>
            <ac:spMk id="3668" creationId="{00000000-0008-0000-0300-000020040000}"/>
          </ac:spMkLst>
        </pc:spChg>
        <pc:spChg chg="mod">
          <ac:chgData name="Schjold, Hanne Røvig" userId="72e82339-bab0-442f-8ca6-e6f386a713ee" providerId="ADAL" clId="{9706D415-2DA0-4D00-90B6-E46BF852F024}" dt="2023-03-16T12:49:25.666" v="782" actId="1038"/>
          <ac:spMkLst>
            <pc:docMk/>
            <pc:sldMk cId="2278995086" sldId="729"/>
            <ac:spMk id="3669" creationId="{00000000-0008-0000-0300-000021040000}"/>
          </ac:spMkLst>
        </pc:spChg>
        <pc:spChg chg="mod">
          <ac:chgData name="Schjold, Hanne Røvig" userId="72e82339-bab0-442f-8ca6-e6f386a713ee" providerId="ADAL" clId="{9706D415-2DA0-4D00-90B6-E46BF852F024}" dt="2023-03-16T12:49:25.666" v="782" actId="1038"/>
          <ac:spMkLst>
            <pc:docMk/>
            <pc:sldMk cId="2278995086" sldId="729"/>
            <ac:spMk id="3670" creationId="{00000000-0008-0000-0300-000022040000}"/>
          </ac:spMkLst>
        </pc:spChg>
        <pc:spChg chg="mod">
          <ac:chgData name="Schjold, Hanne Røvig" userId="72e82339-bab0-442f-8ca6-e6f386a713ee" providerId="ADAL" clId="{9706D415-2DA0-4D00-90B6-E46BF852F024}" dt="2023-03-16T12:49:25.666" v="782" actId="1038"/>
          <ac:spMkLst>
            <pc:docMk/>
            <pc:sldMk cId="2278995086" sldId="729"/>
            <ac:spMk id="3671" creationId="{00000000-0008-0000-0300-000023040000}"/>
          </ac:spMkLst>
        </pc:spChg>
        <pc:spChg chg="mod">
          <ac:chgData name="Schjold, Hanne Røvig" userId="72e82339-bab0-442f-8ca6-e6f386a713ee" providerId="ADAL" clId="{9706D415-2DA0-4D00-90B6-E46BF852F024}" dt="2023-03-16T12:49:25.666" v="782" actId="1038"/>
          <ac:spMkLst>
            <pc:docMk/>
            <pc:sldMk cId="2278995086" sldId="729"/>
            <ac:spMk id="3672" creationId="{00000000-0008-0000-0300-000024040000}"/>
          </ac:spMkLst>
        </pc:spChg>
        <pc:spChg chg="mod">
          <ac:chgData name="Schjold, Hanne Røvig" userId="72e82339-bab0-442f-8ca6-e6f386a713ee" providerId="ADAL" clId="{9706D415-2DA0-4D00-90B6-E46BF852F024}" dt="2023-03-16T12:49:25.666" v="782" actId="1038"/>
          <ac:spMkLst>
            <pc:docMk/>
            <pc:sldMk cId="2278995086" sldId="729"/>
            <ac:spMk id="3673" creationId="{00000000-0008-0000-0300-000025040000}"/>
          </ac:spMkLst>
        </pc:spChg>
        <pc:spChg chg="mod">
          <ac:chgData name="Schjold, Hanne Røvig" userId="72e82339-bab0-442f-8ca6-e6f386a713ee" providerId="ADAL" clId="{9706D415-2DA0-4D00-90B6-E46BF852F024}" dt="2023-03-16T12:49:25.666" v="782" actId="1038"/>
          <ac:spMkLst>
            <pc:docMk/>
            <pc:sldMk cId="2278995086" sldId="729"/>
            <ac:spMk id="3674" creationId="{00000000-0008-0000-0300-000026040000}"/>
          </ac:spMkLst>
        </pc:spChg>
        <pc:spChg chg="mod">
          <ac:chgData name="Schjold, Hanne Røvig" userId="72e82339-bab0-442f-8ca6-e6f386a713ee" providerId="ADAL" clId="{9706D415-2DA0-4D00-90B6-E46BF852F024}" dt="2023-03-16T12:49:25.666" v="782" actId="1038"/>
          <ac:spMkLst>
            <pc:docMk/>
            <pc:sldMk cId="2278995086" sldId="729"/>
            <ac:spMk id="3675" creationId="{00000000-0008-0000-0300-000027040000}"/>
          </ac:spMkLst>
        </pc:spChg>
        <pc:spChg chg="mod">
          <ac:chgData name="Schjold, Hanne Røvig" userId="72e82339-bab0-442f-8ca6-e6f386a713ee" providerId="ADAL" clId="{9706D415-2DA0-4D00-90B6-E46BF852F024}" dt="2023-03-16T12:49:25.666" v="782" actId="1038"/>
          <ac:spMkLst>
            <pc:docMk/>
            <pc:sldMk cId="2278995086" sldId="729"/>
            <ac:spMk id="3676" creationId="{00000000-0008-0000-0300-000028040000}"/>
          </ac:spMkLst>
        </pc:spChg>
        <pc:spChg chg="mod">
          <ac:chgData name="Schjold, Hanne Røvig" userId="72e82339-bab0-442f-8ca6-e6f386a713ee" providerId="ADAL" clId="{9706D415-2DA0-4D00-90B6-E46BF852F024}" dt="2023-03-16T12:49:25.666" v="782" actId="1038"/>
          <ac:spMkLst>
            <pc:docMk/>
            <pc:sldMk cId="2278995086" sldId="729"/>
            <ac:spMk id="3677" creationId="{00000000-0008-0000-0300-000029040000}"/>
          </ac:spMkLst>
        </pc:spChg>
        <pc:spChg chg="mod">
          <ac:chgData name="Schjold, Hanne Røvig" userId="72e82339-bab0-442f-8ca6-e6f386a713ee" providerId="ADAL" clId="{9706D415-2DA0-4D00-90B6-E46BF852F024}" dt="2023-03-16T12:49:25.666" v="782" actId="1038"/>
          <ac:spMkLst>
            <pc:docMk/>
            <pc:sldMk cId="2278995086" sldId="729"/>
            <ac:spMk id="3678" creationId="{00000000-0008-0000-0300-00002A040000}"/>
          </ac:spMkLst>
        </pc:spChg>
        <pc:spChg chg="mod">
          <ac:chgData name="Schjold, Hanne Røvig" userId="72e82339-bab0-442f-8ca6-e6f386a713ee" providerId="ADAL" clId="{9706D415-2DA0-4D00-90B6-E46BF852F024}" dt="2023-03-16T12:49:25.666" v="782" actId="1038"/>
          <ac:spMkLst>
            <pc:docMk/>
            <pc:sldMk cId="2278995086" sldId="729"/>
            <ac:spMk id="3679" creationId="{00000000-0008-0000-0300-00002B040000}"/>
          </ac:spMkLst>
        </pc:spChg>
        <pc:spChg chg="mod">
          <ac:chgData name="Schjold, Hanne Røvig" userId="72e82339-bab0-442f-8ca6-e6f386a713ee" providerId="ADAL" clId="{9706D415-2DA0-4D00-90B6-E46BF852F024}" dt="2023-03-16T12:49:25.666" v="782" actId="1038"/>
          <ac:spMkLst>
            <pc:docMk/>
            <pc:sldMk cId="2278995086" sldId="729"/>
            <ac:spMk id="3680" creationId="{00000000-0008-0000-0300-00002C040000}"/>
          </ac:spMkLst>
        </pc:spChg>
        <pc:spChg chg="mod">
          <ac:chgData name="Schjold, Hanne Røvig" userId="72e82339-bab0-442f-8ca6-e6f386a713ee" providerId="ADAL" clId="{9706D415-2DA0-4D00-90B6-E46BF852F024}" dt="2023-03-16T12:49:25.666" v="782" actId="1038"/>
          <ac:spMkLst>
            <pc:docMk/>
            <pc:sldMk cId="2278995086" sldId="729"/>
            <ac:spMk id="3681" creationId="{00000000-0008-0000-0300-00002D040000}"/>
          </ac:spMkLst>
        </pc:spChg>
        <pc:spChg chg="mod">
          <ac:chgData name="Schjold, Hanne Røvig" userId="72e82339-bab0-442f-8ca6-e6f386a713ee" providerId="ADAL" clId="{9706D415-2DA0-4D00-90B6-E46BF852F024}" dt="2023-03-16T12:49:25.666" v="782" actId="1038"/>
          <ac:spMkLst>
            <pc:docMk/>
            <pc:sldMk cId="2278995086" sldId="729"/>
            <ac:spMk id="3682" creationId="{00000000-0008-0000-0300-00002E040000}"/>
          </ac:spMkLst>
        </pc:spChg>
        <pc:spChg chg="mod">
          <ac:chgData name="Schjold, Hanne Røvig" userId="72e82339-bab0-442f-8ca6-e6f386a713ee" providerId="ADAL" clId="{9706D415-2DA0-4D00-90B6-E46BF852F024}" dt="2023-03-16T12:49:25.666" v="782" actId="1038"/>
          <ac:spMkLst>
            <pc:docMk/>
            <pc:sldMk cId="2278995086" sldId="729"/>
            <ac:spMk id="3683" creationId="{00000000-0008-0000-0300-00002F040000}"/>
          </ac:spMkLst>
        </pc:spChg>
        <pc:spChg chg="mod">
          <ac:chgData name="Schjold, Hanne Røvig" userId="72e82339-bab0-442f-8ca6-e6f386a713ee" providerId="ADAL" clId="{9706D415-2DA0-4D00-90B6-E46BF852F024}" dt="2023-03-16T12:49:25.666" v="782" actId="1038"/>
          <ac:spMkLst>
            <pc:docMk/>
            <pc:sldMk cId="2278995086" sldId="729"/>
            <ac:spMk id="3684" creationId="{00000000-0008-0000-0300-000030040000}"/>
          </ac:spMkLst>
        </pc:spChg>
        <pc:spChg chg="mod">
          <ac:chgData name="Schjold, Hanne Røvig" userId="72e82339-bab0-442f-8ca6-e6f386a713ee" providerId="ADAL" clId="{9706D415-2DA0-4D00-90B6-E46BF852F024}" dt="2023-03-16T12:49:25.666" v="782" actId="1038"/>
          <ac:spMkLst>
            <pc:docMk/>
            <pc:sldMk cId="2278995086" sldId="729"/>
            <ac:spMk id="3685" creationId="{00000000-0008-0000-0300-000031040000}"/>
          </ac:spMkLst>
        </pc:spChg>
        <pc:spChg chg="mod">
          <ac:chgData name="Schjold, Hanne Røvig" userId="72e82339-bab0-442f-8ca6-e6f386a713ee" providerId="ADAL" clId="{9706D415-2DA0-4D00-90B6-E46BF852F024}" dt="2023-03-16T12:49:25.666" v="782" actId="1038"/>
          <ac:spMkLst>
            <pc:docMk/>
            <pc:sldMk cId="2278995086" sldId="729"/>
            <ac:spMk id="3686" creationId="{00000000-0008-0000-0300-000032040000}"/>
          </ac:spMkLst>
        </pc:spChg>
        <pc:spChg chg="mod">
          <ac:chgData name="Schjold, Hanne Røvig" userId="72e82339-bab0-442f-8ca6-e6f386a713ee" providerId="ADAL" clId="{9706D415-2DA0-4D00-90B6-E46BF852F024}" dt="2023-03-16T12:49:25.666" v="782" actId="1038"/>
          <ac:spMkLst>
            <pc:docMk/>
            <pc:sldMk cId="2278995086" sldId="729"/>
            <ac:spMk id="3687" creationId="{00000000-0008-0000-0300-000033040000}"/>
          </ac:spMkLst>
        </pc:spChg>
        <pc:spChg chg="mod">
          <ac:chgData name="Schjold, Hanne Røvig" userId="72e82339-bab0-442f-8ca6-e6f386a713ee" providerId="ADAL" clId="{9706D415-2DA0-4D00-90B6-E46BF852F024}" dt="2023-03-16T12:49:25.666" v="782" actId="1038"/>
          <ac:spMkLst>
            <pc:docMk/>
            <pc:sldMk cId="2278995086" sldId="729"/>
            <ac:spMk id="3688" creationId="{00000000-0008-0000-0300-000034040000}"/>
          </ac:spMkLst>
        </pc:spChg>
        <pc:spChg chg="mod">
          <ac:chgData name="Schjold, Hanne Røvig" userId="72e82339-bab0-442f-8ca6-e6f386a713ee" providerId="ADAL" clId="{9706D415-2DA0-4D00-90B6-E46BF852F024}" dt="2023-03-16T12:49:25.666" v="782" actId="1038"/>
          <ac:spMkLst>
            <pc:docMk/>
            <pc:sldMk cId="2278995086" sldId="729"/>
            <ac:spMk id="3689" creationId="{00000000-0008-0000-0300-000035040000}"/>
          </ac:spMkLst>
        </pc:spChg>
        <pc:spChg chg="mod">
          <ac:chgData name="Schjold, Hanne Røvig" userId="72e82339-bab0-442f-8ca6-e6f386a713ee" providerId="ADAL" clId="{9706D415-2DA0-4D00-90B6-E46BF852F024}" dt="2023-03-16T12:49:25.666" v="782" actId="1038"/>
          <ac:spMkLst>
            <pc:docMk/>
            <pc:sldMk cId="2278995086" sldId="729"/>
            <ac:spMk id="3690" creationId="{00000000-0008-0000-0300-000036040000}"/>
          </ac:spMkLst>
        </pc:spChg>
        <pc:spChg chg="mod">
          <ac:chgData name="Schjold, Hanne Røvig" userId="72e82339-bab0-442f-8ca6-e6f386a713ee" providerId="ADAL" clId="{9706D415-2DA0-4D00-90B6-E46BF852F024}" dt="2023-03-16T12:49:25.666" v="782" actId="1038"/>
          <ac:spMkLst>
            <pc:docMk/>
            <pc:sldMk cId="2278995086" sldId="729"/>
            <ac:spMk id="3691" creationId="{00000000-0008-0000-0300-000037040000}"/>
          </ac:spMkLst>
        </pc:spChg>
        <pc:spChg chg="mod">
          <ac:chgData name="Schjold, Hanne Røvig" userId="72e82339-bab0-442f-8ca6-e6f386a713ee" providerId="ADAL" clId="{9706D415-2DA0-4D00-90B6-E46BF852F024}" dt="2023-03-16T12:49:25.666" v="782" actId="1038"/>
          <ac:spMkLst>
            <pc:docMk/>
            <pc:sldMk cId="2278995086" sldId="729"/>
            <ac:spMk id="3692" creationId="{00000000-0008-0000-0300-000038040000}"/>
          </ac:spMkLst>
        </pc:spChg>
        <pc:spChg chg="mod">
          <ac:chgData name="Schjold, Hanne Røvig" userId="72e82339-bab0-442f-8ca6-e6f386a713ee" providerId="ADAL" clId="{9706D415-2DA0-4D00-90B6-E46BF852F024}" dt="2023-03-16T12:49:25.666" v="782" actId="1038"/>
          <ac:spMkLst>
            <pc:docMk/>
            <pc:sldMk cId="2278995086" sldId="729"/>
            <ac:spMk id="3693" creationId="{00000000-0008-0000-0300-000039040000}"/>
          </ac:spMkLst>
        </pc:spChg>
        <pc:spChg chg="mod">
          <ac:chgData name="Schjold, Hanne Røvig" userId="72e82339-bab0-442f-8ca6-e6f386a713ee" providerId="ADAL" clId="{9706D415-2DA0-4D00-90B6-E46BF852F024}" dt="2023-03-16T12:49:25.666" v="782" actId="1038"/>
          <ac:spMkLst>
            <pc:docMk/>
            <pc:sldMk cId="2278995086" sldId="729"/>
            <ac:spMk id="3694" creationId="{00000000-0008-0000-0300-00003A040000}"/>
          </ac:spMkLst>
        </pc:spChg>
        <pc:spChg chg="mod">
          <ac:chgData name="Schjold, Hanne Røvig" userId="72e82339-bab0-442f-8ca6-e6f386a713ee" providerId="ADAL" clId="{9706D415-2DA0-4D00-90B6-E46BF852F024}" dt="2023-03-16T12:49:25.666" v="782" actId="1038"/>
          <ac:spMkLst>
            <pc:docMk/>
            <pc:sldMk cId="2278995086" sldId="729"/>
            <ac:spMk id="3695" creationId="{00000000-0008-0000-0300-00003B040000}"/>
          </ac:spMkLst>
        </pc:spChg>
        <pc:spChg chg="mod">
          <ac:chgData name="Schjold, Hanne Røvig" userId="72e82339-bab0-442f-8ca6-e6f386a713ee" providerId="ADAL" clId="{9706D415-2DA0-4D00-90B6-E46BF852F024}" dt="2023-03-16T12:49:25.666" v="782" actId="1038"/>
          <ac:spMkLst>
            <pc:docMk/>
            <pc:sldMk cId="2278995086" sldId="729"/>
            <ac:spMk id="3696" creationId="{00000000-0008-0000-0300-00003C040000}"/>
          </ac:spMkLst>
        </pc:spChg>
        <pc:spChg chg="mod">
          <ac:chgData name="Schjold, Hanne Røvig" userId="72e82339-bab0-442f-8ca6-e6f386a713ee" providerId="ADAL" clId="{9706D415-2DA0-4D00-90B6-E46BF852F024}" dt="2023-03-16T12:49:25.666" v="782" actId="1038"/>
          <ac:spMkLst>
            <pc:docMk/>
            <pc:sldMk cId="2278995086" sldId="729"/>
            <ac:spMk id="3697" creationId="{00000000-0008-0000-0300-00003D040000}"/>
          </ac:spMkLst>
        </pc:spChg>
        <pc:spChg chg="mod">
          <ac:chgData name="Schjold, Hanne Røvig" userId="72e82339-bab0-442f-8ca6-e6f386a713ee" providerId="ADAL" clId="{9706D415-2DA0-4D00-90B6-E46BF852F024}" dt="2023-03-16T12:49:25.666" v="782" actId="1038"/>
          <ac:spMkLst>
            <pc:docMk/>
            <pc:sldMk cId="2278995086" sldId="729"/>
            <ac:spMk id="3698" creationId="{00000000-0008-0000-0300-00003E040000}"/>
          </ac:spMkLst>
        </pc:spChg>
        <pc:spChg chg="mod">
          <ac:chgData name="Schjold, Hanne Røvig" userId="72e82339-bab0-442f-8ca6-e6f386a713ee" providerId="ADAL" clId="{9706D415-2DA0-4D00-90B6-E46BF852F024}" dt="2023-03-16T12:49:25.666" v="782" actId="1038"/>
          <ac:spMkLst>
            <pc:docMk/>
            <pc:sldMk cId="2278995086" sldId="729"/>
            <ac:spMk id="3699" creationId="{00000000-0008-0000-0300-00003F040000}"/>
          </ac:spMkLst>
        </pc:spChg>
        <pc:spChg chg="mod">
          <ac:chgData name="Schjold, Hanne Røvig" userId="72e82339-bab0-442f-8ca6-e6f386a713ee" providerId="ADAL" clId="{9706D415-2DA0-4D00-90B6-E46BF852F024}" dt="2023-03-16T12:49:25.666" v="782" actId="1038"/>
          <ac:spMkLst>
            <pc:docMk/>
            <pc:sldMk cId="2278995086" sldId="729"/>
            <ac:spMk id="3700" creationId="{00000000-0008-0000-0300-000040040000}"/>
          </ac:spMkLst>
        </pc:spChg>
        <pc:spChg chg="mod">
          <ac:chgData name="Schjold, Hanne Røvig" userId="72e82339-bab0-442f-8ca6-e6f386a713ee" providerId="ADAL" clId="{9706D415-2DA0-4D00-90B6-E46BF852F024}" dt="2023-03-16T12:49:25.666" v="782" actId="1038"/>
          <ac:spMkLst>
            <pc:docMk/>
            <pc:sldMk cId="2278995086" sldId="729"/>
            <ac:spMk id="3701" creationId="{00000000-0008-0000-0300-000041040000}"/>
          </ac:spMkLst>
        </pc:spChg>
        <pc:spChg chg="mod">
          <ac:chgData name="Schjold, Hanne Røvig" userId="72e82339-bab0-442f-8ca6-e6f386a713ee" providerId="ADAL" clId="{9706D415-2DA0-4D00-90B6-E46BF852F024}" dt="2023-03-16T12:49:25.666" v="782" actId="1038"/>
          <ac:spMkLst>
            <pc:docMk/>
            <pc:sldMk cId="2278995086" sldId="729"/>
            <ac:spMk id="3702" creationId="{00000000-0008-0000-0300-000042040000}"/>
          </ac:spMkLst>
        </pc:spChg>
        <pc:spChg chg="mod">
          <ac:chgData name="Schjold, Hanne Røvig" userId="72e82339-bab0-442f-8ca6-e6f386a713ee" providerId="ADAL" clId="{9706D415-2DA0-4D00-90B6-E46BF852F024}" dt="2023-03-16T12:49:25.666" v="782" actId="1038"/>
          <ac:spMkLst>
            <pc:docMk/>
            <pc:sldMk cId="2278995086" sldId="729"/>
            <ac:spMk id="3703" creationId="{00000000-0008-0000-0300-000043040000}"/>
          </ac:spMkLst>
        </pc:spChg>
        <pc:spChg chg="mod">
          <ac:chgData name="Schjold, Hanne Røvig" userId="72e82339-bab0-442f-8ca6-e6f386a713ee" providerId="ADAL" clId="{9706D415-2DA0-4D00-90B6-E46BF852F024}" dt="2023-03-16T12:49:25.666" v="782" actId="1038"/>
          <ac:spMkLst>
            <pc:docMk/>
            <pc:sldMk cId="2278995086" sldId="729"/>
            <ac:spMk id="3704" creationId="{00000000-0008-0000-0300-000044040000}"/>
          </ac:spMkLst>
        </pc:spChg>
        <pc:spChg chg="mod">
          <ac:chgData name="Schjold, Hanne Røvig" userId="72e82339-bab0-442f-8ca6-e6f386a713ee" providerId="ADAL" clId="{9706D415-2DA0-4D00-90B6-E46BF852F024}" dt="2023-03-16T12:49:25.666" v="782" actId="1038"/>
          <ac:spMkLst>
            <pc:docMk/>
            <pc:sldMk cId="2278995086" sldId="729"/>
            <ac:spMk id="3705" creationId="{00000000-0008-0000-0300-000045040000}"/>
          </ac:spMkLst>
        </pc:spChg>
        <pc:spChg chg="mod">
          <ac:chgData name="Schjold, Hanne Røvig" userId="72e82339-bab0-442f-8ca6-e6f386a713ee" providerId="ADAL" clId="{9706D415-2DA0-4D00-90B6-E46BF852F024}" dt="2023-03-16T12:49:25.666" v="782" actId="1038"/>
          <ac:spMkLst>
            <pc:docMk/>
            <pc:sldMk cId="2278995086" sldId="729"/>
            <ac:spMk id="3706" creationId="{00000000-0008-0000-0300-000046040000}"/>
          </ac:spMkLst>
        </pc:spChg>
        <pc:spChg chg="mod">
          <ac:chgData name="Schjold, Hanne Røvig" userId="72e82339-bab0-442f-8ca6-e6f386a713ee" providerId="ADAL" clId="{9706D415-2DA0-4D00-90B6-E46BF852F024}" dt="2023-03-16T12:49:25.666" v="782" actId="1038"/>
          <ac:spMkLst>
            <pc:docMk/>
            <pc:sldMk cId="2278995086" sldId="729"/>
            <ac:spMk id="3707" creationId="{00000000-0008-0000-0300-000047040000}"/>
          </ac:spMkLst>
        </pc:spChg>
        <pc:spChg chg="mod">
          <ac:chgData name="Schjold, Hanne Røvig" userId="72e82339-bab0-442f-8ca6-e6f386a713ee" providerId="ADAL" clId="{9706D415-2DA0-4D00-90B6-E46BF852F024}" dt="2023-03-16T12:49:25.666" v="782" actId="1038"/>
          <ac:spMkLst>
            <pc:docMk/>
            <pc:sldMk cId="2278995086" sldId="729"/>
            <ac:spMk id="3708" creationId="{00000000-0008-0000-0300-000048040000}"/>
          </ac:spMkLst>
        </pc:spChg>
        <pc:spChg chg="mod">
          <ac:chgData name="Schjold, Hanne Røvig" userId="72e82339-bab0-442f-8ca6-e6f386a713ee" providerId="ADAL" clId="{9706D415-2DA0-4D00-90B6-E46BF852F024}" dt="2023-03-16T12:49:25.666" v="782" actId="1038"/>
          <ac:spMkLst>
            <pc:docMk/>
            <pc:sldMk cId="2278995086" sldId="729"/>
            <ac:spMk id="3709" creationId="{00000000-0008-0000-0300-000049040000}"/>
          </ac:spMkLst>
        </pc:spChg>
        <pc:spChg chg="mod">
          <ac:chgData name="Schjold, Hanne Røvig" userId="72e82339-bab0-442f-8ca6-e6f386a713ee" providerId="ADAL" clId="{9706D415-2DA0-4D00-90B6-E46BF852F024}" dt="2023-03-16T12:49:25.666" v="782" actId="1038"/>
          <ac:spMkLst>
            <pc:docMk/>
            <pc:sldMk cId="2278995086" sldId="729"/>
            <ac:spMk id="3710" creationId="{00000000-0008-0000-0300-00004A040000}"/>
          </ac:spMkLst>
        </pc:spChg>
        <pc:spChg chg="mod">
          <ac:chgData name="Schjold, Hanne Røvig" userId="72e82339-bab0-442f-8ca6-e6f386a713ee" providerId="ADAL" clId="{9706D415-2DA0-4D00-90B6-E46BF852F024}" dt="2023-03-16T12:49:25.666" v="782" actId="1038"/>
          <ac:spMkLst>
            <pc:docMk/>
            <pc:sldMk cId="2278995086" sldId="729"/>
            <ac:spMk id="3711" creationId="{00000000-0008-0000-0300-00004B040000}"/>
          </ac:spMkLst>
        </pc:spChg>
        <pc:spChg chg="mod">
          <ac:chgData name="Schjold, Hanne Røvig" userId="72e82339-bab0-442f-8ca6-e6f386a713ee" providerId="ADAL" clId="{9706D415-2DA0-4D00-90B6-E46BF852F024}" dt="2023-03-16T12:49:25.666" v="782" actId="1038"/>
          <ac:spMkLst>
            <pc:docMk/>
            <pc:sldMk cId="2278995086" sldId="729"/>
            <ac:spMk id="3712" creationId="{00000000-0008-0000-0300-00004C040000}"/>
          </ac:spMkLst>
        </pc:spChg>
        <pc:spChg chg="mod">
          <ac:chgData name="Schjold, Hanne Røvig" userId="72e82339-bab0-442f-8ca6-e6f386a713ee" providerId="ADAL" clId="{9706D415-2DA0-4D00-90B6-E46BF852F024}" dt="2023-03-16T12:49:25.666" v="782" actId="1038"/>
          <ac:spMkLst>
            <pc:docMk/>
            <pc:sldMk cId="2278995086" sldId="729"/>
            <ac:spMk id="3713" creationId="{00000000-0008-0000-0300-00004D040000}"/>
          </ac:spMkLst>
        </pc:spChg>
        <pc:spChg chg="mod">
          <ac:chgData name="Schjold, Hanne Røvig" userId="72e82339-bab0-442f-8ca6-e6f386a713ee" providerId="ADAL" clId="{9706D415-2DA0-4D00-90B6-E46BF852F024}" dt="2023-03-16T12:49:25.666" v="782" actId="1038"/>
          <ac:spMkLst>
            <pc:docMk/>
            <pc:sldMk cId="2278995086" sldId="729"/>
            <ac:spMk id="3714" creationId="{00000000-0008-0000-0300-00004E040000}"/>
          </ac:spMkLst>
        </pc:spChg>
        <pc:spChg chg="mod">
          <ac:chgData name="Schjold, Hanne Røvig" userId="72e82339-bab0-442f-8ca6-e6f386a713ee" providerId="ADAL" clId="{9706D415-2DA0-4D00-90B6-E46BF852F024}" dt="2023-03-16T12:49:25.666" v="782" actId="1038"/>
          <ac:spMkLst>
            <pc:docMk/>
            <pc:sldMk cId="2278995086" sldId="729"/>
            <ac:spMk id="3715" creationId="{00000000-0008-0000-0300-00004F040000}"/>
          </ac:spMkLst>
        </pc:spChg>
        <pc:spChg chg="mod">
          <ac:chgData name="Schjold, Hanne Røvig" userId="72e82339-bab0-442f-8ca6-e6f386a713ee" providerId="ADAL" clId="{9706D415-2DA0-4D00-90B6-E46BF852F024}" dt="2023-03-16T12:49:25.666" v="782" actId="1038"/>
          <ac:spMkLst>
            <pc:docMk/>
            <pc:sldMk cId="2278995086" sldId="729"/>
            <ac:spMk id="3716" creationId="{00000000-0008-0000-0300-000050040000}"/>
          </ac:spMkLst>
        </pc:spChg>
        <pc:spChg chg="mod">
          <ac:chgData name="Schjold, Hanne Røvig" userId="72e82339-bab0-442f-8ca6-e6f386a713ee" providerId="ADAL" clId="{9706D415-2DA0-4D00-90B6-E46BF852F024}" dt="2023-03-16T12:49:25.666" v="782" actId="1038"/>
          <ac:spMkLst>
            <pc:docMk/>
            <pc:sldMk cId="2278995086" sldId="729"/>
            <ac:spMk id="3717" creationId="{00000000-0008-0000-0300-000051040000}"/>
          </ac:spMkLst>
        </pc:spChg>
        <pc:spChg chg="mod">
          <ac:chgData name="Schjold, Hanne Røvig" userId="72e82339-bab0-442f-8ca6-e6f386a713ee" providerId="ADAL" clId="{9706D415-2DA0-4D00-90B6-E46BF852F024}" dt="2023-03-16T12:49:25.666" v="782" actId="1038"/>
          <ac:spMkLst>
            <pc:docMk/>
            <pc:sldMk cId="2278995086" sldId="729"/>
            <ac:spMk id="3718" creationId="{00000000-0008-0000-0300-000052040000}"/>
          </ac:spMkLst>
        </pc:spChg>
        <pc:spChg chg="mod">
          <ac:chgData name="Schjold, Hanne Røvig" userId="72e82339-bab0-442f-8ca6-e6f386a713ee" providerId="ADAL" clId="{9706D415-2DA0-4D00-90B6-E46BF852F024}" dt="2023-03-16T12:49:25.666" v="782" actId="1038"/>
          <ac:spMkLst>
            <pc:docMk/>
            <pc:sldMk cId="2278995086" sldId="729"/>
            <ac:spMk id="3719" creationId="{00000000-0008-0000-0300-000053040000}"/>
          </ac:spMkLst>
        </pc:spChg>
        <pc:spChg chg="mod">
          <ac:chgData name="Schjold, Hanne Røvig" userId="72e82339-bab0-442f-8ca6-e6f386a713ee" providerId="ADAL" clId="{9706D415-2DA0-4D00-90B6-E46BF852F024}" dt="2023-03-16T12:49:25.666" v="782" actId="1038"/>
          <ac:spMkLst>
            <pc:docMk/>
            <pc:sldMk cId="2278995086" sldId="729"/>
            <ac:spMk id="3720" creationId="{00000000-0008-0000-0300-000054040000}"/>
          </ac:spMkLst>
        </pc:spChg>
        <pc:spChg chg="mod">
          <ac:chgData name="Schjold, Hanne Røvig" userId="72e82339-bab0-442f-8ca6-e6f386a713ee" providerId="ADAL" clId="{9706D415-2DA0-4D00-90B6-E46BF852F024}" dt="2023-03-16T12:49:25.666" v="782" actId="1038"/>
          <ac:spMkLst>
            <pc:docMk/>
            <pc:sldMk cId="2278995086" sldId="729"/>
            <ac:spMk id="3721" creationId="{00000000-0008-0000-0300-000055040000}"/>
          </ac:spMkLst>
        </pc:spChg>
        <pc:spChg chg="mod">
          <ac:chgData name="Schjold, Hanne Røvig" userId="72e82339-bab0-442f-8ca6-e6f386a713ee" providerId="ADAL" clId="{9706D415-2DA0-4D00-90B6-E46BF852F024}" dt="2023-03-16T12:49:25.666" v="782" actId="1038"/>
          <ac:spMkLst>
            <pc:docMk/>
            <pc:sldMk cId="2278995086" sldId="729"/>
            <ac:spMk id="3722" creationId="{00000000-0008-0000-0300-000056040000}"/>
          </ac:spMkLst>
        </pc:spChg>
        <pc:spChg chg="mod">
          <ac:chgData name="Schjold, Hanne Røvig" userId="72e82339-bab0-442f-8ca6-e6f386a713ee" providerId="ADAL" clId="{9706D415-2DA0-4D00-90B6-E46BF852F024}" dt="2023-03-16T12:49:25.666" v="782" actId="1038"/>
          <ac:spMkLst>
            <pc:docMk/>
            <pc:sldMk cId="2278995086" sldId="729"/>
            <ac:spMk id="3723" creationId="{00000000-0008-0000-0300-000057040000}"/>
          </ac:spMkLst>
        </pc:spChg>
        <pc:spChg chg="mod">
          <ac:chgData name="Schjold, Hanne Røvig" userId="72e82339-bab0-442f-8ca6-e6f386a713ee" providerId="ADAL" clId="{9706D415-2DA0-4D00-90B6-E46BF852F024}" dt="2023-03-16T12:49:25.666" v="782" actId="1038"/>
          <ac:spMkLst>
            <pc:docMk/>
            <pc:sldMk cId="2278995086" sldId="729"/>
            <ac:spMk id="3724" creationId="{00000000-0008-0000-0300-000058040000}"/>
          </ac:spMkLst>
        </pc:spChg>
        <pc:spChg chg="mod">
          <ac:chgData name="Schjold, Hanne Røvig" userId="72e82339-bab0-442f-8ca6-e6f386a713ee" providerId="ADAL" clId="{9706D415-2DA0-4D00-90B6-E46BF852F024}" dt="2023-03-16T12:49:25.666" v="782" actId="1038"/>
          <ac:spMkLst>
            <pc:docMk/>
            <pc:sldMk cId="2278995086" sldId="729"/>
            <ac:spMk id="3725" creationId="{00000000-0008-0000-0300-000059040000}"/>
          </ac:spMkLst>
        </pc:spChg>
        <pc:spChg chg="mod">
          <ac:chgData name="Schjold, Hanne Røvig" userId="72e82339-bab0-442f-8ca6-e6f386a713ee" providerId="ADAL" clId="{9706D415-2DA0-4D00-90B6-E46BF852F024}" dt="2023-03-16T12:49:25.666" v="782" actId="1038"/>
          <ac:spMkLst>
            <pc:docMk/>
            <pc:sldMk cId="2278995086" sldId="729"/>
            <ac:spMk id="3726" creationId="{00000000-0008-0000-0300-00005A040000}"/>
          </ac:spMkLst>
        </pc:spChg>
        <pc:spChg chg="mod">
          <ac:chgData name="Schjold, Hanne Røvig" userId="72e82339-bab0-442f-8ca6-e6f386a713ee" providerId="ADAL" clId="{9706D415-2DA0-4D00-90B6-E46BF852F024}" dt="2023-03-16T12:49:25.666" v="782" actId="1038"/>
          <ac:spMkLst>
            <pc:docMk/>
            <pc:sldMk cId="2278995086" sldId="729"/>
            <ac:spMk id="3727" creationId="{00000000-0008-0000-0300-00005B040000}"/>
          </ac:spMkLst>
        </pc:spChg>
        <pc:spChg chg="mod">
          <ac:chgData name="Schjold, Hanne Røvig" userId="72e82339-bab0-442f-8ca6-e6f386a713ee" providerId="ADAL" clId="{9706D415-2DA0-4D00-90B6-E46BF852F024}" dt="2023-03-16T12:49:25.666" v="782" actId="1038"/>
          <ac:spMkLst>
            <pc:docMk/>
            <pc:sldMk cId="2278995086" sldId="729"/>
            <ac:spMk id="3728" creationId="{00000000-0008-0000-0300-00005C040000}"/>
          </ac:spMkLst>
        </pc:spChg>
        <pc:spChg chg="mod">
          <ac:chgData name="Schjold, Hanne Røvig" userId="72e82339-bab0-442f-8ca6-e6f386a713ee" providerId="ADAL" clId="{9706D415-2DA0-4D00-90B6-E46BF852F024}" dt="2023-03-16T12:49:25.666" v="782" actId="1038"/>
          <ac:spMkLst>
            <pc:docMk/>
            <pc:sldMk cId="2278995086" sldId="729"/>
            <ac:spMk id="3729" creationId="{00000000-0008-0000-0300-00005D040000}"/>
          </ac:spMkLst>
        </pc:spChg>
        <pc:spChg chg="mod">
          <ac:chgData name="Schjold, Hanne Røvig" userId="72e82339-bab0-442f-8ca6-e6f386a713ee" providerId="ADAL" clId="{9706D415-2DA0-4D00-90B6-E46BF852F024}" dt="2023-03-16T12:49:25.666" v="782" actId="1038"/>
          <ac:spMkLst>
            <pc:docMk/>
            <pc:sldMk cId="2278995086" sldId="729"/>
            <ac:spMk id="3730" creationId="{00000000-0008-0000-0300-00005E040000}"/>
          </ac:spMkLst>
        </pc:spChg>
        <pc:spChg chg="mod">
          <ac:chgData name="Schjold, Hanne Røvig" userId="72e82339-bab0-442f-8ca6-e6f386a713ee" providerId="ADAL" clId="{9706D415-2DA0-4D00-90B6-E46BF852F024}" dt="2023-03-16T12:49:25.666" v="782" actId="1038"/>
          <ac:spMkLst>
            <pc:docMk/>
            <pc:sldMk cId="2278995086" sldId="729"/>
            <ac:spMk id="3731" creationId="{00000000-0008-0000-0300-00005F040000}"/>
          </ac:spMkLst>
        </pc:spChg>
        <pc:spChg chg="mod">
          <ac:chgData name="Schjold, Hanne Røvig" userId="72e82339-bab0-442f-8ca6-e6f386a713ee" providerId="ADAL" clId="{9706D415-2DA0-4D00-90B6-E46BF852F024}" dt="2023-03-16T12:49:25.666" v="782" actId="1038"/>
          <ac:spMkLst>
            <pc:docMk/>
            <pc:sldMk cId="2278995086" sldId="729"/>
            <ac:spMk id="3732" creationId="{00000000-0008-0000-0300-000060040000}"/>
          </ac:spMkLst>
        </pc:spChg>
        <pc:spChg chg="mod">
          <ac:chgData name="Schjold, Hanne Røvig" userId="72e82339-bab0-442f-8ca6-e6f386a713ee" providerId="ADAL" clId="{9706D415-2DA0-4D00-90B6-E46BF852F024}" dt="2023-03-16T12:49:25.666" v="782" actId="1038"/>
          <ac:spMkLst>
            <pc:docMk/>
            <pc:sldMk cId="2278995086" sldId="729"/>
            <ac:spMk id="3733" creationId="{00000000-0008-0000-0300-000061040000}"/>
          </ac:spMkLst>
        </pc:spChg>
        <pc:spChg chg="mod">
          <ac:chgData name="Schjold, Hanne Røvig" userId="72e82339-bab0-442f-8ca6-e6f386a713ee" providerId="ADAL" clId="{9706D415-2DA0-4D00-90B6-E46BF852F024}" dt="2023-03-16T12:49:25.666" v="782" actId="1038"/>
          <ac:spMkLst>
            <pc:docMk/>
            <pc:sldMk cId="2278995086" sldId="729"/>
            <ac:spMk id="3734" creationId="{00000000-0008-0000-0300-000062040000}"/>
          </ac:spMkLst>
        </pc:spChg>
        <pc:spChg chg="mod">
          <ac:chgData name="Schjold, Hanne Røvig" userId="72e82339-bab0-442f-8ca6-e6f386a713ee" providerId="ADAL" clId="{9706D415-2DA0-4D00-90B6-E46BF852F024}" dt="2023-03-16T12:49:25.666" v="782" actId="1038"/>
          <ac:spMkLst>
            <pc:docMk/>
            <pc:sldMk cId="2278995086" sldId="729"/>
            <ac:spMk id="3735" creationId="{00000000-0008-0000-0300-000063040000}"/>
          </ac:spMkLst>
        </pc:spChg>
        <pc:spChg chg="mod">
          <ac:chgData name="Schjold, Hanne Røvig" userId="72e82339-bab0-442f-8ca6-e6f386a713ee" providerId="ADAL" clId="{9706D415-2DA0-4D00-90B6-E46BF852F024}" dt="2023-03-16T12:49:25.666" v="782" actId="1038"/>
          <ac:spMkLst>
            <pc:docMk/>
            <pc:sldMk cId="2278995086" sldId="729"/>
            <ac:spMk id="3736" creationId="{00000000-0008-0000-0300-000064040000}"/>
          </ac:spMkLst>
        </pc:spChg>
        <pc:spChg chg="mod">
          <ac:chgData name="Schjold, Hanne Røvig" userId="72e82339-bab0-442f-8ca6-e6f386a713ee" providerId="ADAL" clId="{9706D415-2DA0-4D00-90B6-E46BF852F024}" dt="2023-03-16T12:49:25.666" v="782" actId="1038"/>
          <ac:spMkLst>
            <pc:docMk/>
            <pc:sldMk cId="2278995086" sldId="729"/>
            <ac:spMk id="3737" creationId="{00000000-0008-0000-0300-000065040000}"/>
          </ac:spMkLst>
        </pc:spChg>
        <pc:spChg chg="mod">
          <ac:chgData name="Schjold, Hanne Røvig" userId="72e82339-bab0-442f-8ca6-e6f386a713ee" providerId="ADAL" clId="{9706D415-2DA0-4D00-90B6-E46BF852F024}" dt="2023-03-16T12:49:25.666" v="782" actId="1038"/>
          <ac:spMkLst>
            <pc:docMk/>
            <pc:sldMk cId="2278995086" sldId="729"/>
            <ac:spMk id="3738" creationId="{00000000-0008-0000-0300-000066040000}"/>
          </ac:spMkLst>
        </pc:spChg>
        <pc:spChg chg="mod">
          <ac:chgData name="Schjold, Hanne Røvig" userId="72e82339-bab0-442f-8ca6-e6f386a713ee" providerId="ADAL" clId="{9706D415-2DA0-4D00-90B6-E46BF852F024}" dt="2023-03-16T12:49:25.666" v="782" actId="1038"/>
          <ac:spMkLst>
            <pc:docMk/>
            <pc:sldMk cId="2278995086" sldId="729"/>
            <ac:spMk id="3739" creationId="{00000000-0008-0000-0300-000067040000}"/>
          </ac:spMkLst>
        </pc:spChg>
        <pc:spChg chg="mod">
          <ac:chgData name="Schjold, Hanne Røvig" userId="72e82339-bab0-442f-8ca6-e6f386a713ee" providerId="ADAL" clId="{9706D415-2DA0-4D00-90B6-E46BF852F024}" dt="2023-03-16T12:49:25.666" v="782" actId="1038"/>
          <ac:spMkLst>
            <pc:docMk/>
            <pc:sldMk cId="2278995086" sldId="729"/>
            <ac:spMk id="3740" creationId="{00000000-0008-0000-0300-000068040000}"/>
          </ac:spMkLst>
        </pc:spChg>
        <pc:spChg chg="mod">
          <ac:chgData name="Schjold, Hanne Røvig" userId="72e82339-bab0-442f-8ca6-e6f386a713ee" providerId="ADAL" clId="{9706D415-2DA0-4D00-90B6-E46BF852F024}" dt="2023-03-16T12:49:25.666" v="782" actId="1038"/>
          <ac:spMkLst>
            <pc:docMk/>
            <pc:sldMk cId="2278995086" sldId="729"/>
            <ac:spMk id="3741" creationId="{00000000-0008-0000-0300-000069040000}"/>
          </ac:spMkLst>
        </pc:spChg>
        <pc:spChg chg="mod">
          <ac:chgData name="Schjold, Hanne Røvig" userId="72e82339-bab0-442f-8ca6-e6f386a713ee" providerId="ADAL" clId="{9706D415-2DA0-4D00-90B6-E46BF852F024}" dt="2023-03-16T12:49:25.666" v="782" actId="1038"/>
          <ac:spMkLst>
            <pc:docMk/>
            <pc:sldMk cId="2278995086" sldId="729"/>
            <ac:spMk id="3742" creationId="{00000000-0008-0000-0300-00006A040000}"/>
          </ac:spMkLst>
        </pc:spChg>
        <pc:spChg chg="mod">
          <ac:chgData name="Schjold, Hanne Røvig" userId="72e82339-bab0-442f-8ca6-e6f386a713ee" providerId="ADAL" clId="{9706D415-2DA0-4D00-90B6-E46BF852F024}" dt="2023-03-16T12:49:25.666" v="782" actId="1038"/>
          <ac:spMkLst>
            <pc:docMk/>
            <pc:sldMk cId="2278995086" sldId="729"/>
            <ac:spMk id="3743" creationId="{00000000-0008-0000-0300-00006B040000}"/>
          </ac:spMkLst>
        </pc:spChg>
        <pc:spChg chg="mod">
          <ac:chgData name="Schjold, Hanne Røvig" userId="72e82339-bab0-442f-8ca6-e6f386a713ee" providerId="ADAL" clId="{9706D415-2DA0-4D00-90B6-E46BF852F024}" dt="2023-03-16T12:49:25.666" v="782" actId="1038"/>
          <ac:spMkLst>
            <pc:docMk/>
            <pc:sldMk cId="2278995086" sldId="729"/>
            <ac:spMk id="3744" creationId="{00000000-0008-0000-0300-00006C040000}"/>
          </ac:spMkLst>
        </pc:spChg>
        <pc:spChg chg="mod">
          <ac:chgData name="Schjold, Hanne Røvig" userId="72e82339-bab0-442f-8ca6-e6f386a713ee" providerId="ADAL" clId="{9706D415-2DA0-4D00-90B6-E46BF852F024}" dt="2023-03-16T12:49:25.666" v="782" actId="1038"/>
          <ac:spMkLst>
            <pc:docMk/>
            <pc:sldMk cId="2278995086" sldId="729"/>
            <ac:spMk id="3745" creationId="{00000000-0008-0000-0300-00006D040000}"/>
          </ac:spMkLst>
        </pc:spChg>
        <pc:spChg chg="mod">
          <ac:chgData name="Schjold, Hanne Røvig" userId="72e82339-bab0-442f-8ca6-e6f386a713ee" providerId="ADAL" clId="{9706D415-2DA0-4D00-90B6-E46BF852F024}" dt="2023-03-16T12:49:25.666" v="782" actId="1038"/>
          <ac:spMkLst>
            <pc:docMk/>
            <pc:sldMk cId="2278995086" sldId="729"/>
            <ac:spMk id="3746" creationId="{00000000-0008-0000-0300-00006E040000}"/>
          </ac:spMkLst>
        </pc:spChg>
        <pc:spChg chg="mod">
          <ac:chgData name="Schjold, Hanne Røvig" userId="72e82339-bab0-442f-8ca6-e6f386a713ee" providerId="ADAL" clId="{9706D415-2DA0-4D00-90B6-E46BF852F024}" dt="2023-03-16T12:49:25.666" v="782" actId="1038"/>
          <ac:spMkLst>
            <pc:docMk/>
            <pc:sldMk cId="2278995086" sldId="729"/>
            <ac:spMk id="3747" creationId="{00000000-0008-0000-0300-00006F040000}"/>
          </ac:spMkLst>
        </pc:spChg>
        <pc:spChg chg="mod">
          <ac:chgData name="Schjold, Hanne Røvig" userId="72e82339-bab0-442f-8ca6-e6f386a713ee" providerId="ADAL" clId="{9706D415-2DA0-4D00-90B6-E46BF852F024}" dt="2023-03-16T12:49:25.666" v="782" actId="1038"/>
          <ac:spMkLst>
            <pc:docMk/>
            <pc:sldMk cId="2278995086" sldId="729"/>
            <ac:spMk id="3748" creationId="{00000000-0008-0000-0300-000070040000}"/>
          </ac:spMkLst>
        </pc:spChg>
        <pc:spChg chg="mod">
          <ac:chgData name="Schjold, Hanne Røvig" userId="72e82339-bab0-442f-8ca6-e6f386a713ee" providerId="ADAL" clId="{9706D415-2DA0-4D00-90B6-E46BF852F024}" dt="2023-03-16T12:49:25.666" v="782" actId="1038"/>
          <ac:spMkLst>
            <pc:docMk/>
            <pc:sldMk cId="2278995086" sldId="729"/>
            <ac:spMk id="3749" creationId="{00000000-0008-0000-0300-000071040000}"/>
          </ac:spMkLst>
        </pc:spChg>
        <pc:spChg chg="mod">
          <ac:chgData name="Schjold, Hanne Røvig" userId="72e82339-bab0-442f-8ca6-e6f386a713ee" providerId="ADAL" clId="{9706D415-2DA0-4D00-90B6-E46BF852F024}" dt="2023-03-16T12:49:25.666" v="782" actId="1038"/>
          <ac:spMkLst>
            <pc:docMk/>
            <pc:sldMk cId="2278995086" sldId="729"/>
            <ac:spMk id="3750" creationId="{00000000-0008-0000-0300-000072040000}"/>
          </ac:spMkLst>
        </pc:spChg>
        <pc:spChg chg="mod">
          <ac:chgData name="Schjold, Hanne Røvig" userId="72e82339-bab0-442f-8ca6-e6f386a713ee" providerId="ADAL" clId="{9706D415-2DA0-4D00-90B6-E46BF852F024}" dt="2023-03-16T12:49:25.666" v="782" actId="1038"/>
          <ac:spMkLst>
            <pc:docMk/>
            <pc:sldMk cId="2278995086" sldId="729"/>
            <ac:spMk id="3751" creationId="{00000000-0008-0000-0300-000073040000}"/>
          </ac:spMkLst>
        </pc:spChg>
        <pc:spChg chg="mod">
          <ac:chgData name="Schjold, Hanne Røvig" userId="72e82339-bab0-442f-8ca6-e6f386a713ee" providerId="ADAL" clId="{9706D415-2DA0-4D00-90B6-E46BF852F024}" dt="2023-03-16T12:49:25.666" v="782" actId="1038"/>
          <ac:spMkLst>
            <pc:docMk/>
            <pc:sldMk cId="2278995086" sldId="729"/>
            <ac:spMk id="3752" creationId="{00000000-0008-0000-0300-000074040000}"/>
          </ac:spMkLst>
        </pc:spChg>
        <pc:spChg chg="mod">
          <ac:chgData name="Schjold, Hanne Røvig" userId="72e82339-bab0-442f-8ca6-e6f386a713ee" providerId="ADAL" clId="{9706D415-2DA0-4D00-90B6-E46BF852F024}" dt="2023-03-16T12:49:25.666" v="782" actId="1038"/>
          <ac:spMkLst>
            <pc:docMk/>
            <pc:sldMk cId="2278995086" sldId="729"/>
            <ac:spMk id="3753" creationId="{00000000-0008-0000-0300-000075040000}"/>
          </ac:spMkLst>
        </pc:spChg>
        <pc:spChg chg="mod">
          <ac:chgData name="Schjold, Hanne Røvig" userId="72e82339-bab0-442f-8ca6-e6f386a713ee" providerId="ADAL" clId="{9706D415-2DA0-4D00-90B6-E46BF852F024}" dt="2023-03-16T12:49:25.666" v="782" actId="1038"/>
          <ac:spMkLst>
            <pc:docMk/>
            <pc:sldMk cId="2278995086" sldId="729"/>
            <ac:spMk id="3754" creationId="{00000000-0008-0000-0300-000076040000}"/>
          </ac:spMkLst>
        </pc:spChg>
        <pc:spChg chg="mod">
          <ac:chgData name="Schjold, Hanne Røvig" userId="72e82339-bab0-442f-8ca6-e6f386a713ee" providerId="ADAL" clId="{9706D415-2DA0-4D00-90B6-E46BF852F024}" dt="2023-03-16T12:49:25.666" v="782" actId="1038"/>
          <ac:spMkLst>
            <pc:docMk/>
            <pc:sldMk cId="2278995086" sldId="729"/>
            <ac:spMk id="3755" creationId="{00000000-0008-0000-0300-000077040000}"/>
          </ac:spMkLst>
        </pc:spChg>
        <pc:spChg chg="mod">
          <ac:chgData name="Schjold, Hanne Røvig" userId="72e82339-bab0-442f-8ca6-e6f386a713ee" providerId="ADAL" clId="{9706D415-2DA0-4D00-90B6-E46BF852F024}" dt="2023-03-16T12:49:25.666" v="782" actId="1038"/>
          <ac:spMkLst>
            <pc:docMk/>
            <pc:sldMk cId="2278995086" sldId="729"/>
            <ac:spMk id="3756" creationId="{00000000-0008-0000-0300-000078040000}"/>
          </ac:spMkLst>
        </pc:spChg>
        <pc:spChg chg="mod">
          <ac:chgData name="Schjold, Hanne Røvig" userId="72e82339-bab0-442f-8ca6-e6f386a713ee" providerId="ADAL" clId="{9706D415-2DA0-4D00-90B6-E46BF852F024}" dt="2023-03-16T12:49:25.666" v="782" actId="1038"/>
          <ac:spMkLst>
            <pc:docMk/>
            <pc:sldMk cId="2278995086" sldId="729"/>
            <ac:spMk id="3757" creationId="{00000000-0008-0000-0300-000079040000}"/>
          </ac:spMkLst>
        </pc:spChg>
        <pc:spChg chg="mod">
          <ac:chgData name="Schjold, Hanne Røvig" userId="72e82339-bab0-442f-8ca6-e6f386a713ee" providerId="ADAL" clId="{9706D415-2DA0-4D00-90B6-E46BF852F024}" dt="2023-03-16T12:49:25.666" v="782" actId="1038"/>
          <ac:spMkLst>
            <pc:docMk/>
            <pc:sldMk cId="2278995086" sldId="729"/>
            <ac:spMk id="3758" creationId="{00000000-0008-0000-0300-00007A040000}"/>
          </ac:spMkLst>
        </pc:spChg>
        <pc:spChg chg="mod">
          <ac:chgData name="Schjold, Hanne Røvig" userId="72e82339-bab0-442f-8ca6-e6f386a713ee" providerId="ADAL" clId="{9706D415-2DA0-4D00-90B6-E46BF852F024}" dt="2023-03-16T12:49:25.666" v="782" actId="1038"/>
          <ac:spMkLst>
            <pc:docMk/>
            <pc:sldMk cId="2278995086" sldId="729"/>
            <ac:spMk id="3759" creationId="{00000000-0008-0000-0300-00007B040000}"/>
          </ac:spMkLst>
        </pc:spChg>
        <pc:spChg chg="mod">
          <ac:chgData name="Schjold, Hanne Røvig" userId="72e82339-bab0-442f-8ca6-e6f386a713ee" providerId="ADAL" clId="{9706D415-2DA0-4D00-90B6-E46BF852F024}" dt="2023-03-16T12:49:25.666" v="782" actId="1038"/>
          <ac:spMkLst>
            <pc:docMk/>
            <pc:sldMk cId="2278995086" sldId="729"/>
            <ac:spMk id="3760" creationId="{00000000-0008-0000-0300-00007C040000}"/>
          </ac:spMkLst>
        </pc:spChg>
        <pc:spChg chg="mod">
          <ac:chgData name="Schjold, Hanne Røvig" userId="72e82339-bab0-442f-8ca6-e6f386a713ee" providerId="ADAL" clId="{9706D415-2DA0-4D00-90B6-E46BF852F024}" dt="2023-03-16T12:49:25.666" v="782" actId="1038"/>
          <ac:spMkLst>
            <pc:docMk/>
            <pc:sldMk cId="2278995086" sldId="729"/>
            <ac:spMk id="3761" creationId="{00000000-0008-0000-0300-00007D040000}"/>
          </ac:spMkLst>
        </pc:spChg>
        <pc:spChg chg="mod">
          <ac:chgData name="Schjold, Hanne Røvig" userId="72e82339-bab0-442f-8ca6-e6f386a713ee" providerId="ADAL" clId="{9706D415-2DA0-4D00-90B6-E46BF852F024}" dt="2023-03-16T12:49:25.666" v="782" actId="1038"/>
          <ac:spMkLst>
            <pc:docMk/>
            <pc:sldMk cId="2278995086" sldId="729"/>
            <ac:spMk id="3762" creationId="{00000000-0008-0000-0300-00007E040000}"/>
          </ac:spMkLst>
        </pc:spChg>
        <pc:spChg chg="mod">
          <ac:chgData name="Schjold, Hanne Røvig" userId="72e82339-bab0-442f-8ca6-e6f386a713ee" providerId="ADAL" clId="{9706D415-2DA0-4D00-90B6-E46BF852F024}" dt="2023-03-16T12:49:25.666" v="782" actId="1038"/>
          <ac:spMkLst>
            <pc:docMk/>
            <pc:sldMk cId="2278995086" sldId="729"/>
            <ac:spMk id="3763" creationId="{00000000-0008-0000-0300-00007F040000}"/>
          </ac:spMkLst>
        </pc:spChg>
        <pc:spChg chg="mod">
          <ac:chgData name="Schjold, Hanne Røvig" userId="72e82339-bab0-442f-8ca6-e6f386a713ee" providerId="ADAL" clId="{9706D415-2DA0-4D00-90B6-E46BF852F024}" dt="2023-03-16T12:49:25.666" v="782" actId="1038"/>
          <ac:spMkLst>
            <pc:docMk/>
            <pc:sldMk cId="2278995086" sldId="729"/>
            <ac:spMk id="3764" creationId="{00000000-0008-0000-0300-000080040000}"/>
          </ac:spMkLst>
        </pc:spChg>
        <pc:spChg chg="mod">
          <ac:chgData name="Schjold, Hanne Røvig" userId="72e82339-bab0-442f-8ca6-e6f386a713ee" providerId="ADAL" clId="{9706D415-2DA0-4D00-90B6-E46BF852F024}" dt="2023-03-16T12:49:25.666" v="782" actId="1038"/>
          <ac:spMkLst>
            <pc:docMk/>
            <pc:sldMk cId="2278995086" sldId="729"/>
            <ac:spMk id="3765" creationId="{00000000-0008-0000-0300-000081040000}"/>
          </ac:spMkLst>
        </pc:spChg>
        <pc:spChg chg="mod">
          <ac:chgData name="Schjold, Hanne Røvig" userId="72e82339-bab0-442f-8ca6-e6f386a713ee" providerId="ADAL" clId="{9706D415-2DA0-4D00-90B6-E46BF852F024}" dt="2023-03-16T12:49:25.666" v="782" actId="1038"/>
          <ac:spMkLst>
            <pc:docMk/>
            <pc:sldMk cId="2278995086" sldId="729"/>
            <ac:spMk id="3766" creationId="{00000000-0008-0000-0300-000082040000}"/>
          </ac:spMkLst>
        </pc:spChg>
        <pc:spChg chg="mod">
          <ac:chgData name="Schjold, Hanne Røvig" userId="72e82339-bab0-442f-8ca6-e6f386a713ee" providerId="ADAL" clId="{9706D415-2DA0-4D00-90B6-E46BF852F024}" dt="2023-03-16T12:49:25.666" v="782" actId="1038"/>
          <ac:spMkLst>
            <pc:docMk/>
            <pc:sldMk cId="2278995086" sldId="729"/>
            <ac:spMk id="3767" creationId="{00000000-0008-0000-0300-000083040000}"/>
          </ac:spMkLst>
        </pc:spChg>
        <pc:spChg chg="mod">
          <ac:chgData name="Schjold, Hanne Røvig" userId="72e82339-bab0-442f-8ca6-e6f386a713ee" providerId="ADAL" clId="{9706D415-2DA0-4D00-90B6-E46BF852F024}" dt="2023-03-16T12:49:25.666" v="782" actId="1038"/>
          <ac:spMkLst>
            <pc:docMk/>
            <pc:sldMk cId="2278995086" sldId="729"/>
            <ac:spMk id="3768" creationId="{00000000-0008-0000-0300-000084040000}"/>
          </ac:spMkLst>
        </pc:spChg>
        <pc:spChg chg="mod">
          <ac:chgData name="Schjold, Hanne Røvig" userId="72e82339-bab0-442f-8ca6-e6f386a713ee" providerId="ADAL" clId="{9706D415-2DA0-4D00-90B6-E46BF852F024}" dt="2023-03-16T12:49:25.666" v="782" actId="1038"/>
          <ac:spMkLst>
            <pc:docMk/>
            <pc:sldMk cId="2278995086" sldId="729"/>
            <ac:spMk id="3769" creationId="{00000000-0008-0000-0300-000085040000}"/>
          </ac:spMkLst>
        </pc:spChg>
        <pc:spChg chg="mod">
          <ac:chgData name="Schjold, Hanne Røvig" userId="72e82339-bab0-442f-8ca6-e6f386a713ee" providerId="ADAL" clId="{9706D415-2DA0-4D00-90B6-E46BF852F024}" dt="2023-03-16T12:49:25.666" v="782" actId="1038"/>
          <ac:spMkLst>
            <pc:docMk/>
            <pc:sldMk cId="2278995086" sldId="729"/>
            <ac:spMk id="3770" creationId="{00000000-0008-0000-0300-000086040000}"/>
          </ac:spMkLst>
        </pc:spChg>
        <pc:spChg chg="mod">
          <ac:chgData name="Schjold, Hanne Røvig" userId="72e82339-bab0-442f-8ca6-e6f386a713ee" providerId="ADAL" clId="{9706D415-2DA0-4D00-90B6-E46BF852F024}" dt="2023-03-16T12:49:25.666" v="782" actId="1038"/>
          <ac:spMkLst>
            <pc:docMk/>
            <pc:sldMk cId="2278995086" sldId="729"/>
            <ac:spMk id="3771" creationId="{00000000-0008-0000-0300-000087040000}"/>
          </ac:spMkLst>
        </pc:spChg>
        <pc:spChg chg="mod">
          <ac:chgData name="Schjold, Hanne Røvig" userId="72e82339-bab0-442f-8ca6-e6f386a713ee" providerId="ADAL" clId="{9706D415-2DA0-4D00-90B6-E46BF852F024}" dt="2023-03-16T12:49:25.666" v="782" actId="1038"/>
          <ac:spMkLst>
            <pc:docMk/>
            <pc:sldMk cId="2278995086" sldId="729"/>
            <ac:spMk id="3772" creationId="{00000000-0008-0000-0300-000088040000}"/>
          </ac:spMkLst>
        </pc:spChg>
        <pc:spChg chg="mod">
          <ac:chgData name="Schjold, Hanne Røvig" userId="72e82339-bab0-442f-8ca6-e6f386a713ee" providerId="ADAL" clId="{9706D415-2DA0-4D00-90B6-E46BF852F024}" dt="2023-03-16T12:49:25.666" v="782" actId="1038"/>
          <ac:spMkLst>
            <pc:docMk/>
            <pc:sldMk cId="2278995086" sldId="729"/>
            <ac:spMk id="3773" creationId="{00000000-0008-0000-0300-000089040000}"/>
          </ac:spMkLst>
        </pc:spChg>
        <pc:spChg chg="mod">
          <ac:chgData name="Schjold, Hanne Røvig" userId="72e82339-bab0-442f-8ca6-e6f386a713ee" providerId="ADAL" clId="{9706D415-2DA0-4D00-90B6-E46BF852F024}" dt="2023-03-16T12:49:25.666" v="782" actId="1038"/>
          <ac:spMkLst>
            <pc:docMk/>
            <pc:sldMk cId="2278995086" sldId="729"/>
            <ac:spMk id="3774" creationId="{00000000-0008-0000-0300-00008A040000}"/>
          </ac:spMkLst>
        </pc:spChg>
        <pc:spChg chg="mod">
          <ac:chgData name="Schjold, Hanne Røvig" userId="72e82339-bab0-442f-8ca6-e6f386a713ee" providerId="ADAL" clId="{9706D415-2DA0-4D00-90B6-E46BF852F024}" dt="2023-03-16T12:49:25.666" v="782" actId="1038"/>
          <ac:spMkLst>
            <pc:docMk/>
            <pc:sldMk cId="2278995086" sldId="729"/>
            <ac:spMk id="3775" creationId="{00000000-0008-0000-0300-00008B040000}"/>
          </ac:spMkLst>
        </pc:spChg>
        <pc:spChg chg="mod">
          <ac:chgData name="Schjold, Hanne Røvig" userId="72e82339-bab0-442f-8ca6-e6f386a713ee" providerId="ADAL" clId="{9706D415-2DA0-4D00-90B6-E46BF852F024}" dt="2023-03-16T12:49:25.666" v="782" actId="1038"/>
          <ac:spMkLst>
            <pc:docMk/>
            <pc:sldMk cId="2278995086" sldId="729"/>
            <ac:spMk id="3776" creationId="{00000000-0008-0000-0300-00008C040000}"/>
          </ac:spMkLst>
        </pc:spChg>
        <pc:spChg chg="mod">
          <ac:chgData name="Schjold, Hanne Røvig" userId="72e82339-bab0-442f-8ca6-e6f386a713ee" providerId="ADAL" clId="{9706D415-2DA0-4D00-90B6-E46BF852F024}" dt="2023-03-16T12:49:25.666" v="782" actId="1038"/>
          <ac:spMkLst>
            <pc:docMk/>
            <pc:sldMk cId="2278995086" sldId="729"/>
            <ac:spMk id="3777" creationId="{00000000-0008-0000-0300-00008D040000}"/>
          </ac:spMkLst>
        </pc:spChg>
        <pc:spChg chg="mod">
          <ac:chgData name="Schjold, Hanne Røvig" userId="72e82339-bab0-442f-8ca6-e6f386a713ee" providerId="ADAL" clId="{9706D415-2DA0-4D00-90B6-E46BF852F024}" dt="2023-03-16T12:49:25.666" v="782" actId="1038"/>
          <ac:spMkLst>
            <pc:docMk/>
            <pc:sldMk cId="2278995086" sldId="729"/>
            <ac:spMk id="3778" creationId="{00000000-0008-0000-0300-00008E040000}"/>
          </ac:spMkLst>
        </pc:spChg>
        <pc:spChg chg="mod">
          <ac:chgData name="Schjold, Hanne Røvig" userId="72e82339-bab0-442f-8ca6-e6f386a713ee" providerId="ADAL" clId="{9706D415-2DA0-4D00-90B6-E46BF852F024}" dt="2023-03-16T12:49:25.666" v="782" actId="1038"/>
          <ac:spMkLst>
            <pc:docMk/>
            <pc:sldMk cId="2278995086" sldId="729"/>
            <ac:spMk id="3779" creationId="{00000000-0008-0000-0300-00008F040000}"/>
          </ac:spMkLst>
        </pc:spChg>
        <pc:spChg chg="mod">
          <ac:chgData name="Schjold, Hanne Røvig" userId="72e82339-bab0-442f-8ca6-e6f386a713ee" providerId="ADAL" clId="{9706D415-2DA0-4D00-90B6-E46BF852F024}" dt="2023-03-16T12:49:25.666" v="782" actId="1038"/>
          <ac:spMkLst>
            <pc:docMk/>
            <pc:sldMk cId="2278995086" sldId="729"/>
            <ac:spMk id="3780" creationId="{00000000-0008-0000-0300-000090040000}"/>
          </ac:spMkLst>
        </pc:spChg>
        <pc:spChg chg="mod">
          <ac:chgData name="Schjold, Hanne Røvig" userId="72e82339-bab0-442f-8ca6-e6f386a713ee" providerId="ADAL" clId="{9706D415-2DA0-4D00-90B6-E46BF852F024}" dt="2023-03-16T12:49:25.666" v="782" actId="1038"/>
          <ac:spMkLst>
            <pc:docMk/>
            <pc:sldMk cId="2278995086" sldId="729"/>
            <ac:spMk id="3781" creationId="{00000000-0008-0000-0300-000091040000}"/>
          </ac:spMkLst>
        </pc:spChg>
        <pc:spChg chg="mod">
          <ac:chgData name="Schjold, Hanne Røvig" userId="72e82339-bab0-442f-8ca6-e6f386a713ee" providerId="ADAL" clId="{9706D415-2DA0-4D00-90B6-E46BF852F024}" dt="2023-03-16T12:49:25.666" v="782" actId="1038"/>
          <ac:spMkLst>
            <pc:docMk/>
            <pc:sldMk cId="2278995086" sldId="729"/>
            <ac:spMk id="3782" creationId="{00000000-0008-0000-0300-000092040000}"/>
          </ac:spMkLst>
        </pc:spChg>
        <pc:spChg chg="mod">
          <ac:chgData name="Schjold, Hanne Røvig" userId="72e82339-bab0-442f-8ca6-e6f386a713ee" providerId="ADAL" clId="{9706D415-2DA0-4D00-90B6-E46BF852F024}" dt="2023-03-16T12:49:25.666" v="782" actId="1038"/>
          <ac:spMkLst>
            <pc:docMk/>
            <pc:sldMk cId="2278995086" sldId="729"/>
            <ac:spMk id="3783" creationId="{00000000-0008-0000-0300-000093040000}"/>
          </ac:spMkLst>
        </pc:spChg>
        <pc:spChg chg="mod">
          <ac:chgData name="Schjold, Hanne Røvig" userId="72e82339-bab0-442f-8ca6-e6f386a713ee" providerId="ADAL" clId="{9706D415-2DA0-4D00-90B6-E46BF852F024}" dt="2023-03-16T12:49:25.666" v="782" actId="1038"/>
          <ac:spMkLst>
            <pc:docMk/>
            <pc:sldMk cId="2278995086" sldId="729"/>
            <ac:spMk id="3784" creationId="{00000000-0008-0000-0300-000094040000}"/>
          </ac:spMkLst>
        </pc:spChg>
        <pc:spChg chg="mod">
          <ac:chgData name="Schjold, Hanne Røvig" userId="72e82339-bab0-442f-8ca6-e6f386a713ee" providerId="ADAL" clId="{9706D415-2DA0-4D00-90B6-E46BF852F024}" dt="2023-03-16T12:49:25.666" v="782" actId="1038"/>
          <ac:spMkLst>
            <pc:docMk/>
            <pc:sldMk cId="2278995086" sldId="729"/>
            <ac:spMk id="3785" creationId="{00000000-0008-0000-0300-000095040000}"/>
          </ac:spMkLst>
        </pc:spChg>
        <pc:spChg chg="mod">
          <ac:chgData name="Schjold, Hanne Røvig" userId="72e82339-bab0-442f-8ca6-e6f386a713ee" providerId="ADAL" clId="{9706D415-2DA0-4D00-90B6-E46BF852F024}" dt="2023-03-16T12:49:25.666" v="782" actId="1038"/>
          <ac:spMkLst>
            <pc:docMk/>
            <pc:sldMk cId="2278995086" sldId="729"/>
            <ac:spMk id="3786" creationId="{00000000-0008-0000-0300-000096040000}"/>
          </ac:spMkLst>
        </pc:spChg>
        <pc:spChg chg="mod">
          <ac:chgData name="Schjold, Hanne Røvig" userId="72e82339-bab0-442f-8ca6-e6f386a713ee" providerId="ADAL" clId="{9706D415-2DA0-4D00-90B6-E46BF852F024}" dt="2023-03-16T12:49:25.666" v="782" actId="1038"/>
          <ac:spMkLst>
            <pc:docMk/>
            <pc:sldMk cId="2278995086" sldId="729"/>
            <ac:spMk id="3787" creationId="{00000000-0008-0000-0300-000097040000}"/>
          </ac:spMkLst>
        </pc:spChg>
        <pc:spChg chg="mod">
          <ac:chgData name="Schjold, Hanne Røvig" userId="72e82339-bab0-442f-8ca6-e6f386a713ee" providerId="ADAL" clId="{9706D415-2DA0-4D00-90B6-E46BF852F024}" dt="2023-03-16T12:49:25.666" v="782" actId="1038"/>
          <ac:spMkLst>
            <pc:docMk/>
            <pc:sldMk cId="2278995086" sldId="729"/>
            <ac:spMk id="3788" creationId="{00000000-0008-0000-0300-000098040000}"/>
          </ac:spMkLst>
        </pc:spChg>
        <pc:spChg chg="mod">
          <ac:chgData name="Schjold, Hanne Røvig" userId="72e82339-bab0-442f-8ca6-e6f386a713ee" providerId="ADAL" clId="{9706D415-2DA0-4D00-90B6-E46BF852F024}" dt="2023-03-16T12:49:25.666" v="782" actId="1038"/>
          <ac:spMkLst>
            <pc:docMk/>
            <pc:sldMk cId="2278995086" sldId="729"/>
            <ac:spMk id="3789" creationId="{00000000-0008-0000-0300-000099040000}"/>
          </ac:spMkLst>
        </pc:spChg>
        <pc:spChg chg="mod">
          <ac:chgData name="Schjold, Hanne Røvig" userId="72e82339-bab0-442f-8ca6-e6f386a713ee" providerId="ADAL" clId="{9706D415-2DA0-4D00-90B6-E46BF852F024}" dt="2023-03-16T12:49:25.666" v="782" actId="1038"/>
          <ac:spMkLst>
            <pc:docMk/>
            <pc:sldMk cId="2278995086" sldId="729"/>
            <ac:spMk id="3790" creationId="{00000000-0008-0000-0300-00009A040000}"/>
          </ac:spMkLst>
        </pc:spChg>
        <pc:spChg chg="mod">
          <ac:chgData name="Schjold, Hanne Røvig" userId="72e82339-bab0-442f-8ca6-e6f386a713ee" providerId="ADAL" clId="{9706D415-2DA0-4D00-90B6-E46BF852F024}" dt="2023-03-16T12:49:25.666" v="782" actId="1038"/>
          <ac:spMkLst>
            <pc:docMk/>
            <pc:sldMk cId="2278995086" sldId="729"/>
            <ac:spMk id="3791" creationId="{00000000-0008-0000-0300-00009B040000}"/>
          </ac:spMkLst>
        </pc:spChg>
        <pc:spChg chg="mod">
          <ac:chgData name="Schjold, Hanne Røvig" userId="72e82339-bab0-442f-8ca6-e6f386a713ee" providerId="ADAL" clId="{9706D415-2DA0-4D00-90B6-E46BF852F024}" dt="2023-03-16T12:49:25.666" v="782" actId="1038"/>
          <ac:spMkLst>
            <pc:docMk/>
            <pc:sldMk cId="2278995086" sldId="729"/>
            <ac:spMk id="3792" creationId="{00000000-0008-0000-0300-00009C040000}"/>
          </ac:spMkLst>
        </pc:spChg>
        <pc:spChg chg="mod">
          <ac:chgData name="Schjold, Hanne Røvig" userId="72e82339-bab0-442f-8ca6-e6f386a713ee" providerId="ADAL" clId="{9706D415-2DA0-4D00-90B6-E46BF852F024}" dt="2023-03-16T12:49:25.666" v="782" actId="1038"/>
          <ac:spMkLst>
            <pc:docMk/>
            <pc:sldMk cId="2278995086" sldId="729"/>
            <ac:spMk id="3793" creationId="{00000000-0008-0000-0300-00009D040000}"/>
          </ac:spMkLst>
        </pc:spChg>
        <pc:spChg chg="mod">
          <ac:chgData name="Schjold, Hanne Røvig" userId="72e82339-bab0-442f-8ca6-e6f386a713ee" providerId="ADAL" clId="{9706D415-2DA0-4D00-90B6-E46BF852F024}" dt="2023-03-16T12:49:25.666" v="782" actId="1038"/>
          <ac:spMkLst>
            <pc:docMk/>
            <pc:sldMk cId="2278995086" sldId="729"/>
            <ac:spMk id="3794" creationId="{00000000-0008-0000-0300-00009E040000}"/>
          </ac:spMkLst>
        </pc:spChg>
        <pc:spChg chg="mod">
          <ac:chgData name="Schjold, Hanne Røvig" userId="72e82339-bab0-442f-8ca6-e6f386a713ee" providerId="ADAL" clId="{9706D415-2DA0-4D00-90B6-E46BF852F024}" dt="2023-03-16T12:49:25.666" v="782" actId="1038"/>
          <ac:spMkLst>
            <pc:docMk/>
            <pc:sldMk cId="2278995086" sldId="729"/>
            <ac:spMk id="3795" creationId="{00000000-0008-0000-0300-00009F040000}"/>
          </ac:spMkLst>
        </pc:spChg>
        <pc:spChg chg="mod">
          <ac:chgData name="Schjold, Hanne Røvig" userId="72e82339-bab0-442f-8ca6-e6f386a713ee" providerId="ADAL" clId="{9706D415-2DA0-4D00-90B6-E46BF852F024}" dt="2023-03-16T12:49:25.666" v="782" actId="1038"/>
          <ac:spMkLst>
            <pc:docMk/>
            <pc:sldMk cId="2278995086" sldId="729"/>
            <ac:spMk id="3796" creationId="{00000000-0008-0000-0300-0000A0040000}"/>
          </ac:spMkLst>
        </pc:spChg>
        <pc:spChg chg="mod">
          <ac:chgData name="Schjold, Hanne Røvig" userId="72e82339-bab0-442f-8ca6-e6f386a713ee" providerId="ADAL" clId="{9706D415-2DA0-4D00-90B6-E46BF852F024}" dt="2023-03-16T12:49:25.666" v="782" actId="1038"/>
          <ac:spMkLst>
            <pc:docMk/>
            <pc:sldMk cId="2278995086" sldId="729"/>
            <ac:spMk id="3797" creationId="{00000000-0008-0000-0300-0000A1040000}"/>
          </ac:spMkLst>
        </pc:spChg>
        <pc:spChg chg="mod">
          <ac:chgData name="Schjold, Hanne Røvig" userId="72e82339-bab0-442f-8ca6-e6f386a713ee" providerId="ADAL" clId="{9706D415-2DA0-4D00-90B6-E46BF852F024}" dt="2023-03-16T12:49:25.666" v="782" actId="1038"/>
          <ac:spMkLst>
            <pc:docMk/>
            <pc:sldMk cId="2278995086" sldId="729"/>
            <ac:spMk id="3798" creationId="{00000000-0008-0000-0300-0000A2040000}"/>
          </ac:spMkLst>
        </pc:spChg>
        <pc:spChg chg="mod">
          <ac:chgData name="Schjold, Hanne Røvig" userId="72e82339-bab0-442f-8ca6-e6f386a713ee" providerId="ADAL" clId="{9706D415-2DA0-4D00-90B6-E46BF852F024}" dt="2023-03-16T12:49:25.666" v="782" actId="1038"/>
          <ac:spMkLst>
            <pc:docMk/>
            <pc:sldMk cId="2278995086" sldId="729"/>
            <ac:spMk id="3799" creationId="{00000000-0008-0000-0300-0000A3040000}"/>
          </ac:spMkLst>
        </pc:spChg>
        <pc:spChg chg="mod">
          <ac:chgData name="Schjold, Hanne Røvig" userId="72e82339-bab0-442f-8ca6-e6f386a713ee" providerId="ADAL" clId="{9706D415-2DA0-4D00-90B6-E46BF852F024}" dt="2023-03-16T12:49:25.666" v="782" actId="1038"/>
          <ac:spMkLst>
            <pc:docMk/>
            <pc:sldMk cId="2278995086" sldId="729"/>
            <ac:spMk id="3800" creationId="{00000000-0008-0000-0300-0000A4040000}"/>
          </ac:spMkLst>
        </pc:spChg>
        <pc:spChg chg="mod">
          <ac:chgData name="Schjold, Hanne Røvig" userId="72e82339-bab0-442f-8ca6-e6f386a713ee" providerId="ADAL" clId="{9706D415-2DA0-4D00-90B6-E46BF852F024}" dt="2023-03-16T12:49:25.666" v="782" actId="1038"/>
          <ac:spMkLst>
            <pc:docMk/>
            <pc:sldMk cId="2278995086" sldId="729"/>
            <ac:spMk id="3801" creationId="{00000000-0008-0000-0300-0000A5040000}"/>
          </ac:spMkLst>
        </pc:spChg>
        <pc:spChg chg="mod">
          <ac:chgData name="Schjold, Hanne Røvig" userId="72e82339-bab0-442f-8ca6-e6f386a713ee" providerId="ADAL" clId="{9706D415-2DA0-4D00-90B6-E46BF852F024}" dt="2023-03-16T12:49:25.666" v="782" actId="1038"/>
          <ac:spMkLst>
            <pc:docMk/>
            <pc:sldMk cId="2278995086" sldId="729"/>
            <ac:spMk id="3802" creationId="{00000000-0008-0000-0300-0000A6040000}"/>
          </ac:spMkLst>
        </pc:spChg>
        <pc:spChg chg="mod">
          <ac:chgData name="Schjold, Hanne Røvig" userId="72e82339-bab0-442f-8ca6-e6f386a713ee" providerId="ADAL" clId="{9706D415-2DA0-4D00-90B6-E46BF852F024}" dt="2023-03-16T12:49:25.666" v="782" actId="1038"/>
          <ac:spMkLst>
            <pc:docMk/>
            <pc:sldMk cId="2278995086" sldId="729"/>
            <ac:spMk id="3803" creationId="{00000000-0008-0000-0300-0000A7040000}"/>
          </ac:spMkLst>
        </pc:spChg>
        <pc:spChg chg="mod">
          <ac:chgData name="Schjold, Hanne Røvig" userId="72e82339-bab0-442f-8ca6-e6f386a713ee" providerId="ADAL" clId="{9706D415-2DA0-4D00-90B6-E46BF852F024}" dt="2023-03-16T12:49:25.666" v="782" actId="1038"/>
          <ac:spMkLst>
            <pc:docMk/>
            <pc:sldMk cId="2278995086" sldId="729"/>
            <ac:spMk id="3804" creationId="{00000000-0008-0000-0300-0000A8040000}"/>
          </ac:spMkLst>
        </pc:spChg>
        <pc:spChg chg="mod">
          <ac:chgData name="Schjold, Hanne Røvig" userId="72e82339-bab0-442f-8ca6-e6f386a713ee" providerId="ADAL" clId="{9706D415-2DA0-4D00-90B6-E46BF852F024}" dt="2023-03-16T12:49:25.666" v="782" actId="1038"/>
          <ac:spMkLst>
            <pc:docMk/>
            <pc:sldMk cId="2278995086" sldId="729"/>
            <ac:spMk id="3805" creationId="{00000000-0008-0000-0300-0000A9040000}"/>
          </ac:spMkLst>
        </pc:spChg>
        <pc:spChg chg="mod">
          <ac:chgData name="Schjold, Hanne Røvig" userId="72e82339-bab0-442f-8ca6-e6f386a713ee" providerId="ADAL" clId="{9706D415-2DA0-4D00-90B6-E46BF852F024}" dt="2023-03-16T12:49:25.666" v="782" actId="1038"/>
          <ac:spMkLst>
            <pc:docMk/>
            <pc:sldMk cId="2278995086" sldId="729"/>
            <ac:spMk id="3806" creationId="{00000000-0008-0000-0300-0000AA040000}"/>
          </ac:spMkLst>
        </pc:spChg>
        <pc:spChg chg="mod">
          <ac:chgData name="Schjold, Hanne Røvig" userId="72e82339-bab0-442f-8ca6-e6f386a713ee" providerId="ADAL" clId="{9706D415-2DA0-4D00-90B6-E46BF852F024}" dt="2023-03-16T12:49:25.666" v="782" actId="1038"/>
          <ac:spMkLst>
            <pc:docMk/>
            <pc:sldMk cId="2278995086" sldId="729"/>
            <ac:spMk id="3807" creationId="{00000000-0008-0000-0300-0000AB040000}"/>
          </ac:spMkLst>
        </pc:spChg>
        <pc:spChg chg="mod">
          <ac:chgData name="Schjold, Hanne Røvig" userId="72e82339-bab0-442f-8ca6-e6f386a713ee" providerId="ADAL" clId="{9706D415-2DA0-4D00-90B6-E46BF852F024}" dt="2023-03-16T12:49:25.666" v="782" actId="1038"/>
          <ac:spMkLst>
            <pc:docMk/>
            <pc:sldMk cId="2278995086" sldId="729"/>
            <ac:spMk id="3808" creationId="{00000000-0008-0000-0300-0000AC040000}"/>
          </ac:spMkLst>
        </pc:spChg>
        <pc:spChg chg="mod">
          <ac:chgData name="Schjold, Hanne Røvig" userId="72e82339-bab0-442f-8ca6-e6f386a713ee" providerId="ADAL" clId="{9706D415-2DA0-4D00-90B6-E46BF852F024}" dt="2023-03-16T12:49:25.666" v="782" actId="1038"/>
          <ac:spMkLst>
            <pc:docMk/>
            <pc:sldMk cId="2278995086" sldId="729"/>
            <ac:spMk id="3809" creationId="{00000000-0008-0000-0300-0000AD040000}"/>
          </ac:spMkLst>
        </pc:spChg>
        <pc:spChg chg="mod">
          <ac:chgData name="Schjold, Hanne Røvig" userId="72e82339-bab0-442f-8ca6-e6f386a713ee" providerId="ADAL" clId="{9706D415-2DA0-4D00-90B6-E46BF852F024}" dt="2023-03-16T12:49:25.666" v="782" actId="1038"/>
          <ac:spMkLst>
            <pc:docMk/>
            <pc:sldMk cId="2278995086" sldId="729"/>
            <ac:spMk id="3810" creationId="{00000000-0008-0000-0300-0000AE040000}"/>
          </ac:spMkLst>
        </pc:spChg>
        <pc:spChg chg="mod">
          <ac:chgData name="Schjold, Hanne Røvig" userId="72e82339-bab0-442f-8ca6-e6f386a713ee" providerId="ADAL" clId="{9706D415-2DA0-4D00-90B6-E46BF852F024}" dt="2023-03-16T12:49:25.666" v="782" actId="1038"/>
          <ac:spMkLst>
            <pc:docMk/>
            <pc:sldMk cId="2278995086" sldId="729"/>
            <ac:spMk id="3811" creationId="{00000000-0008-0000-0300-0000AF040000}"/>
          </ac:spMkLst>
        </pc:spChg>
        <pc:spChg chg="mod">
          <ac:chgData name="Schjold, Hanne Røvig" userId="72e82339-bab0-442f-8ca6-e6f386a713ee" providerId="ADAL" clId="{9706D415-2DA0-4D00-90B6-E46BF852F024}" dt="2023-03-16T12:49:25.666" v="782" actId="1038"/>
          <ac:spMkLst>
            <pc:docMk/>
            <pc:sldMk cId="2278995086" sldId="729"/>
            <ac:spMk id="3812" creationId="{00000000-0008-0000-0300-0000B0040000}"/>
          </ac:spMkLst>
        </pc:spChg>
        <pc:spChg chg="mod">
          <ac:chgData name="Schjold, Hanne Røvig" userId="72e82339-bab0-442f-8ca6-e6f386a713ee" providerId="ADAL" clId="{9706D415-2DA0-4D00-90B6-E46BF852F024}" dt="2023-03-16T12:49:25.666" v="782" actId="1038"/>
          <ac:spMkLst>
            <pc:docMk/>
            <pc:sldMk cId="2278995086" sldId="729"/>
            <ac:spMk id="3813" creationId="{00000000-0008-0000-0300-0000B1040000}"/>
          </ac:spMkLst>
        </pc:spChg>
        <pc:spChg chg="mod">
          <ac:chgData name="Schjold, Hanne Røvig" userId="72e82339-bab0-442f-8ca6-e6f386a713ee" providerId="ADAL" clId="{9706D415-2DA0-4D00-90B6-E46BF852F024}" dt="2023-03-16T12:49:25.666" v="782" actId="1038"/>
          <ac:spMkLst>
            <pc:docMk/>
            <pc:sldMk cId="2278995086" sldId="729"/>
            <ac:spMk id="3814" creationId="{00000000-0008-0000-0300-0000B2040000}"/>
          </ac:spMkLst>
        </pc:spChg>
        <pc:spChg chg="mod">
          <ac:chgData name="Schjold, Hanne Røvig" userId="72e82339-bab0-442f-8ca6-e6f386a713ee" providerId="ADAL" clId="{9706D415-2DA0-4D00-90B6-E46BF852F024}" dt="2023-03-16T12:49:25.666" v="782" actId="1038"/>
          <ac:spMkLst>
            <pc:docMk/>
            <pc:sldMk cId="2278995086" sldId="729"/>
            <ac:spMk id="3815" creationId="{00000000-0008-0000-0300-0000B3040000}"/>
          </ac:spMkLst>
        </pc:spChg>
        <pc:spChg chg="mod">
          <ac:chgData name="Schjold, Hanne Røvig" userId="72e82339-bab0-442f-8ca6-e6f386a713ee" providerId="ADAL" clId="{9706D415-2DA0-4D00-90B6-E46BF852F024}" dt="2023-03-16T12:49:25.666" v="782" actId="1038"/>
          <ac:spMkLst>
            <pc:docMk/>
            <pc:sldMk cId="2278995086" sldId="729"/>
            <ac:spMk id="3816" creationId="{00000000-0008-0000-0300-0000B4040000}"/>
          </ac:spMkLst>
        </pc:spChg>
        <pc:spChg chg="mod">
          <ac:chgData name="Schjold, Hanne Røvig" userId="72e82339-bab0-442f-8ca6-e6f386a713ee" providerId="ADAL" clId="{9706D415-2DA0-4D00-90B6-E46BF852F024}" dt="2023-03-16T12:49:25.666" v="782" actId="1038"/>
          <ac:spMkLst>
            <pc:docMk/>
            <pc:sldMk cId="2278995086" sldId="729"/>
            <ac:spMk id="3817" creationId="{00000000-0008-0000-0300-0000B5040000}"/>
          </ac:spMkLst>
        </pc:spChg>
        <pc:spChg chg="mod">
          <ac:chgData name="Schjold, Hanne Røvig" userId="72e82339-bab0-442f-8ca6-e6f386a713ee" providerId="ADAL" clId="{9706D415-2DA0-4D00-90B6-E46BF852F024}" dt="2023-03-16T12:49:25.666" v="782" actId="1038"/>
          <ac:spMkLst>
            <pc:docMk/>
            <pc:sldMk cId="2278995086" sldId="729"/>
            <ac:spMk id="3818" creationId="{00000000-0008-0000-0300-0000B6040000}"/>
          </ac:spMkLst>
        </pc:spChg>
        <pc:spChg chg="mod">
          <ac:chgData name="Schjold, Hanne Røvig" userId="72e82339-bab0-442f-8ca6-e6f386a713ee" providerId="ADAL" clId="{9706D415-2DA0-4D00-90B6-E46BF852F024}" dt="2023-03-16T12:49:25.666" v="782" actId="1038"/>
          <ac:spMkLst>
            <pc:docMk/>
            <pc:sldMk cId="2278995086" sldId="729"/>
            <ac:spMk id="3819" creationId="{00000000-0008-0000-0300-0000B7040000}"/>
          </ac:spMkLst>
        </pc:spChg>
        <pc:spChg chg="mod">
          <ac:chgData name="Schjold, Hanne Røvig" userId="72e82339-bab0-442f-8ca6-e6f386a713ee" providerId="ADAL" clId="{9706D415-2DA0-4D00-90B6-E46BF852F024}" dt="2023-03-16T12:49:25.666" v="782" actId="1038"/>
          <ac:spMkLst>
            <pc:docMk/>
            <pc:sldMk cId="2278995086" sldId="729"/>
            <ac:spMk id="3820" creationId="{00000000-0008-0000-0300-0000B8040000}"/>
          </ac:spMkLst>
        </pc:spChg>
        <pc:spChg chg="mod">
          <ac:chgData name="Schjold, Hanne Røvig" userId="72e82339-bab0-442f-8ca6-e6f386a713ee" providerId="ADAL" clId="{9706D415-2DA0-4D00-90B6-E46BF852F024}" dt="2023-03-16T12:49:25.666" v="782" actId="1038"/>
          <ac:spMkLst>
            <pc:docMk/>
            <pc:sldMk cId="2278995086" sldId="729"/>
            <ac:spMk id="3821" creationId="{00000000-0008-0000-0300-0000B9040000}"/>
          </ac:spMkLst>
        </pc:spChg>
        <pc:spChg chg="mod">
          <ac:chgData name="Schjold, Hanne Røvig" userId="72e82339-bab0-442f-8ca6-e6f386a713ee" providerId="ADAL" clId="{9706D415-2DA0-4D00-90B6-E46BF852F024}" dt="2023-03-16T12:49:25.666" v="782" actId="1038"/>
          <ac:spMkLst>
            <pc:docMk/>
            <pc:sldMk cId="2278995086" sldId="729"/>
            <ac:spMk id="3822" creationId="{00000000-0008-0000-0300-0000BA040000}"/>
          </ac:spMkLst>
        </pc:spChg>
        <pc:spChg chg="mod">
          <ac:chgData name="Schjold, Hanne Røvig" userId="72e82339-bab0-442f-8ca6-e6f386a713ee" providerId="ADAL" clId="{9706D415-2DA0-4D00-90B6-E46BF852F024}" dt="2023-03-16T12:49:25.666" v="782" actId="1038"/>
          <ac:spMkLst>
            <pc:docMk/>
            <pc:sldMk cId="2278995086" sldId="729"/>
            <ac:spMk id="3823" creationId="{00000000-0008-0000-0300-0000BB040000}"/>
          </ac:spMkLst>
        </pc:spChg>
        <pc:spChg chg="mod">
          <ac:chgData name="Schjold, Hanne Røvig" userId="72e82339-bab0-442f-8ca6-e6f386a713ee" providerId="ADAL" clId="{9706D415-2DA0-4D00-90B6-E46BF852F024}" dt="2023-03-16T12:49:25.666" v="782" actId="1038"/>
          <ac:spMkLst>
            <pc:docMk/>
            <pc:sldMk cId="2278995086" sldId="729"/>
            <ac:spMk id="3824" creationId="{00000000-0008-0000-0300-0000BC040000}"/>
          </ac:spMkLst>
        </pc:spChg>
        <pc:spChg chg="mod">
          <ac:chgData name="Schjold, Hanne Røvig" userId="72e82339-bab0-442f-8ca6-e6f386a713ee" providerId="ADAL" clId="{9706D415-2DA0-4D00-90B6-E46BF852F024}" dt="2023-03-16T12:49:25.666" v="782" actId="1038"/>
          <ac:spMkLst>
            <pc:docMk/>
            <pc:sldMk cId="2278995086" sldId="729"/>
            <ac:spMk id="3825" creationId="{00000000-0008-0000-0300-0000BD040000}"/>
          </ac:spMkLst>
        </pc:spChg>
        <pc:spChg chg="mod">
          <ac:chgData name="Schjold, Hanne Røvig" userId="72e82339-bab0-442f-8ca6-e6f386a713ee" providerId="ADAL" clId="{9706D415-2DA0-4D00-90B6-E46BF852F024}" dt="2023-03-16T12:49:25.666" v="782" actId="1038"/>
          <ac:spMkLst>
            <pc:docMk/>
            <pc:sldMk cId="2278995086" sldId="729"/>
            <ac:spMk id="3826" creationId="{00000000-0008-0000-0300-0000BE040000}"/>
          </ac:spMkLst>
        </pc:spChg>
        <pc:spChg chg="mod">
          <ac:chgData name="Schjold, Hanne Røvig" userId="72e82339-bab0-442f-8ca6-e6f386a713ee" providerId="ADAL" clId="{9706D415-2DA0-4D00-90B6-E46BF852F024}" dt="2023-03-16T12:49:25.666" v="782" actId="1038"/>
          <ac:spMkLst>
            <pc:docMk/>
            <pc:sldMk cId="2278995086" sldId="729"/>
            <ac:spMk id="3827" creationId="{00000000-0008-0000-0300-0000BF040000}"/>
          </ac:spMkLst>
        </pc:spChg>
        <pc:spChg chg="mod">
          <ac:chgData name="Schjold, Hanne Røvig" userId="72e82339-bab0-442f-8ca6-e6f386a713ee" providerId="ADAL" clId="{9706D415-2DA0-4D00-90B6-E46BF852F024}" dt="2023-03-16T12:49:25.666" v="782" actId="1038"/>
          <ac:spMkLst>
            <pc:docMk/>
            <pc:sldMk cId="2278995086" sldId="729"/>
            <ac:spMk id="3828" creationId="{00000000-0008-0000-0300-0000C0040000}"/>
          </ac:spMkLst>
        </pc:spChg>
        <pc:spChg chg="mod">
          <ac:chgData name="Schjold, Hanne Røvig" userId="72e82339-bab0-442f-8ca6-e6f386a713ee" providerId="ADAL" clId="{9706D415-2DA0-4D00-90B6-E46BF852F024}" dt="2023-03-16T12:49:25.666" v="782" actId="1038"/>
          <ac:spMkLst>
            <pc:docMk/>
            <pc:sldMk cId="2278995086" sldId="729"/>
            <ac:spMk id="3829" creationId="{00000000-0008-0000-0300-0000C1040000}"/>
          </ac:spMkLst>
        </pc:spChg>
        <pc:spChg chg="mod">
          <ac:chgData name="Schjold, Hanne Røvig" userId="72e82339-bab0-442f-8ca6-e6f386a713ee" providerId="ADAL" clId="{9706D415-2DA0-4D00-90B6-E46BF852F024}" dt="2023-03-16T12:49:25.666" v="782" actId="1038"/>
          <ac:spMkLst>
            <pc:docMk/>
            <pc:sldMk cId="2278995086" sldId="729"/>
            <ac:spMk id="3830" creationId="{00000000-0008-0000-0300-0000C2040000}"/>
          </ac:spMkLst>
        </pc:spChg>
        <pc:spChg chg="mod">
          <ac:chgData name="Schjold, Hanne Røvig" userId="72e82339-bab0-442f-8ca6-e6f386a713ee" providerId="ADAL" clId="{9706D415-2DA0-4D00-90B6-E46BF852F024}" dt="2023-03-16T12:49:25.666" v="782" actId="1038"/>
          <ac:spMkLst>
            <pc:docMk/>
            <pc:sldMk cId="2278995086" sldId="729"/>
            <ac:spMk id="3831" creationId="{00000000-0008-0000-0300-0000C3040000}"/>
          </ac:spMkLst>
        </pc:spChg>
        <pc:spChg chg="mod">
          <ac:chgData name="Schjold, Hanne Røvig" userId="72e82339-bab0-442f-8ca6-e6f386a713ee" providerId="ADAL" clId="{9706D415-2DA0-4D00-90B6-E46BF852F024}" dt="2023-03-16T12:49:25.666" v="782" actId="1038"/>
          <ac:spMkLst>
            <pc:docMk/>
            <pc:sldMk cId="2278995086" sldId="729"/>
            <ac:spMk id="3832" creationId="{00000000-0008-0000-0300-0000C4040000}"/>
          </ac:spMkLst>
        </pc:spChg>
        <pc:spChg chg="mod">
          <ac:chgData name="Schjold, Hanne Røvig" userId="72e82339-bab0-442f-8ca6-e6f386a713ee" providerId="ADAL" clId="{9706D415-2DA0-4D00-90B6-E46BF852F024}" dt="2023-03-16T12:49:25.666" v="782" actId="1038"/>
          <ac:spMkLst>
            <pc:docMk/>
            <pc:sldMk cId="2278995086" sldId="729"/>
            <ac:spMk id="3833" creationId="{00000000-0008-0000-0300-0000C5040000}"/>
          </ac:spMkLst>
        </pc:spChg>
        <pc:spChg chg="mod">
          <ac:chgData name="Schjold, Hanne Røvig" userId="72e82339-bab0-442f-8ca6-e6f386a713ee" providerId="ADAL" clId="{9706D415-2DA0-4D00-90B6-E46BF852F024}" dt="2023-03-16T12:49:25.666" v="782" actId="1038"/>
          <ac:spMkLst>
            <pc:docMk/>
            <pc:sldMk cId="2278995086" sldId="729"/>
            <ac:spMk id="3834" creationId="{00000000-0008-0000-0300-0000C6040000}"/>
          </ac:spMkLst>
        </pc:spChg>
        <pc:spChg chg="mod">
          <ac:chgData name="Schjold, Hanne Røvig" userId="72e82339-bab0-442f-8ca6-e6f386a713ee" providerId="ADAL" clId="{9706D415-2DA0-4D00-90B6-E46BF852F024}" dt="2023-03-16T12:49:25.666" v="782" actId="1038"/>
          <ac:spMkLst>
            <pc:docMk/>
            <pc:sldMk cId="2278995086" sldId="729"/>
            <ac:spMk id="3835" creationId="{00000000-0008-0000-0300-0000C7040000}"/>
          </ac:spMkLst>
        </pc:spChg>
        <pc:spChg chg="mod">
          <ac:chgData name="Schjold, Hanne Røvig" userId="72e82339-bab0-442f-8ca6-e6f386a713ee" providerId="ADAL" clId="{9706D415-2DA0-4D00-90B6-E46BF852F024}" dt="2023-03-16T12:49:25.666" v="782" actId="1038"/>
          <ac:spMkLst>
            <pc:docMk/>
            <pc:sldMk cId="2278995086" sldId="729"/>
            <ac:spMk id="3836" creationId="{00000000-0008-0000-0300-0000C8040000}"/>
          </ac:spMkLst>
        </pc:spChg>
        <pc:spChg chg="mod">
          <ac:chgData name="Schjold, Hanne Røvig" userId="72e82339-bab0-442f-8ca6-e6f386a713ee" providerId="ADAL" clId="{9706D415-2DA0-4D00-90B6-E46BF852F024}" dt="2023-03-16T12:49:25.666" v="782" actId="1038"/>
          <ac:spMkLst>
            <pc:docMk/>
            <pc:sldMk cId="2278995086" sldId="729"/>
            <ac:spMk id="3837" creationId="{00000000-0008-0000-0300-0000C9040000}"/>
          </ac:spMkLst>
        </pc:spChg>
        <pc:spChg chg="mod">
          <ac:chgData name="Schjold, Hanne Røvig" userId="72e82339-bab0-442f-8ca6-e6f386a713ee" providerId="ADAL" clId="{9706D415-2DA0-4D00-90B6-E46BF852F024}" dt="2023-03-16T12:49:25.666" v="782" actId="1038"/>
          <ac:spMkLst>
            <pc:docMk/>
            <pc:sldMk cId="2278995086" sldId="729"/>
            <ac:spMk id="3838" creationId="{00000000-0008-0000-0300-0000CA040000}"/>
          </ac:spMkLst>
        </pc:spChg>
        <pc:spChg chg="mod">
          <ac:chgData name="Schjold, Hanne Røvig" userId="72e82339-bab0-442f-8ca6-e6f386a713ee" providerId="ADAL" clId="{9706D415-2DA0-4D00-90B6-E46BF852F024}" dt="2023-03-16T12:49:25.666" v="782" actId="1038"/>
          <ac:spMkLst>
            <pc:docMk/>
            <pc:sldMk cId="2278995086" sldId="729"/>
            <ac:spMk id="3839" creationId="{00000000-0008-0000-0300-0000CB040000}"/>
          </ac:spMkLst>
        </pc:spChg>
        <pc:spChg chg="mod">
          <ac:chgData name="Schjold, Hanne Røvig" userId="72e82339-bab0-442f-8ca6-e6f386a713ee" providerId="ADAL" clId="{9706D415-2DA0-4D00-90B6-E46BF852F024}" dt="2023-03-16T12:49:25.666" v="782" actId="1038"/>
          <ac:spMkLst>
            <pc:docMk/>
            <pc:sldMk cId="2278995086" sldId="729"/>
            <ac:spMk id="3840" creationId="{00000000-0008-0000-0300-0000CC040000}"/>
          </ac:spMkLst>
        </pc:spChg>
        <pc:spChg chg="mod">
          <ac:chgData name="Schjold, Hanne Røvig" userId="72e82339-bab0-442f-8ca6-e6f386a713ee" providerId="ADAL" clId="{9706D415-2DA0-4D00-90B6-E46BF852F024}" dt="2023-03-16T12:49:25.666" v="782" actId="1038"/>
          <ac:spMkLst>
            <pc:docMk/>
            <pc:sldMk cId="2278995086" sldId="729"/>
            <ac:spMk id="3841" creationId="{00000000-0008-0000-0300-0000CD040000}"/>
          </ac:spMkLst>
        </pc:spChg>
        <pc:spChg chg="mod">
          <ac:chgData name="Schjold, Hanne Røvig" userId="72e82339-bab0-442f-8ca6-e6f386a713ee" providerId="ADAL" clId="{9706D415-2DA0-4D00-90B6-E46BF852F024}" dt="2023-03-16T12:49:25.666" v="782" actId="1038"/>
          <ac:spMkLst>
            <pc:docMk/>
            <pc:sldMk cId="2278995086" sldId="729"/>
            <ac:spMk id="3842" creationId="{00000000-0008-0000-0300-0000CE040000}"/>
          </ac:spMkLst>
        </pc:spChg>
        <pc:spChg chg="mod">
          <ac:chgData name="Schjold, Hanne Røvig" userId="72e82339-bab0-442f-8ca6-e6f386a713ee" providerId="ADAL" clId="{9706D415-2DA0-4D00-90B6-E46BF852F024}" dt="2023-03-16T12:49:25.666" v="782" actId="1038"/>
          <ac:spMkLst>
            <pc:docMk/>
            <pc:sldMk cId="2278995086" sldId="729"/>
            <ac:spMk id="3843" creationId="{00000000-0008-0000-0300-0000CF040000}"/>
          </ac:spMkLst>
        </pc:spChg>
        <pc:spChg chg="mod">
          <ac:chgData name="Schjold, Hanne Røvig" userId="72e82339-bab0-442f-8ca6-e6f386a713ee" providerId="ADAL" clId="{9706D415-2DA0-4D00-90B6-E46BF852F024}" dt="2023-03-16T12:49:25.666" v="782" actId="1038"/>
          <ac:spMkLst>
            <pc:docMk/>
            <pc:sldMk cId="2278995086" sldId="729"/>
            <ac:spMk id="3844" creationId="{00000000-0008-0000-0300-0000D0040000}"/>
          </ac:spMkLst>
        </pc:spChg>
        <pc:spChg chg="mod">
          <ac:chgData name="Schjold, Hanne Røvig" userId="72e82339-bab0-442f-8ca6-e6f386a713ee" providerId="ADAL" clId="{9706D415-2DA0-4D00-90B6-E46BF852F024}" dt="2023-03-16T12:49:25.666" v="782" actId="1038"/>
          <ac:spMkLst>
            <pc:docMk/>
            <pc:sldMk cId="2278995086" sldId="729"/>
            <ac:spMk id="3845" creationId="{00000000-0008-0000-0300-0000D1040000}"/>
          </ac:spMkLst>
        </pc:spChg>
        <pc:spChg chg="mod">
          <ac:chgData name="Schjold, Hanne Røvig" userId="72e82339-bab0-442f-8ca6-e6f386a713ee" providerId="ADAL" clId="{9706D415-2DA0-4D00-90B6-E46BF852F024}" dt="2023-03-16T12:49:25.666" v="782" actId="1038"/>
          <ac:spMkLst>
            <pc:docMk/>
            <pc:sldMk cId="2278995086" sldId="729"/>
            <ac:spMk id="3846" creationId="{00000000-0008-0000-0300-0000D2040000}"/>
          </ac:spMkLst>
        </pc:spChg>
        <pc:spChg chg="mod">
          <ac:chgData name="Schjold, Hanne Røvig" userId="72e82339-bab0-442f-8ca6-e6f386a713ee" providerId="ADAL" clId="{9706D415-2DA0-4D00-90B6-E46BF852F024}" dt="2023-03-16T12:49:25.666" v="782" actId="1038"/>
          <ac:spMkLst>
            <pc:docMk/>
            <pc:sldMk cId="2278995086" sldId="729"/>
            <ac:spMk id="3847" creationId="{00000000-0008-0000-0300-0000D3040000}"/>
          </ac:spMkLst>
        </pc:spChg>
        <pc:spChg chg="mod">
          <ac:chgData name="Schjold, Hanne Røvig" userId="72e82339-bab0-442f-8ca6-e6f386a713ee" providerId="ADAL" clId="{9706D415-2DA0-4D00-90B6-E46BF852F024}" dt="2023-03-16T12:49:25.666" v="782" actId="1038"/>
          <ac:spMkLst>
            <pc:docMk/>
            <pc:sldMk cId="2278995086" sldId="729"/>
            <ac:spMk id="3848" creationId="{00000000-0008-0000-0300-0000D4040000}"/>
          </ac:spMkLst>
        </pc:spChg>
        <pc:spChg chg="mod">
          <ac:chgData name="Schjold, Hanne Røvig" userId="72e82339-bab0-442f-8ca6-e6f386a713ee" providerId="ADAL" clId="{9706D415-2DA0-4D00-90B6-E46BF852F024}" dt="2023-03-16T12:49:25.666" v="782" actId="1038"/>
          <ac:spMkLst>
            <pc:docMk/>
            <pc:sldMk cId="2278995086" sldId="729"/>
            <ac:spMk id="3849" creationId="{00000000-0008-0000-0300-0000D5040000}"/>
          </ac:spMkLst>
        </pc:spChg>
        <pc:spChg chg="mod">
          <ac:chgData name="Schjold, Hanne Røvig" userId="72e82339-bab0-442f-8ca6-e6f386a713ee" providerId="ADAL" clId="{9706D415-2DA0-4D00-90B6-E46BF852F024}" dt="2023-03-16T12:49:25.666" v="782" actId="1038"/>
          <ac:spMkLst>
            <pc:docMk/>
            <pc:sldMk cId="2278995086" sldId="729"/>
            <ac:spMk id="3850" creationId="{00000000-0008-0000-0300-0000D6040000}"/>
          </ac:spMkLst>
        </pc:spChg>
        <pc:spChg chg="mod">
          <ac:chgData name="Schjold, Hanne Røvig" userId="72e82339-bab0-442f-8ca6-e6f386a713ee" providerId="ADAL" clId="{9706D415-2DA0-4D00-90B6-E46BF852F024}" dt="2023-03-16T12:49:25.666" v="782" actId="1038"/>
          <ac:spMkLst>
            <pc:docMk/>
            <pc:sldMk cId="2278995086" sldId="729"/>
            <ac:spMk id="3851" creationId="{00000000-0008-0000-0300-0000D7040000}"/>
          </ac:spMkLst>
        </pc:spChg>
        <pc:spChg chg="mod">
          <ac:chgData name="Schjold, Hanne Røvig" userId="72e82339-bab0-442f-8ca6-e6f386a713ee" providerId="ADAL" clId="{9706D415-2DA0-4D00-90B6-E46BF852F024}" dt="2023-03-16T12:49:25.666" v="782" actId="1038"/>
          <ac:spMkLst>
            <pc:docMk/>
            <pc:sldMk cId="2278995086" sldId="729"/>
            <ac:spMk id="3852" creationId="{00000000-0008-0000-0300-0000D8040000}"/>
          </ac:spMkLst>
        </pc:spChg>
        <pc:spChg chg="mod">
          <ac:chgData name="Schjold, Hanne Røvig" userId="72e82339-bab0-442f-8ca6-e6f386a713ee" providerId="ADAL" clId="{9706D415-2DA0-4D00-90B6-E46BF852F024}" dt="2023-03-16T12:49:25.666" v="782" actId="1038"/>
          <ac:spMkLst>
            <pc:docMk/>
            <pc:sldMk cId="2278995086" sldId="729"/>
            <ac:spMk id="3853" creationId="{00000000-0008-0000-0300-0000D9040000}"/>
          </ac:spMkLst>
        </pc:spChg>
        <pc:spChg chg="mod">
          <ac:chgData name="Schjold, Hanne Røvig" userId="72e82339-bab0-442f-8ca6-e6f386a713ee" providerId="ADAL" clId="{9706D415-2DA0-4D00-90B6-E46BF852F024}" dt="2023-03-16T12:49:25.666" v="782" actId="1038"/>
          <ac:spMkLst>
            <pc:docMk/>
            <pc:sldMk cId="2278995086" sldId="729"/>
            <ac:spMk id="3854" creationId="{00000000-0008-0000-0300-0000DA040000}"/>
          </ac:spMkLst>
        </pc:spChg>
        <pc:spChg chg="mod">
          <ac:chgData name="Schjold, Hanne Røvig" userId="72e82339-bab0-442f-8ca6-e6f386a713ee" providerId="ADAL" clId="{9706D415-2DA0-4D00-90B6-E46BF852F024}" dt="2023-03-16T12:49:25.666" v="782" actId="1038"/>
          <ac:spMkLst>
            <pc:docMk/>
            <pc:sldMk cId="2278995086" sldId="729"/>
            <ac:spMk id="3855" creationId="{00000000-0008-0000-0300-0000DB040000}"/>
          </ac:spMkLst>
        </pc:spChg>
        <pc:spChg chg="mod">
          <ac:chgData name="Schjold, Hanne Røvig" userId="72e82339-bab0-442f-8ca6-e6f386a713ee" providerId="ADAL" clId="{9706D415-2DA0-4D00-90B6-E46BF852F024}" dt="2023-03-16T12:49:25.666" v="782" actId="1038"/>
          <ac:spMkLst>
            <pc:docMk/>
            <pc:sldMk cId="2278995086" sldId="729"/>
            <ac:spMk id="3856" creationId="{00000000-0008-0000-0300-0000DC040000}"/>
          </ac:spMkLst>
        </pc:spChg>
        <pc:spChg chg="mod">
          <ac:chgData name="Schjold, Hanne Røvig" userId="72e82339-bab0-442f-8ca6-e6f386a713ee" providerId="ADAL" clId="{9706D415-2DA0-4D00-90B6-E46BF852F024}" dt="2023-03-16T12:49:25.666" v="782" actId="1038"/>
          <ac:spMkLst>
            <pc:docMk/>
            <pc:sldMk cId="2278995086" sldId="729"/>
            <ac:spMk id="3857" creationId="{00000000-0008-0000-0300-0000DD040000}"/>
          </ac:spMkLst>
        </pc:spChg>
        <pc:spChg chg="mod">
          <ac:chgData name="Schjold, Hanne Røvig" userId="72e82339-bab0-442f-8ca6-e6f386a713ee" providerId="ADAL" clId="{9706D415-2DA0-4D00-90B6-E46BF852F024}" dt="2023-03-16T12:49:25.666" v="782" actId="1038"/>
          <ac:spMkLst>
            <pc:docMk/>
            <pc:sldMk cId="2278995086" sldId="729"/>
            <ac:spMk id="3858" creationId="{00000000-0008-0000-0300-0000DE040000}"/>
          </ac:spMkLst>
        </pc:spChg>
        <pc:spChg chg="mod">
          <ac:chgData name="Schjold, Hanne Røvig" userId="72e82339-bab0-442f-8ca6-e6f386a713ee" providerId="ADAL" clId="{9706D415-2DA0-4D00-90B6-E46BF852F024}" dt="2023-03-16T12:49:25.666" v="782" actId="1038"/>
          <ac:spMkLst>
            <pc:docMk/>
            <pc:sldMk cId="2278995086" sldId="729"/>
            <ac:spMk id="3859" creationId="{00000000-0008-0000-0300-0000DF040000}"/>
          </ac:spMkLst>
        </pc:spChg>
        <pc:spChg chg="mod">
          <ac:chgData name="Schjold, Hanne Røvig" userId="72e82339-bab0-442f-8ca6-e6f386a713ee" providerId="ADAL" clId="{9706D415-2DA0-4D00-90B6-E46BF852F024}" dt="2023-03-16T12:49:25.666" v="782" actId="1038"/>
          <ac:spMkLst>
            <pc:docMk/>
            <pc:sldMk cId="2278995086" sldId="729"/>
            <ac:spMk id="3860" creationId="{00000000-0008-0000-0300-0000E0040000}"/>
          </ac:spMkLst>
        </pc:spChg>
        <pc:spChg chg="mod">
          <ac:chgData name="Schjold, Hanne Røvig" userId="72e82339-bab0-442f-8ca6-e6f386a713ee" providerId="ADAL" clId="{9706D415-2DA0-4D00-90B6-E46BF852F024}" dt="2023-03-16T12:49:25.666" v="782" actId="1038"/>
          <ac:spMkLst>
            <pc:docMk/>
            <pc:sldMk cId="2278995086" sldId="729"/>
            <ac:spMk id="3861" creationId="{00000000-0008-0000-0300-0000E1040000}"/>
          </ac:spMkLst>
        </pc:spChg>
        <pc:spChg chg="mod">
          <ac:chgData name="Schjold, Hanne Røvig" userId="72e82339-bab0-442f-8ca6-e6f386a713ee" providerId="ADAL" clId="{9706D415-2DA0-4D00-90B6-E46BF852F024}" dt="2023-03-16T12:49:25.666" v="782" actId="1038"/>
          <ac:spMkLst>
            <pc:docMk/>
            <pc:sldMk cId="2278995086" sldId="729"/>
            <ac:spMk id="3862" creationId="{00000000-0008-0000-0300-0000E2040000}"/>
          </ac:spMkLst>
        </pc:spChg>
        <pc:spChg chg="mod">
          <ac:chgData name="Schjold, Hanne Røvig" userId="72e82339-bab0-442f-8ca6-e6f386a713ee" providerId="ADAL" clId="{9706D415-2DA0-4D00-90B6-E46BF852F024}" dt="2023-03-16T12:49:25.666" v="782" actId="1038"/>
          <ac:spMkLst>
            <pc:docMk/>
            <pc:sldMk cId="2278995086" sldId="729"/>
            <ac:spMk id="3863" creationId="{00000000-0008-0000-0300-0000E3040000}"/>
          </ac:spMkLst>
        </pc:spChg>
        <pc:spChg chg="mod">
          <ac:chgData name="Schjold, Hanne Røvig" userId="72e82339-bab0-442f-8ca6-e6f386a713ee" providerId="ADAL" clId="{9706D415-2DA0-4D00-90B6-E46BF852F024}" dt="2023-03-16T12:49:25.666" v="782" actId="1038"/>
          <ac:spMkLst>
            <pc:docMk/>
            <pc:sldMk cId="2278995086" sldId="729"/>
            <ac:spMk id="3864" creationId="{00000000-0008-0000-0300-0000E4040000}"/>
          </ac:spMkLst>
        </pc:spChg>
        <pc:spChg chg="mod">
          <ac:chgData name="Schjold, Hanne Røvig" userId="72e82339-bab0-442f-8ca6-e6f386a713ee" providerId="ADAL" clId="{9706D415-2DA0-4D00-90B6-E46BF852F024}" dt="2023-03-16T12:49:25.666" v="782" actId="1038"/>
          <ac:spMkLst>
            <pc:docMk/>
            <pc:sldMk cId="2278995086" sldId="729"/>
            <ac:spMk id="3865" creationId="{00000000-0008-0000-0300-0000E5040000}"/>
          </ac:spMkLst>
        </pc:spChg>
        <pc:spChg chg="mod">
          <ac:chgData name="Schjold, Hanne Røvig" userId="72e82339-bab0-442f-8ca6-e6f386a713ee" providerId="ADAL" clId="{9706D415-2DA0-4D00-90B6-E46BF852F024}" dt="2023-03-16T12:49:25.666" v="782" actId="1038"/>
          <ac:spMkLst>
            <pc:docMk/>
            <pc:sldMk cId="2278995086" sldId="729"/>
            <ac:spMk id="3866" creationId="{00000000-0008-0000-0300-0000E6040000}"/>
          </ac:spMkLst>
        </pc:spChg>
        <pc:spChg chg="mod">
          <ac:chgData name="Schjold, Hanne Røvig" userId="72e82339-bab0-442f-8ca6-e6f386a713ee" providerId="ADAL" clId="{9706D415-2DA0-4D00-90B6-E46BF852F024}" dt="2023-03-16T12:49:25.666" v="782" actId="1038"/>
          <ac:spMkLst>
            <pc:docMk/>
            <pc:sldMk cId="2278995086" sldId="729"/>
            <ac:spMk id="3867" creationId="{00000000-0008-0000-0300-0000E7040000}"/>
          </ac:spMkLst>
        </pc:spChg>
        <pc:spChg chg="mod">
          <ac:chgData name="Schjold, Hanne Røvig" userId="72e82339-bab0-442f-8ca6-e6f386a713ee" providerId="ADAL" clId="{9706D415-2DA0-4D00-90B6-E46BF852F024}" dt="2023-03-16T12:49:25.666" v="782" actId="1038"/>
          <ac:spMkLst>
            <pc:docMk/>
            <pc:sldMk cId="2278995086" sldId="729"/>
            <ac:spMk id="3868" creationId="{00000000-0008-0000-0300-0000E8040000}"/>
          </ac:spMkLst>
        </pc:spChg>
        <pc:spChg chg="mod">
          <ac:chgData name="Schjold, Hanne Røvig" userId="72e82339-bab0-442f-8ca6-e6f386a713ee" providerId="ADAL" clId="{9706D415-2DA0-4D00-90B6-E46BF852F024}" dt="2023-03-16T12:49:25.666" v="782" actId="1038"/>
          <ac:spMkLst>
            <pc:docMk/>
            <pc:sldMk cId="2278995086" sldId="729"/>
            <ac:spMk id="3869" creationId="{00000000-0008-0000-0300-0000E9040000}"/>
          </ac:spMkLst>
        </pc:spChg>
        <pc:spChg chg="mod">
          <ac:chgData name="Schjold, Hanne Røvig" userId="72e82339-bab0-442f-8ca6-e6f386a713ee" providerId="ADAL" clId="{9706D415-2DA0-4D00-90B6-E46BF852F024}" dt="2023-03-16T12:49:25.666" v="782" actId="1038"/>
          <ac:spMkLst>
            <pc:docMk/>
            <pc:sldMk cId="2278995086" sldId="729"/>
            <ac:spMk id="3870" creationId="{00000000-0008-0000-0300-0000EA040000}"/>
          </ac:spMkLst>
        </pc:spChg>
        <pc:spChg chg="mod">
          <ac:chgData name="Schjold, Hanne Røvig" userId="72e82339-bab0-442f-8ca6-e6f386a713ee" providerId="ADAL" clId="{9706D415-2DA0-4D00-90B6-E46BF852F024}" dt="2023-03-16T12:49:25.666" v="782" actId="1038"/>
          <ac:spMkLst>
            <pc:docMk/>
            <pc:sldMk cId="2278995086" sldId="729"/>
            <ac:spMk id="3871" creationId="{00000000-0008-0000-0300-0000EB040000}"/>
          </ac:spMkLst>
        </pc:spChg>
        <pc:spChg chg="mod">
          <ac:chgData name="Schjold, Hanne Røvig" userId="72e82339-bab0-442f-8ca6-e6f386a713ee" providerId="ADAL" clId="{9706D415-2DA0-4D00-90B6-E46BF852F024}" dt="2023-03-16T12:49:25.666" v="782" actId="1038"/>
          <ac:spMkLst>
            <pc:docMk/>
            <pc:sldMk cId="2278995086" sldId="729"/>
            <ac:spMk id="3872" creationId="{00000000-0008-0000-0300-0000EC040000}"/>
          </ac:spMkLst>
        </pc:spChg>
        <pc:spChg chg="mod">
          <ac:chgData name="Schjold, Hanne Røvig" userId="72e82339-bab0-442f-8ca6-e6f386a713ee" providerId="ADAL" clId="{9706D415-2DA0-4D00-90B6-E46BF852F024}" dt="2023-03-16T12:49:25.666" v="782" actId="1038"/>
          <ac:spMkLst>
            <pc:docMk/>
            <pc:sldMk cId="2278995086" sldId="729"/>
            <ac:spMk id="3873" creationId="{00000000-0008-0000-0300-0000ED040000}"/>
          </ac:spMkLst>
        </pc:spChg>
        <pc:spChg chg="mod">
          <ac:chgData name="Schjold, Hanne Røvig" userId="72e82339-bab0-442f-8ca6-e6f386a713ee" providerId="ADAL" clId="{9706D415-2DA0-4D00-90B6-E46BF852F024}" dt="2023-03-16T12:49:25.666" v="782" actId="1038"/>
          <ac:spMkLst>
            <pc:docMk/>
            <pc:sldMk cId="2278995086" sldId="729"/>
            <ac:spMk id="3874" creationId="{00000000-0008-0000-0300-0000EE040000}"/>
          </ac:spMkLst>
        </pc:spChg>
        <pc:spChg chg="mod">
          <ac:chgData name="Schjold, Hanne Røvig" userId="72e82339-bab0-442f-8ca6-e6f386a713ee" providerId="ADAL" clId="{9706D415-2DA0-4D00-90B6-E46BF852F024}" dt="2023-03-16T12:49:25.666" v="782" actId="1038"/>
          <ac:spMkLst>
            <pc:docMk/>
            <pc:sldMk cId="2278995086" sldId="729"/>
            <ac:spMk id="3875" creationId="{00000000-0008-0000-0300-0000EF040000}"/>
          </ac:spMkLst>
        </pc:spChg>
        <pc:spChg chg="mod">
          <ac:chgData name="Schjold, Hanne Røvig" userId="72e82339-bab0-442f-8ca6-e6f386a713ee" providerId="ADAL" clId="{9706D415-2DA0-4D00-90B6-E46BF852F024}" dt="2023-03-16T12:49:25.666" v="782" actId="1038"/>
          <ac:spMkLst>
            <pc:docMk/>
            <pc:sldMk cId="2278995086" sldId="729"/>
            <ac:spMk id="3876" creationId="{00000000-0008-0000-0300-0000F0040000}"/>
          </ac:spMkLst>
        </pc:spChg>
        <pc:spChg chg="mod">
          <ac:chgData name="Schjold, Hanne Røvig" userId="72e82339-bab0-442f-8ca6-e6f386a713ee" providerId="ADAL" clId="{9706D415-2DA0-4D00-90B6-E46BF852F024}" dt="2023-03-16T12:49:25.666" v="782" actId="1038"/>
          <ac:spMkLst>
            <pc:docMk/>
            <pc:sldMk cId="2278995086" sldId="729"/>
            <ac:spMk id="3877" creationId="{00000000-0008-0000-0300-0000F1040000}"/>
          </ac:spMkLst>
        </pc:spChg>
        <pc:spChg chg="mod">
          <ac:chgData name="Schjold, Hanne Røvig" userId="72e82339-bab0-442f-8ca6-e6f386a713ee" providerId="ADAL" clId="{9706D415-2DA0-4D00-90B6-E46BF852F024}" dt="2023-03-16T12:49:25.666" v="782" actId="1038"/>
          <ac:spMkLst>
            <pc:docMk/>
            <pc:sldMk cId="2278995086" sldId="729"/>
            <ac:spMk id="3878" creationId="{00000000-0008-0000-0300-0000F2040000}"/>
          </ac:spMkLst>
        </pc:spChg>
        <pc:spChg chg="mod">
          <ac:chgData name="Schjold, Hanne Røvig" userId="72e82339-bab0-442f-8ca6-e6f386a713ee" providerId="ADAL" clId="{9706D415-2DA0-4D00-90B6-E46BF852F024}" dt="2023-03-16T12:49:25.666" v="782" actId="1038"/>
          <ac:spMkLst>
            <pc:docMk/>
            <pc:sldMk cId="2278995086" sldId="729"/>
            <ac:spMk id="3879" creationId="{00000000-0008-0000-0300-0000F3040000}"/>
          </ac:spMkLst>
        </pc:spChg>
        <pc:spChg chg="mod">
          <ac:chgData name="Schjold, Hanne Røvig" userId="72e82339-bab0-442f-8ca6-e6f386a713ee" providerId="ADAL" clId="{9706D415-2DA0-4D00-90B6-E46BF852F024}" dt="2023-03-16T12:49:25.666" v="782" actId="1038"/>
          <ac:spMkLst>
            <pc:docMk/>
            <pc:sldMk cId="2278995086" sldId="729"/>
            <ac:spMk id="3880" creationId="{00000000-0008-0000-0300-0000F4040000}"/>
          </ac:spMkLst>
        </pc:spChg>
        <pc:spChg chg="mod">
          <ac:chgData name="Schjold, Hanne Røvig" userId="72e82339-bab0-442f-8ca6-e6f386a713ee" providerId="ADAL" clId="{9706D415-2DA0-4D00-90B6-E46BF852F024}" dt="2023-03-16T12:49:25.666" v="782" actId="1038"/>
          <ac:spMkLst>
            <pc:docMk/>
            <pc:sldMk cId="2278995086" sldId="729"/>
            <ac:spMk id="3881" creationId="{00000000-0008-0000-0300-0000F5040000}"/>
          </ac:spMkLst>
        </pc:spChg>
        <pc:spChg chg="mod">
          <ac:chgData name="Schjold, Hanne Røvig" userId="72e82339-bab0-442f-8ca6-e6f386a713ee" providerId="ADAL" clId="{9706D415-2DA0-4D00-90B6-E46BF852F024}" dt="2023-03-16T12:49:25.666" v="782" actId="1038"/>
          <ac:spMkLst>
            <pc:docMk/>
            <pc:sldMk cId="2278995086" sldId="729"/>
            <ac:spMk id="3882" creationId="{00000000-0008-0000-0300-0000F6040000}"/>
          </ac:spMkLst>
        </pc:spChg>
        <pc:spChg chg="mod">
          <ac:chgData name="Schjold, Hanne Røvig" userId="72e82339-bab0-442f-8ca6-e6f386a713ee" providerId="ADAL" clId="{9706D415-2DA0-4D00-90B6-E46BF852F024}" dt="2023-03-16T12:49:25.666" v="782" actId="1038"/>
          <ac:spMkLst>
            <pc:docMk/>
            <pc:sldMk cId="2278995086" sldId="729"/>
            <ac:spMk id="3883" creationId="{00000000-0008-0000-0300-0000F7040000}"/>
          </ac:spMkLst>
        </pc:spChg>
        <pc:spChg chg="mod">
          <ac:chgData name="Schjold, Hanne Røvig" userId="72e82339-bab0-442f-8ca6-e6f386a713ee" providerId="ADAL" clId="{9706D415-2DA0-4D00-90B6-E46BF852F024}" dt="2023-03-16T12:49:25.666" v="782" actId="1038"/>
          <ac:spMkLst>
            <pc:docMk/>
            <pc:sldMk cId="2278995086" sldId="729"/>
            <ac:spMk id="3884" creationId="{00000000-0008-0000-0300-0000F8040000}"/>
          </ac:spMkLst>
        </pc:spChg>
        <pc:spChg chg="mod">
          <ac:chgData name="Schjold, Hanne Røvig" userId="72e82339-bab0-442f-8ca6-e6f386a713ee" providerId="ADAL" clId="{9706D415-2DA0-4D00-90B6-E46BF852F024}" dt="2023-03-16T12:49:25.666" v="782" actId="1038"/>
          <ac:spMkLst>
            <pc:docMk/>
            <pc:sldMk cId="2278995086" sldId="729"/>
            <ac:spMk id="3885" creationId="{00000000-0008-0000-0300-0000F9040000}"/>
          </ac:spMkLst>
        </pc:spChg>
        <pc:spChg chg="mod">
          <ac:chgData name="Schjold, Hanne Røvig" userId="72e82339-bab0-442f-8ca6-e6f386a713ee" providerId="ADAL" clId="{9706D415-2DA0-4D00-90B6-E46BF852F024}" dt="2023-03-16T12:49:25.666" v="782" actId="1038"/>
          <ac:spMkLst>
            <pc:docMk/>
            <pc:sldMk cId="2278995086" sldId="729"/>
            <ac:spMk id="3886" creationId="{00000000-0008-0000-0300-0000FA040000}"/>
          </ac:spMkLst>
        </pc:spChg>
        <pc:spChg chg="mod">
          <ac:chgData name="Schjold, Hanne Røvig" userId="72e82339-bab0-442f-8ca6-e6f386a713ee" providerId="ADAL" clId="{9706D415-2DA0-4D00-90B6-E46BF852F024}" dt="2023-03-16T12:49:25.666" v="782" actId="1038"/>
          <ac:spMkLst>
            <pc:docMk/>
            <pc:sldMk cId="2278995086" sldId="729"/>
            <ac:spMk id="3887" creationId="{00000000-0008-0000-0300-0000FB040000}"/>
          </ac:spMkLst>
        </pc:spChg>
        <pc:spChg chg="mod">
          <ac:chgData name="Schjold, Hanne Røvig" userId="72e82339-bab0-442f-8ca6-e6f386a713ee" providerId="ADAL" clId="{9706D415-2DA0-4D00-90B6-E46BF852F024}" dt="2023-03-16T12:49:25.666" v="782" actId="1038"/>
          <ac:spMkLst>
            <pc:docMk/>
            <pc:sldMk cId="2278995086" sldId="729"/>
            <ac:spMk id="3888" creationId="{00000000-0008-0000-0300-0000FC040000}"/>
          </ac:spMkLst>
        </pc:spChg>
        <pc:spChg chg="mod">
          <ac:chgData name="Schjold, Hanne Røvig" userId="72e82339-bab0-442f-8ca6-e6f386a713ee" providerId="ADAL" clId="{9706D415-2DA0-4D00-90B6-E46BF852F024}" dt="2023-03-16T12:49:25.666" v="782" actId="1038"/>
          <ac:spMkLst>
            <pc:docMk/>
            <pc:sldMk cId="2278995086" sldId="729"/>
            <ac:spMk id="3889" creationId="{00000000-0008-0000-0300-0000FD040000}"/>
          </ac:spMkLst>
        </pc:spChg>
        <pc:spChg chg="mod">
          <ac:chgData name="Schjold, Hanne Røvig" userId="72e82339-bab0-442f-8ca6-e6f386a713ee" providerId="ADAL" clId="{9706D415-2DA0-4D00-90B6-E46BF852F024}" dt="2023-03-16T12:49:25.666" v="782" actId="1038"/>
          <ac:spMkLst>
            <pc:docMk/>
            <pc:sldMk cId="2278995086" sldId="729"/>
            <ac:spMk id="3890" creationId="{00000000-0008-0000-0300-0000FE040000}"/>
          </ac:spMkLst>
        </pc:spChg>
        <pc:spChg chg="mod">
          <ac:chgData name="Schjold, Hanne Røvig" userId="72e82339-bab0-442f-8ca6-e6f386a713ee" providerId="ADAL" clId="{9706D415-2DA0-4D00-90B6-E46BF852F024}" dt="2023-03-16T12:49:25.666" v="782" actId="1038"/>
          <ac:spMkLst>
            <pc:docMk/>
            <pc:sldMk cId="2278995086" sldId="729"/>
            <ac:spMk id="3891" creationId="{00000000-0008-0000-0300-0000FF040000}"/>
          </ac:spMkLst>
        </pc:spChg>
        <pc:spChg chg="mod">
          <ac:chgData name="Schjold, Hanne Røvig" userId="72e82339-bab0-442f-8ca6-e6f386a713ee" providerId="ADAL" clId="{9706D415-2DA0-4D00-90B6-E46BF852F024}" dt="2023-03-16T12:49:25.666" v="782" actId="1038"/>
          <ac:spMkLst>
            <pc:docMk/>
            <pc:sldMk cId="2278995086" sldId="729"/>
            <ac:spMk id="3892" creationId="{00000000-0008-0000-0300-000000050000}"/>
          </ac:spMkLst>
        </pc:spChg>
        <pc:spChg chg="mod">
          <ac:chgData name="Schjold, Hanne Røvig" userId="72e82339-bab0-442f-8ca6-e6f386a713ee" providerId="ADAL" clId="{9706D415-2DA0-4D00-90B6-E46BF852F024}" dt="2023-03-16T12:49:25.666" v="782" actId="1038"/>
          <ac:spMkLst>
            <pc:docMk/>
            <pc:sldMk cId="2278995086" sldId="729"/>
            <ac:spMk id="3893" creationId="{00000000-0008-0000-0300-000001050000}"/>
          </ac:spMkLst>
        </pc:spChg>
        <pc:spChg chg="mod">
          <ac:chgData name="Schjold, Hanne Røvig" userId="72e82339-bab0-442f-8ca6-e6f386a713ee" providerId="ADAL" clId="{9706D415-2DA0-4D00-90B6-E46BF852F024}" dt="2023-03-16T12:49:25.666" v="782" actId="1038"/>
          <ac:spMkLst>
            <pc:docMk/>
            <pc:sldMk cId="2278995086" sldId="729"/>
            <ac:spMk id="3894" creationId="{00000000-0008-0000-0300-000002050000}"/>
          </ac:spMkLst>
        </pc:spChg>
        <pc:spChg chg="mod">
          <ac:chgData name="Schjold, Hanne Røvig" userId="72e82339-bab0-442f-8ca6-e6f386a713ee" providerId="ADAL" clId="{9706D415-2DA0-4D00-90B6-E46BF852F024}" dt="2023-03-16T12:49:25.666" v="782" actId="1038"/>
          <ac:spMkLst>
            <pc:docMk/>
            <pc:sldMk cId="2278995086" sldId="729"/>
            <ac:spMk id="3895" creationId="{00000000-0008-0000-0300-000003050000}"/>
          </ac:spMkLst>
        </pc:spChg>
        <pc:spChg chg="mod">
          <ac:chgData name="Schjold, Hanne Røvig" userId="72e82339-bab0-442f-8ca6-e6f386a713ee" providerId="ADAL" clId="{9706D415-2DA0-4D00-90B6-E46BF852F024}" dt="2023-03-16T12:49:25.666" v="782" actId="1038"/>
          <ac:spMkLst>
            <pc:docMk/>
            <pc:sldMk cId="2278995086" sldId="729"/>
            <ac:spMk id="3896" creationId="{00000000-0008-0000-0300-000004050000}"/>
          </ac:spMkLst>
        </pc:spChg>
        <pc:spChg chg="mod">
          <ac:chgData name="Schjold, Hanne Røvig" userId="72e82339-bab0-442f-8ca6-e6f386a713ee" providerId="ADAL" clId="{9706D415-2DA0-4D00-90B6-E46BF852F024}" dt="2023-03-16T12:49:25.666" v="782" actId="1038"/>
          <ac:spMkLst>
            <pc:docMk/>
            <pc:sldMk cId="2278995086" sldId="729"/>
            <ac:spMk id="3897" creationId="{00000000-0008-0000-0300-000005050000}"/>
          </ac:spMkLst>
        </pc:spChg>
        <pc:spChg chg="mod">
          <ac:chgData name="Schjold, Hanne Røvig" userId="72e82339-bab0-442f-8ca6-e6f386a713ee" providerId="ADAL" clId="{9706D415-2DA0-4D00-90B6-E46BF852F024}" dt="2023-03-16T12:49:25.666" v="782" actId="1038"/>
          <ac:spMkLst>
            <pc:docMk/>
            <pc:sldMk cId="2278995086" sldId="729"/>
            <ac:spMk id="3898" creationId="{00000000-0008-0000-0300-000006050000}"/>
          </ac:spMkLst>
        </pc:spChg>
        <pc:spChg chg="mod">
          <ac:chgData name="Schjold, Hanne Røvig" userId="72e82339-bab0-442f-8ca6-e6f386a713ee" providerId="ADAL" clId="{9706D415-2DA0-4D00-90B6-E46BF852F024}" dt="2023-03-16T12:49:25.666" v="782" actId="1038"/>
          <ac:spMkLst>
            <pc:docMk/>
            <pc:sldMk cId="2278995086" sldId="729"/>
            <ac:spMk id="3899" creationId="{00000000-0008-0000-0300-000007050000}"/>
          </ac:spMkLst>
        </pc:spChg>
        <pc:spChg chg="mod">
          <ac:chgData name="Schjold, Hanne Røvig" userId="72e82339-bab0-442f-8ca6-e6f386a713ee" providerId="ADAL" clId="{9706D415-2DA0-4D00-90B6-E46BF852F024}" dt="2023-03-16T12:49:25.666" v="782" actId="1038"/>
          <ac:spMkLst>
            <pc:docMk/>
            <pc:sldMk cId="2278995086" sldId="729"/>
            <ac:spMk id="3900" creationId="{00000000-0008-0000-0300-000008050000}"/>
          </ac:spMkLst>
        </pc:spChg>
        <pc:spChg chg="mod">
          <ac:chgData name="Schjold, Hanne Røvig" userId="72e82339-bab0-442f-8ca6-e6f386a713ee" providerId="ADAL" clId="{9706D415-2DA0-4D00-90B6-E46BF852F024}" dt="2023-03-16T12:49:25.666" v="782" actId="1038"/>
          <ac:spMkLst>
            <pc:docMk/>
            <pc:sldMk cId="2278995086" sldId="729"/>
            <ac:spMk id="3901" creationId="{00000000-0008-0000-0300-000009050000}"/>
          </ac:spMkLst>
        </pc:spChg>
        <pc:spChg chg="mod">
          <ac:chgData name="Schjold, Hanne Røvig" userId="72e82339-bab0-442f-8ca6-e6f386a713ee" providerId="ADAL" clId="{9706D415-2DA0-4D00-90B6-E46BF852F024}" dt="2023-03-16T12:49:25.666" v="782" actId="1038"/>
          <ac:spMkLst>
            <pc:docMk/>
            <pc:sldMk cId="2278995086" sldId="729"/>
            <ac:spMk id="3902" creationId="{00000000-0008-0000-0300-00000A050000}"/>
          </ac:spMkLst>
        </pc:spChg>
        <pc:spChg chg="mod">
          <ac:chgData name="Schjold, Hanne Røvig" userId="72e82339-bab0-442f-8ca6-e6f386a713ee" providerId="ADAL" clId="{9706D415-2DA0-4D00-90B6-E46BF852F024}" dt="2023-03-16T12:49:25.666" v="782" actId="1038"/>
          <ac:spMkLst>
            <pc:docMk/>
            <pc:sldMk cId="2278995086" sldId="729"/>
            <ac:spMk id="3903" creationId="{00000000-0008-0000-0300-00000B050000}"/>
          </ac:spMkLst>
        </pc:spChg>
        <pc:spChg chg="mod">
          <ac:chgData name="Schjold, Hanne Røvig" userId="72e82339-bab0-442f-8ca6-e6f386a713ee" providerId="ADAL" clId="{9706D415-2DA0-4D00-90B6-E46BF852F024}" dt="2023-03-16T12:49:25.666" v="782" actId="1038"/>
          <ac:spMkLst>
            <pc:docMk/>
            <pc:sldMk cId="2278995086" sldId="729"/>
            <ac:spMk id="3904" creationId="{00000000-0008-0000-0300-00000C050000}"/>
          </ac:spMkLst>
        </pc:spChg>
        <pc:spChg chg="del">
          <ac:chgData name="Schjold, Hanne Røvig" userId="72e82339-bab0-442f-8ca6-e6f386a713ee" providerId="ADAL" clId="{9706D415-2DA0-4D00-90B6-E46BF852F024}" dt="2023-03-16T12:47:21.406" v="710" actId="478"/>
          <ac:spMkLst>
            <pc:docMk/>
            <pc:sldMk cId="2278995086" sldId="729"/>
            <ac:spMk id="3914" creationId="{D3817454-5FA0-867D-39B2-85646445B2AF}"/>
          </ac:spMkLst>
        </pc:spChg>
        <pc:spChg chg="del">
          <ac:chgData name="Schjold, Hanne Røvig" userId="72e82339-bab0-442f-8ca6-e6f386a713ee" providerId="ADAL" clId="{9706D415-2DA0-4D00-90B6-E46BF852F024}" dt="2023-03-16T12:47:21.406" v="710" actId="478"/>
          <ac:spMkLst>
            <pc:docMk/>
            <pc:sldMk cId="2278995086" sldId="729"/>
            <ac:spMk id="3916" creationId="{1F033DA5-5FB1-562D-5E8E-CE233471654E}"/>
          </ac:spMkLst>
        </pc:spChg>
        <pc:spChg chg="del">
          <ac:chgData name="Schjold, Hanne Røvig" userId="72e82339-bab0-442f-8ca6-e6f386a713ee" providerId="ADAL" clId="{9706D415-2DA0-4D00-90B6-E46BF852F024}" dt="2023-03-16T12:47:21.406" v="710" actId="478"/>
          <ac:spMkLst>
            <pc:docMk/>
            <pc:sldMk cId="2278995086" sldId="729"/>
            <ac:spMk id="3917" creationId="{1716287E-7ACD-36B2-CDE5-831C1B20D3E3}"/>
          </ac:spMkLst>
        </pc:spChg>
        <pc:spChg chg="del">
          <ac:chgData name="Schjold, Hanne Røvig" userId="72e82339-bab0-442f-8ca6-e6f386a713ee" providerId="ADAL" clId="{9706D415-2DA0-4D00-90B6-E46BF852F024}" dt="2023-03-16T12:47:21.406" v="710" actId="478"/>
          <ac:spMkLst>
            <pc:docMk/>
            <pc:sldMk cId="2278995086" sldId="729"/>
            <ac:spMk id="3919" creationId="{71BC4F65-AFFE-5E1A-ECA3-64718AAA15EE}"/>
          </ac:spMkLst>
        </pc:spChg>
        <pc:spChg chg="del">
          <ac:chgData name="Schjold, Hanne Røvig" userId="72e82339-bab0-442f-8ca6-e6f386a713ee" providerId="ADAL" clId="{9706D415-2DA0-4D00-90B6-E46BF852F024}" dt="2023-03-16T12:47:21.406" v="710" actId="478"/>
          <ac:spMkLst>
            <pc:docMk/>
            <pc:sldMk cId="2278995086" sldId="729"/>
            <ac:spMk id="3920" creationId="{6BAB2FB8-DADD-0DB0-4294-F3AEEAD2D334}"/>
          </ac:spMkLst>
        </pc:spChg>
        <pc:spChg chg="del">
          <ac:chgData name="Schjold, Hanne Røvig" userId="72e82339-bab0-442f-8ca6-e6f386a713ee" providerId="ADAL" clId="{9706D415-2DA0-4D00-90B6-E46BF852F024}" dt="2023-03-16T12:47:21.406" v="710" actId="478"/>
          <ac:spMkLst>
            <pc:docMk/>
            <pc:sldMk cId="2278995086" sldId="729"/>
            <ac:spMk id="3921" creationId="{A154FCA4-9AEE-202E-E22C-7E686DAC563F}"/>
          </ac:spMkLst>
        </pc:spChg>
        <pc:spChg chg="del">
          <ac:chgData name="Schjold, Hanne Røvig" userId="72e82339-bab0-442f-8ca6-e6f386a713ee" providerId="ADAL" clId="{9706D415-2DA0-4D00-90B6-E46BF852F024}" dt="2023-03-16T12:47:21.406" v="710" actId="478"/>
          <ac:spMkLst>
            <pc:docMk/>
            <pc:sldMk cId="2278995086" sldId="729"/>
            <ac:spMk id="3922" creationId="{EA223622-6399-5066-8484-CB9D1952015F}"/>
          </ac:spMkLst>
        </pc:spChg>
        <pc:spChg chg="del">
          <ac:chgData name="Schjold, Hanne Røvig" userId="72e82339-bab0-442f-8ca6-e6f386a713ee" providerId="ADAL" clId="{9706D415-2DA0-4D00-90B6-E46BF852F024}" dt="2023-03-16T12:47:21.406" v="710" actId="478"/>
          <ac:spMkLst>
            <pc:docMk/>
            <pc:sldMk cId="2278995086" sldId="729"/>
            <ac:spMk id="3923" creationId="{98D8B012-8252-A1BD-8B36-7F2527260176}"/>
          </ac:spMkLst>
        </pc:spChg>
        <pc:spChg chg="del">
          <ac:chgData name="Schjold, Hanne Røvig" userId="72e82339-bab0-442f-8ca6-e6f386a713ee" providerId="ADAL" clId="{9706D415-2DA0-4D00-90B6-E46BF852F024}" dt="2023-03-16T12:47:21.406" v="710" actId="478"/>
          <ac:spMkLst>
            <pc:docMk/>
            <pc:sldMk cId="2278995086" sldId="729"/>
            <ac:spMk id="3924" creationId="{55A01A34-6A9F-86D2-2040-0254605EE5ED}"/>
          </ac:spMkLst>
        </pc:spChg>
        <pc:spChg chg="del">
          <ac:chgData name="Schjold, Hanne Røvig" userId="72e82339-bab0-442f-8ca6-e6f386a713ee" providerId="ADAL" clId="{9706D415-2DA0-4D00-90B6-E46BF852F024}" dt="2023-03-16T12:47:21.406" v="710" actId="478"/>
          <ac:spMkLst>
            <pc:docMk/>
            <pc:sldMk cId="2278995086" sldId="729"/>
            <ac:spMk id="3925" creationId="{8BF35384-B110-DAFA-643A-9B89DBF08464}"/>
          </ac:spMkLst>
        </pc:spChg>
        <pc:spChg chg="del">
          <ac:chgData name="Schjold, Hanne Røvig" userId="72e82339-bab0-442f-8ca6-e6f386a713ee" providerId="ADAL" clId="{9706D415-2DA0-4D00-90B6-E46BF852F024}" dt="2023-03-16T12:47:21.406" v="710" actId="478"/>
          <ac:spMkLst>
            <pc:docMk/>
            <pc:sldMk cId="2278995086" sldId="729"/>
            <ac:spMk id="3927" creationId="{912CCBF5-7264-707C-32BD-C68251A8B4B7}"/>
          </ac:spMkLst>
        </pc:spChg>
        <pc:spChg chg="del">
          <ac:chgData name="Schjold, Hanne Røvig" userId="72e82339-bab0-442f-8ca6-e6f386a713ee" providerId="ADAL" clId="{9706D415-2DA0-4D00-90B6-E46BF852F024}" dt="2023-03-16T12:47:21.406" v="710" actId="478"/>
          <ac:spMkLst>
            <pc:docMk/>
            <pc:sldMk cId="2278995086" sldId="729"/>
            <ac:spMk id="3928" creationId="{57477395-A651-AA3B-9624-825965872ABB}"/>
          </ac:spMkLst>
        </pc:spChg>
        <pc:spChg chg="del">
          <ac:chgData name="Schjold, Hanne Røvig" userId="72e82339-bab0-442f-8ca6-e6f386a713ee" providerId="ADAL" clId="{9706D415-2DA0-4D00-90B6-E46BF852F024}" dt="2023-03-16T12:47:21.406" v="710" actId="478"/>
          <ac:spMkLst>
            <pc:docMk/>
            <pc:sldMk cId="2278995086" sldId="729"/>
            <ac:spMk id="3929" creationId="{EEFCD15E-B5AE-C80B-5EEC-DB8B0EFF308E}"/>
          </ac:spMkLst>
        </pc:spChg>
        <pc:spChg chg="del">
          <ac:chgData name="Schjold, Hanne Røvig" userId="72e82339-bab0-442f-8ca6-e6f386a713ee" providerId="ADAL" clId="{9706D415-2DA0-4D00-90B6-E46BF852F024}" dt="2023-03-16T12:47:21.406" v="710" actId="478"/>
          <ac:spMkLst>
            <pc:docMk/>
            <pc:sldMk cId="2278995086" sldId="729"/>
            <ac:spMk id="3930" creationId="{DCFF925F-5B69-D570-EF0E-8B7BDDE2CCB9}"/>
          </ac:spMkLst>
        </pc:spChg>
        <pc:spChg chg="del">
          <ac:chgData name="Schjold, Hanne Røvig" userId="72e82339-bab0-442f-8ca6-e6f386a713ee" providerId="ADAL" clId="{9706D415-2DA0-4D00-90B6-E46BF852F024}" dt="2023-03-16T12:47:21.406" v="710" actId="478"/>
          <ac:spMkLst>
            <pc:docMk/>
            <pc:sldMk cId="2278995086" sldId="729"/>
            <ac:spMk id="3931" creationId="{31EBECA2-D54E-B5B9-6A05-38AE2A9F0FE9}"/>
          </ac:spMkLst>
        </pc:spChg>
        <pc:spChg chg="del">
          <ac:chgData name="Schjold, Hanne Røvig" userId="72e82339-bab0-442f-8ca6-e6f386a713ee" providerId="ADAL" clId="{9706D415-2DA0-4D00-90B6-E46BF852F024}" dt="2023-03-16T12:47:21.406" v="710" actId="478"/>
          <ac:spMkLst>
            <pc:docMk/>
            <pc:sldMk cId="2278995086" sldId="729"/>
            <ac:spMk id="3932" creationId="{89554F1E-1067-D42D-6D7F-CF86222887F6}"/>
          </ac:spMkLst>
        </pc:spChg>
        <pc:spChg chg="del">
          <ac:chgData name="Schjold, Hanne Røvig" userId="72e82339-bab0-442f-8ca6-e6f386a713ee" providerId="ADAL" clId="{9706D415-2DA0-4D00-90B6-E46BF852F024}" dt="2023-03-16T12:47:21.406" v="710" actId="478"/>
          <ac:spMkLst>
            <pc:docMk/>
            <pc:sldMk cId="2278995086" sldId="729"/>
            <ac:spMk id="3933" creationId="{D1DF5C4E-1C1E-3E08-ED9D-3769B619C367}"/>
          </ac:spMkLst>
        </pc:spChg>
        <pc:spChg chg="del">
          <ac:chgData name="Schjold, Hanne Røvig" userId="72e82339-bab0-442f-8ca6-e6f386a713ee" providerId="ADAL" clId="{9706D415-2DA0-4D00-90B6-E46BF852F024}" dt="2023-03-16T12:47:21.406" v="710" actId="478"/>
          <ac:spMkLst>
            <pc:docMk/>
            <pc:sldMk cId="2278995086" sldId="729"/>
            <ac:spMk id="3934" creationId="{657781C6-68C2-9374-E0F4-AF0EDF48B6A9}"/>
          </ac:spMkLst>
        </pc:spChg>
        <pc:spChg chg="del">
          <ac:chgData name="Schjold, Hanne Røvig" userId="72e82339-bab0-442f-8ca6-e6f386a713ee" providerId="ADAL" clId="{9706D415-2DA0-4D00-90B6-E46BF852F024}" dt="2023-03-16T12:47:21.406" v="710" actId="478"/>
          <ac:spMkLst>
            <pc:docMk/>
            <pc:sldMk cId="2278995086" sldId="729"/>
            <ac:spMk id="3935" creationId="{103E8611-FB85-D21A-B250-2CF8DD51923E}"/>
          </ac:spMkLst>
        </pc:spChg>
        <pc:spChg chg="mod">
          <ac:chgData name="Schjold, Hanne Røvig" userId="72e82339-bab0-442f-8ca6-e6f386a713ee" providerId="ADAL" clId="{9706D415-2DA0-4D00-90B6-E46BF852F024}" dt="2023-03-16T12:59:34.133" v="897" actId="552"/>
          <ac:spMkLst>
            <pc:docMk/>
            <pc:sldMk cId="2278995086" sldId="729"/>
            <ac:spMk id="3936" creationId="{7BFA93FA-AB0A-02B5-23D0-82D3D66D4E42}"/>
          </ac:spMkLst>
        </pc:spChg>
        <pc:spChg chg="del mod">
          <ac:chgData name="Schjold, Hanne Røvig" userId="72e82339-bab0-442f-8ca6-e6f386a713ee" providerId="ADAL" clId="{9706D415-2DA0-4D00-90B6-E46BF852F024}" dt="2023-03-16T12:58:41.382" v="862" actId="478"/>
          <ac:spMkLst>
            <pc:docMk/>
            <pc:sldMk cId="2278995086" sldId="729"/>
            <ac:spMk id="3938" creationId="{8BC7594E-5BA4-679C-D910-1CAA6FE0FABB}"/>
          </ac:spMkLst>
        </pc:spChg>
        <pc:spChg chg="mod">
          <ac:chgData name="Schjold, Hanne Røvig" userId="72e82339-bab0-442f-8ca6-e6f386a713ee" providerId="ADAL" clId="{9706D415-2DA0-4D00-90B6-E46BF852F024}" dt="2023-03-16T12:51:36.246" v="793" actId="1076"/>
          <ac:spMkLst>
            <pc:docMk/>
            <pc:sldMk cId="2278995086" sldId="729"/>
            <ac:spMk id="3939" creationId="{3A07F8D8-0F58-B6A4-9D90-CE615298041D}"/>
          </ac:spMkLst>
        </pc:spChg>
        <pc:spChg chg="mod">
          <ac:chgData name="Schjold, Hanne Røvig" userId="72e82339-bab0-442f-8ca6-e6f386a713ee" providerId="ADAL" clId="{9706D415-2DA0-4D00-90B6-E46BF852F024}" dt="2023-03-16T12:53:05.684" v="844" actId="1036"/>
          <ac:spMkLst>
            <pc:docMk/>
            <pc:sldMk cId="2278995086" sldId="729"/>
            <ac:spMk id="3940" creationId="{AADEBE62-C6EE-D75A-0FBD-F29FBD35D183}"/>
          </ac:spMkLst>
        </pc:spChg>
        <pc:spChg chg="mod">
          <ac:chgData name="Schjold, Hanne Røvig" userId="72e82339-bab0-442f-8ca6-e6f386a713ee" providerId="ADAL" clId="{9706D415-2DA0-4D00-90B6-E46BF852F024}" dt="2023-03-16T12:53:33.578" v="850" actId="20577"/>
          <ac:spMkLst>
            <pc:docMk/>
            <pc:sldMk cId="2278995086" sldId="729"/>
            <ac:spMk id="3941" creationId="{CEE38C3A-816D-D47B-0A5F-50C7E3918C25}"/>
          </ac:spMkLst>
        </pc:spChg>
        <pc:grpChg chg="del mod">
          <ac:chgData name="Schjold, Hanne Røvig" userId="72e82339-bab0-442f-8ca6-e6f386a713ee" providerId="ADAL" clId="{9706D415-2DA0-4D00-90B6-E46BF852F024}" dt="2023-03-16T12:58:39.230" v="861" actId="478"/>
          <ac:grpSpMkLst>
            <pc:docMk/>
            <pc:sldMk cId="2278995086" sldId="729"/>
            <ac:grpSpMk id="2614" creationId="{00000000-0008-0000-0300-000002000000}"/>
          </ac:grpSpMkLst>
        </pc:grpChg>
        <pc:grpChg chg="mod">
          <ac:chgData name="Schjold, Hanne Røvig" userId="72e82339-bab0-442f-8ca6-e6f386a713ee" providerId="ADAL" clId="{9706D415-2DA0-4D00-90B6-E46BF852F024}" dt="2023-03-16T12:49:25.666" v="782" actId="1038"/>
          <ac:grpSpMkLst>
            <pc:docMk/>
            <pc:sldMk cId="2278995086" sldId="729"/>
            <ac:grpSpMk id="2615" creationId="{00000000-0008-0000-0300-000003000000}"/>
          </ac:grpSpMkLst>
        </pc:grpChg>
        <pc:grpChg chg="mod">
          <ac:chgData name="Schjold, Hanne Røvig" userId="72e82339-bab0-442f-8ca6-e6f386a713ee" providerId="ADAL" clId="{9706D415-2DA0-4D00-90B6-E46BF852F024}" dt="2023-03-16T12:49:25.666" v="782" actId="1038"/>
          <ac:grpSpMkLst>
            <pc:docMk/>
            <pc:sldMk cId="2278995086" sldId="729"/>
            <ac:grpSpMk id="2616" creationId="{00000000-0008-0000-0300-000004000000}"/>
          </ac:grpSpMkLst>
        </pc:grpChg>
        <pc:grpChg chg="mod">
          <ac:chgData name="Schjold, Hanne Røvig" userId="72e82339-bab0-442f-8ca6-e6f386a713ee" providerId="ADAL" clId="{9706D415-2DA0-4D00-90B6-E46BF852F024}" dt="2023-03-16T12:49:25.666" v="782" actId="1038"/>
          <ac:grpSpMkLst>
            <pc:docMk/>
            <pc:sldMk cId="2278995086" sldId="729"/>
            <ac:grpSpMk id="2617" creationId="{00000000-0008-0000-0300-000005000000}"/>
          </ac:grpSpMkLst>
        </pc:grpChg>
        <pc:grpChg chg="mod">
          <ac:chgData name="Schjold, Hanne Røvig" userId="72e82339-bab0-442f-8ca6-e6f386a713ee" providerId="ADAL" clId="{9706D415-2DA0-4D00-90B6-E46BF852F024}" dt="2023-03-16T12:49:25.666" v="782" actId="1038"/>
          <ac:grpSpMkLst>
            <pc:docMk/>
            <pc:sldMk cId="2278995086" sldId="729"/>
            <ac:grpSpMk id="2618" creationId="{00000000-0008-0000-0300-000006000000}"/>
          </ac:grpSpMkLst>
        </pc:grpChg>
        <pc:grpChg chg="mod">
          <ac:chgData name="Schjold, Hanne Røvig" userId="72e82339-bab0-442f-8ca6-e6f386a713ee" providerId="ADAL" clId="{9706D415-2DA0-4D00-90B6-E46BF852F024}" dt="2023-03-16T12:49:25.666" v="782" actId="1038"/>
          <ac:grpSpMkLst>
            <pc:docMk/>
            <pc:sldMk cId="2278995086" sldId="729"/>
            <ac:grpSpMk id="2619" creationId="{00000000-0008-0000-0300-000007000000}"/>
          </ac:grpSpMkLst>
        </pc:grpChg>
        <pc:grpChg chg="mod">
          <ac:chgData name="Schjold, Hanne Røvig" userId="72e82339-bab0-442f-8ca6-e6f386a713ee" providerId="ADAL" clId="{9706D415-2DA0-4D00-90B6-E46BF852F024}" dt="2023-03-16T12:49:25.666" v="782" actId="1038"/>
          <ac:grpSpMkLst>
            <pc:docMk/>
            <pc:sldMk cId="2278995086" sldId="729"/>
            <ac:grpSpMk id="2620" creationId="{00000000-0008-0000-0300-000008000000}"/>
          </ac:grpSpMkLst>
        </pc:grpChg>
        <pc:picChg chg="add del mod">
          <ac:chgData name="Schjold, Hanne Røvig" userId="72e82339-bab0-442f-8ca6-e6f386a713ee" providerId="ADAL" clId="{9706D415-2DA0-4D00-90B6-E46BF852F024}" dt="2023-03-16T13:05:51.057" v="1105" actId="21"/>
          <ac:picMkLst>
            <pc:docMk/>
            <pc:sldMk cId="2278995086" sldId="729"/>
            <ac:picMk id="3" creationId="{720CF2B6-C6BF-1E38-C6B6-D88CF34EFEA3}"/>
          </ac:picMkLst>
        </pc:picChg>
        <pc:picChg chg="add del">
          <ac:chgData name="Schjold, Hanne Røvig" userId="72e82339-bab0-442f-8ca6-e6f386a713ee" providerId="ADAL" clId="{9706D415-2DA0-4D00-90B6-E46BF852F024}" dt="2023-03-16T12:58:26.913" v="852" actId="478"/>
          <ac:picMkLst>
            <pc:docMk/>
            <pc:sldMk cId="2278995086" sldId="729"/>
            <ac:picMk id="1026" creationId="{FE9C48C2-2D51-B15C-08B1-F125FE678744}"/>
          </ac:picMkLst>
        </pc:picChg>
        <pc:cxnChg chg="del">
          <ac:chgData name="Schjold, Hanne Røvig" userId="72e82339-bab0-442f-8ca6-e6f386a713ee" providerId="ADAL" clId="{9706D415-2DA0-4D00-90B6-E46BF852F024}" dt="2023-03-16T12:47:21.406" v="710" actId="478"/>
          <ac:cxnSpMkLst>
            <pc:docMk/>
            <pc:sldMk cId="2278995086" sldId="729"/>
            <ac:cxnSpMk id="4" creationId="{3F53A5E1-2A9E-6FA3-A2AB-478CD6B59708}"/>
          </ac:cxnSpMkLst>
        </pc:cxnChg>
      </pc:sldChg>
      <pc:sldChg chg="modSp mod ord">
        <pc:chgData name="Schjold, Hanne Røvig" userId="72e82339-bab0-442f-8ca6-e6f386a713ee" providerId="ADAL" clId="{9706D415-2DA0-4D00-90B6-E46BF852F024}" dt="2023-03-28T13:48:55.779" v="2660" actId="2711"/>
        <pc:sldMkLst>
          <pc:docMk/>
          <pc:sldMk cId="2505189412" sldId="746"/>
        </pc:sldMkLst>
        <pc:spChg chg="mod">
          <ac:chgData name="Schjold, Hanne Røvig" userId="72e82339-bab0-442f-8ca6-e6f386a713ee" providerId="ADAL" clId="{9706D415-2DA0-4D00-90B6-E46BF852F024}" dt="2023-03-28T13:48:55.779" v="2660" actId="2711"/>
          <ac:spMkLst>
            <pc:docMk/>
            <pc:sldMk cId="2505189412" sldId="746"/>
            <ac:spMk id="19" creationId="{4D3CA7FF-BA8C-794A-B8E5-6E4BDCA72B7C}"/>
          </ac:spMkLst>
        </pc:spChg>
        <pc:spChg chg="mod">
          <ac:chgData name="Schjold, Hanne Røvig" userId="72e82339-bab0-442f-8ca6-e6f386a713ee" providerId="ADAL" clId="{9706D415-2DA0-4D00-90B6-E46BF852F024}" dt="2023-03-17T12:03:59.607" v="1981" actId="404"/>
          <ac:spMkLst>
            <pc:docMk/>
            <pc:sldMk cId="2505189412" sldId="746"/>
            <ac:spMk id="21" creationId="{EEAD5F47-D534-EB48-A770-8291408043E5}"/>
          </ac:spMkLst>
        </pc:spChg>
        <pc:spChg chg="mod">
          <ac:chgData name="Schjold, Hanne Røvig" userId="72e82339-bab0-442f-8ca6-e6f386a713ee" providerId="ADAL" clId="{9706D415-2DA0-4D00-90B6-E46BF852F024}" dt="2023-03-17T12:04:30.081" v="1983" actId="1076"/>
          <ac:spMkLst>
            <pc:docMk/>
            <pc:sldMk cId="2505189412" sldId="746"/>
            <ac:spMk id="22" creationId="{6C23EBB9-F5F2-B944-A889-AE65EA1B91EF}"/>
          </ac:spMkLst>
        </pc:spChg>
        <pc:graphicFrameChg chg="mod">
          <ac:chgData name="Schjold, Hanne Røvig" userId="72e82339-bab0-442f-8ca6-e6f386a713ee" providerId="ADAL" clId="{9706D415-2DA0-4D00-90B6-E46BF852F024}" dt="2023-03-28T13:48:44.138" v="2659" actId="2711"/>
          <ac:graphicFrameMkLst>
            <pc:docMk/>
            <pc:sldMk cId="2505189412" sldId="746"/>
            <ac:graphicFrameMk id="5" creationId="{BC0EE284-EA4B-B3F4-7284-E12A748EF953}"/>
          </ac:graphicFrameMkLst>
        </pc:graphicFrameChg>
      </pc:sldChg>
      <pc:sldChg chg="modSp mod">
        <pc:chgData name="Schjold, Hanne Røvig" userId="72e82339-bab0-442f-8ca6-e6f386a713ee" providerId="ADAL" clId="{9706D415-2DA0-4D00-90B6-E46BF852F024}" dt="2023-03-17T11:47:27.486" v="1841" actId="20577"/>
        <pc:sldMkLst>
          <pc:docMk/>
          <pc:sldMk cId="2931966506" sldId="748"/>
        </pc:sldMkLst>
        <pc:spChg chg="mod">
          <ac:chgData name="Schjold, Hanne Røvig" userId="72e82339-bab0-442f-8ca6-e6f386a713ee" providerId="ADAL" clId="{9706D415-2DA0-4D00-90B6-E46BF852F024}" dt="2023-03-17T11:46:53.333" v="1840" actId="208"/>
          <ac:spMkLst>
            <pc:docMk/>
            <pc:sldMk cId="2931966506" sldId="748"/>
            <ac:spMk id="2" creationId="{CDE99F9A-6019-AF0C-C752-F0F9AC802DCE}"/>
          </ac:spMkLst>
        </pc:spChg>
        <pc:spChg chg="mod">
          <ac:chgData name="Schjold, Hanne Røvig" userId="72e82339-bab0-442f-8ca6-e6f386a713ee" providerId="ADAL" clId="{9706D415-2DA0-4D00-90B6-E46BF852F024}" dt="2023-03-17T11:47:27.486" v="1841" actId="20577"/>
          <ac:spMkLst>
            <pc:docMk/>
            <pc:sldMk cId="2931966506" sldId="748"/>
            <ac:spMk id="24" creationId="{83155C1D-6ADF-A34B-A86F-1AB0A82AB48D}"/>
          </ac:spMkLst>
        </pc:spChg>
      </pc:sldChg>
      <pc:sldChg chg="addSp modSp mod ord">
        <pc:chgData name="Schjold, Hanne Røvig" userId="72e82339-bab0-442f-8ca6-e6f386a713ee" providerId="ADAL" clId="{9706D415-2DA0-4D00-90B6-E46BF852F024}" dt="2023-03-28T13:50:25.381" v="2669" actId="400"/>
        <pc:sldMkLst>
          <pc:docMk/>
          <pc:sldMk cId="3717460304" sldId="749"/>
        </pc:sldMkLst>
        <pc:spChg chg="mod">
          <ac:chgData name="Schjold, Hanne Røvig" userId="72e82339-bab0-442f-8ca6-e6f386a713ee" providerId="ADAL" clId="{9706D415-2DA0-4D00-90B6-E46BF852F024}" dt="2023-03-28T13:50:25.381" v="2669" actId="400"/>
          <ac:spMkLst>
            <pc:docMk/>
            <pc:sldMk cId="3717460304" sldId="749"/>
            <ac:spMk id="2" creationId="{169D3F4F-EA94-447E-4104-B4E18672D7C7}"/>
          </ac:spMkLst>
        </pc:spChg>
        <pc:spChg chg="add mod">
          <ac:chgData name="Schjold, Hanne Røvig" userId="72e82339-bab0-442f-8ca6-e6f386a713ee" providerId="ADAL" clId="{9706D415-2DA0-4D00-90B6-E46BF852F024}" dt="2023-03-17T11:56:10.757" v="1930" actId="20577"/>
          <ac:spMkLst>
            <pc:docMk/>
            <pc:sldMk cId="3717460304" sldId="749"/>
            <ac:spMk id="3" creationId="{4808CDCB-000C-A9FF-35B4-BBD695D5B225}"/>
          </ac:spMkLst>
        </pc:spChg>
        <pc:picChg chg="mod">
          <ac:chgData name="Schjold, Hanne Røvig" userId="72e82339-bab0-442f-8ca6-e6f386a713ee" providerId="ADAL" clId="{9706D415-2DA0-4D00-90B6-E46BF852F024}" dt="2023-03-17T11:57:12.437" v="1947" actId="1076"/>
          <ac:picMkLst>
            <pc:docMk/>
            <pc:sldMk cId="3717460304" sldId="749"/>
            <ac:picMk id="5" creationId="{E734ACD7-9EEC-7B3C-B899-FDA707F9A9D2}"/>
          </ac:picMkLst>
        </pc:picChg>
      </pc:sldChg>
      <pc:sldChg chg="modSp mod">
        <pc:chgData name="Schjold, Hanne Røvig" userId="72e82339-bab0-442f-8ca6-e6f386a713ee" providerId="ADAL" clId="{9706D415-2DA0-4D00-90B6-E46BF852F024}" dt="2023-03-17T10:21:06.885" v="1431" actId="14100"/>
        <pc:sldMkLst>
          <pc:docMk/>
          <pc:sldMk cId="3250492731" sldId="3125"/>
        </pc:sldMkLst>
        <pc:spChg chg="mod">
          <ac:chgData name="Schjold, Hanne Røvig" userId="72e82339-bab0-442f-8ca6-e6f386a713ee" providerId="ADAL" clId="{9706D415-2DA0-4D00-90B6-E46BF852F024}" dt="2023-03-16T09:54:48.917" v="75" actId="14100"/>
          <ac:spMkLst>
            <pc:docMk/>
            <pc:sldMk cId="3250492731" sldId="3125"/>
            <ac:spMk id="6" creationId="{26C59954-341B-C54E-4C87-38ED6CDD7D9F}"/>
          </ac:spMkLst>
        </pc:spChg>
        <pc:spChg chg="mod">
          <ac:chgData name="Schjold, Hanne Røvig" userId="72e82339-bab0-442f-8ca6-e6f386a713ee" providerId="ADAL" clId="{9706D415-2DA0-4D00-90B6-E46BF852F024}" dt="2023-03-17T10:21:06.885" v="1431" actId="14100"/>
          <ac:spMkLst>
            <pc:docMk/>
            <pc:sldMk cId="3250492731" sldId="3125"/>
            <ac:spMk id="7" creationId="{2BCBBF15-755B-FF32-970E-EC53D129A38A}"/>
          </ac:spMkLst>
        </pc:spChg>
      </pc:sldChg>
      <pc:sldChg chg="del">
        <pc:chgData name="Schjold, Hanne Røvig" userId="72e82339-bab0-442f-8ca6-e6f386a713ee" providerId="ADAL" clId="{9706D415-2DA0-4D00-90B6-E46BF852F024}" dt="2023-03-16T09:50:25.123" v="2" actId="47"/>
        <pc:sldMkLst>
          <pc:docMk/>
          <pc:sldMk cId="3122365071" sldId="2147197691"/>
        </pc:sldMkLst>
      </pc:sldChg>
      <pc:sldChg chg="delSp modSp mod">
        <pc:chgData name="Schjold, Hanne Røvig" userId="72e82339-bab0-442f-8ca6-e6f386a713ee" providerId="ADAL" clId="{9706D415-2DA0-4D00-90B6-E46BF852F024}" dt="2023-03-17T11:48:57.221" v="1864" actId="1036"/>
        <pc:sldMkLst>
          <pc:docMk/>
          <pc:sldMk cId="3606504357" sldId="2147197786"/>
        </pc:sldMkLst>
        <pc:spChg chg="mod">
          <ac:chgData name="Schjold, Hanne Røvig" userId="72e82339-bab0-442f-8ca6-e6f386a713ee" providerId="ADAL" clId="{9706D415-2DA0-4D00-90B6-E46BF852F024}" dt="2023-03-17T11:47:58.324" v="1854" actId="1035"/>
          <ac:spMkLst>
            <pc:docMk/>
            <pc:sldMk cId="3606504357" sldId="2147197786"/>
            <ac:spMk id="3" creationId="{00000000-0000-0000-0000-000000000000}"/>
          </ac:spMkLst>
        </pc:spChg>
        <pc:spChg chg="mod">
          <ac:chgData name="Schjold, Hanne Røvig" userId="72e82339-bab0-442f-8ca6-e6f386a713ee" providerId="ADAL" clId="{9706D415-2DA0-4D00-90B6-E46BF852F024}" dt="2023-03-17T11:47:58.324" v="1854" actId="1035"/>
          <ac:spMkLst>
            <pc:docMk/>
            <pc:sldMk cId="3606504357" sldId="2147197786"/>
            <ac:spMk id="4" creationId="{C587A292-9BC2-3391-3AF6-3EE55225EBDD}"/>
          </ac:spMkLst>
        </pc:spChg>
        <pc:spChg chg="mod">
          <ac:chgData name="Schjold, Hanne Røvig" userId="72e82339-bab0-442f-8ca6-e6f386a713ee" providerId="ADAL" clId="{9706D415-2DA0-4D00-90B6-E46BF852F024}" dt="2023-03-17T11:47:58.324" v="1854" actId="1035"/>
          <ac:spMkLst>
            <pc:docMk/>
            <pc:sldMk cId="3606504357" sldId="2147197786"/>
            <ac:spMk id="5" creationId="{080D0388-F0F7-1B28-2D9A-A6DB431C4EF7}"/>
          </ac:spMkLst>
        </pc:spChg>
        <pc:spChg chg="mod">
          <ac:chgData name="Schjold, Hanne Røvig" userId="72e82339-bab0-442f-8ca6-e6f386a713ee" providerId="ADAL" clId="{9706D415-2DA0-4D00-90B6-E46BF852F024}" dt="2023-03-17T11:47:58.324" v="1854" actId="1035"/>
          <ac:spMkLst>
            <pc:docMk/>
            <pc:sldMk cId="3606504357" sldId="2147197786"/>
            <ac:spMk id="8" creationId="{00000000-0000-0000-0000-000000000000}"/>
          </ac:spMkLst>
        </pc:spChg>
        <pc:spChg chg="mod">
          <ac:chgData name="Schjold, Hanne Røvig" userId="72e82339-bab0-442f-8ca6-e6f386a713ee" providerId="ADAL" clId="{9706D415-2DA0-4D00-90B6-E46BF852F024}" dt="2023-03-17T11:47:58.324" v="1854" actId="1035"/>
          <ac:spMkLst>
            <pc:docMk/>
            <pc:sldMk cId="3606504357" sldId="2147197786"/>
            <ac:spMk id="9" creationId="{00000000-0000-0000-0000-000000000000}"/>
          </ac:spMkLst>
        </pc:spChg>
        <pc:spChg chg="mod">
          <ac:chgData name="Schjold, Hanne Røvig" userId="72e82339-bab0-442f-8ca6-e6f386a713ee" providerId="ADAL" clId="{9706D415-2DA0-4D00-90B6-E46BF852F024}" dt="2023-03-17T11:47:58.324" v="1854" actId="1035"/>
          <ac:spMkLst>
            <pc:docMk/>
            <pc:sldMk cId="3606504357" sldId="2147197786"/>
            <ac:spMk id="12" creationId="{00000000-0000-0000-0000-000000000000}"/>
          </ac:spMkLst>
        </pc:spChg>
        <pc:spChg chg="mod">
          <ac:chgData name="Schjold, Hanne Røvig" userId="72e82339-bab0-442f-8ca6-e6f386a713ee" providerId="ADAL" clId="{9706D415-2DA0-4D00-90B6-E46BF852F024}" dt="2023-03-17T11:47:58.324" v="1854" actId="1035"/>
          <ac:spMkLst>
            <pc:docMk/>
            <pc:sldMk cId="3606504357" sldId="2147197786"/>
            <ac:spMk id="13" creationId="{00000000-0000-0000-0000-000000000000}"/>
          </ac:spMkLst>
        </pc:spChg>
        <pc:spChg chg="mod">
          <ac:chgData name="Schjold, Hanne Røvig" userId="72e82339-bab0-442f-8ca6-e6f386a713ee" providerId="ADAL" clId="{9706D415-2DA0-4D00-90B6-E46BF852F024}" dt="2023-03-17T11:47:58.324" v="1854" actId="1035"/>
          <ac:spMkLst>
            <pc:docMk/>
            <pc:sldMk cId="3606504357" sldId="2147197786"/>
            <ac:spMk id="15" creationId="{00000000-0000-0000-0000-000000000000}"/>
          </ac:spMkLst>
        </pc:spChg>
        <pc:spChg chg="mod">
          <ac:chgData name="Schjold, Hanne Røvig" userId="72e82339-bab0-442f-8ca6-e6f386a713ee" providerId="ADAL" clId="{9706D415-2DA0-4D00-90B6-E46BF852F024}" dt="2023-03-17T11:48:57.221" v="1864" actId="1036"/>
          <ac:spMkLst>
            <pc:docMk/>
            <pc:sldMk cId="3606504357" sldId="2147197786"/>
            <ac:spMk id="17" creationId="{7E77B6E7-F185-402F-9170-540DD7FC284D}"/>
          </ac:spMkLst>
        </pc:spChg>
        <pc:spChg chg="mod">
          <ac:chgData name="Schjold, Hanne Røvig" userId="72e82339-bab0-442f-8ca6-e6f386a713ee" providerId="ADAL" clId="{9706D415-2DA0-4D00-90B6-E46BF852F024}" dt="2023-03-17T11:47:58.324" v="1854" actId="1035"/>
          <ac:spMkLst>
            <pc:docMk/>
            <pc:sldMk cId="3606504357" sldId="2147197786"/>
            <ac:spMk id="21" creationId="{B9F25560-FE61-4C03-8F5A-40316F98145C}"/>
          </ac:spMkLst>
        </pc:spChg>
        <pc:spChg chg="mod">
          <ac:chgData name="Schjold, Hanne Røvig" userId="72e82339-bab0-442f-8ca6-e6f386a713ee" providerId="ADAL" clId="{9706D415-2DA0-4D00-90B6-E46BF852F024}" dt="2023-03-17T11:47:58.324" v="1854" actId="1035"/>
          <ac:spMkLst>
            <pc:docMk/>
            <pc:sldMk cId="3606504357" sldId="2147197786"/>
            <ac:spMk id="22" creationId="{C73AD9CA-E330-4768-A9A5-63386CB7F662}"/>
          </ac:spMkLst>
        </pc:spChg>
        <pc:spChg chg="mod">
          <ac:chgData name="Schjold, Hanne Røvig" userId="72e82339-bab0-442f-8ca6-e6f386a713ee" providerId="ADAL" clId="{9706D415-2DA0-4D00-90B6-E46BF852F024}" dt="2023-03-17T11:47:58.324" v="1854" actId="1035"/>
          <ac:spMkLst>
            <pc:docMk/>
            <pc:sldMk cId="3606504357" sldId="2147197786"/>
            <ac:spMk id="24" creationId="{FE432514-F7EA-49A8-A070-1C703AAAE12F}"/>
          </ac:spMkLst>
        </pc:spChg>
        <pc:spChg chg="mod">
          <ac:chgData name="Schjold, Hanne Røvig" userId="72e82339-bab0-442f-8ca6-e6f386a713ee" providerId="ADAL" clId="{9706D415-2DA0-4D00-90B6-E46BF852F024}" dt="2023-03-17T11:47:58.324" v="1854" actId="1035"/>
          <ac:spMkLst>
            <pc:docMk/>
            <pc:sldMk cId="3606504357" sldId="2147197786"/>
            <ac:spMk id="27" creationId="{B18BC72B-7537-4C31-80B1-4C58C8992DAD}"/>
          </ac:spMkLst>
        </pc:spChg>
        <pc:spChg chg="mod">
          <ac:chgData name="Schjold, Hanne Røvig" userId="72e82339-bab0-442f-8ca6-e6f386a713ee" providerId="ADAL" clId="{9706D415-2DA0-4D00-90B6-E46BF852F024}" dt="2023-03-17T11:47:58.324" v="1854" actId="1035"/>
          <ac:spMkLst>
            <pc:docMk/>
            <pc:sldMk cId="3606504357" sldId="2147197786"/>
            <ac:spMk id="31" creationId="{87F0AD1B-A2F1-49DD-BFCD-7CD84AFB3F95}"/>
          </ac:spMkLst>
        </pc:spChg>
        <pc:spChg chg="mod">
          <ac:chgData name="Schjold, Hanne Røvig" userId="72e82339-bab0-442f-8ca6-e6f386a713ee" providerId="ADAL" clId="{9706D415-2DA0-4D00-90B6-E46BF852F024}" dt="2023-03-17T11:47:58.324" v="1854" actId="1035"/>
          <ac:spMkLst>
            <pc:docMk/>
            <pc:sldMk cId="3606504357" sldId="2147197786"/>
            <ac:spMk id="35" creationId="{3F10FF2E-4FE8-4DF8-9D73-3A292D0703E1}"/>
          </ac:spMkLst>
        </pc:spChg>
        <pc:picChg chg="del">
          <ac:chgData name="Schjold, Hanne Røvig" userId="72e82339-bab0-442f-8ca6-e6f386a713ee" providerId="ADAL" clId="{9706D415-2DA0-4D00-90B6-E46BF852F024}" dt="2023-03-16T09:51:17.830" v="3" actId="21"/>
          <ac:picMkLst>
            <pc:docMk/>
            <pc:sldMk cId="3606504357" sldId="2147197786"/>
            <ac:picMk id="2" creationId="{4A9E8173-CED8-1BF4-B2FD-29AE1187FB2E}"/>
          </ac:picMkLst>
        </pc:picChg>
        <pc:picChg chg="mod">
          <ac:chgData name="Schjold, Hanne Røvig" userId="72e82339-bab0-442f-8ca6-e6f386a713ee" providerId="ADAL" clId="{9706D415-2DA0-4D00-90B6-E46BF852F024}" dt="2023-03-17T11:47:58.324" v="1854" actId="1035"/>
          <ac:picMkLst>
            <pc:docMk/>
            <pc:sldMk cId="3606504357" sldId="2147197786"/>
            <ac:picMk id="6" creationId="{1945E089-9F97-86C4-B58A-2C86F92642E8}"/>
          </ac:picMkLst>
        </pc:picChg>
        <pc:picChg chg="mod">
          <ac:chgData name="Schjold, Hanne Røvig" userId="72e82339-bab0-442f-8ca6-e6f386a713ee" providerId="ADAL" clId="{9706D415-2DA0-4D00-90B6-E46BF852F024}" dt="2023-03-17T11:47:58.324" v="1854" actId="1035"/>
          <ac:picMkLst>
            <pc:docMk/>
            <pc:sldMk cId="3606504357" sldId="2147197786"/>
            <ac:picMk id="25" creationId="{A2CC1AB8-7612-4FFB-9553-7FA08C9C7088}"/>
          </ac:picMkLst>
        </pc:picChg>
        <pc:picChg chg="mod">
          <ac:chgData name="Schjold, Hanne Røvig" userId="72e82339-bab0-442f-8ca6-e6f386a713ee" providerId="ADAL" clId="{9706D415-2DA0-4D00-90B6-E46BF852F024}" dt="2023-03-17T11:47:58.324" v="1854" actId="1035"/>
          <ac:picMkLst>
            <pc:docMk/>
            <pc:sldMk cId="3606504357" sldId="2147197786"/>
            <ac:picMk id="26" creationId="{13C5FCC3-8FE1-4BA9-8704-33F5BBC8FE3A}"/>
          </ac:picMkLst>
        </pc:picChg>
        <pc:picChg chg="mod">
          <ac:chgData name="Schjold, Hanne Røvig" userId="72e82339-bab0-442f-8ca6-e6f386a713ee" providerId="ADAL" clId="{9706D415-2DA0-4D00-90B6-E46BF852F024}" dt="2023-03-17T11:47:58.324" v="1854" actId="1035"/>
          <ac:picMkLst>
            <pc:docMk/>
            <pc:sldMk cId="3606504357" sldId="2147197786"/>
            <ac:picMk id="32" creationId="{7710732F-06BA-4EB3-AC67-E703F07B88DC}"/>
          </ac:picMkLst>
        </pc:picChg>
        <pc:picChg chg="mod">
          <ac:chgData name="Schjold, Hanne Røvig" userId="72e82339-bab0-442f-8ca6-e6f386a713ee" providerId="ADAL" clId="{9706D415-2DA0-4D00-90B6-E46BF852F024}" dt="2023-03-17T11:47:58.324" v="1854" actId="1035"/>
          <ac:picMkLst>
            <pc:docMk/>
            <pc:sldMk cId="3606504357" sldId="2147197786"/>
            <ac:picMk id="33" creationId="{9867032B-F6C7-4817-9943-F386FADD78F3}"/>
          </ac:picMkLst>
        </pc:picChg>
        <pc:picChg chg="mod">
          <ac:chgData name="Schjold, Hanne Røvig" userId="72e82339-bab0-442f-8ca6-e6f386a713ee" providerId="ADAL" clId="{9706D415-2DA0-4D00-90B6-E46BF852F024}" dt="2023-03-17T11:47:58.324" v="1854" actId="1035"/>
          <ac:picMkLst>
            <pc:docMk/>
            <pc:sldMk cId="3606504357" sldId="2147197786"/>
            <ac:picMk id="34" creationId="{CC79040F-B185-4980-9649-97C2429CD535}"/>
          </ac:picMkLst>
        </pc:picChg>
        <pc:picChg chg="mod">
          <ac:chgData name="Schjold, Hanne Røvig" userId="72e82339-bab0-442f-8ca6-e6f386a713ee" providerId="ADAL" clId="{9706D415-2DA0-4D00-90B6-E46BF852F024}" dt="2023-03-17T11:47:58.324" v="1854" actId="1035"/>
          <ac:picMkLst>
            <pc:docMk/>
            <pc:sldMk cId="3606504357" sldId="2147197786"/>
            <ac:picMk id="36" creationId="{509FBF9E-CB9F-40F8-9CBB-FD884A667ED7}"/>
          </ac:picMkLst>
        </pc:picChg>
      </pc:sldChg>
      <pc:sldChg chg="mod ord modShow">
        <pc:chgData name="Schjold, Hanne Røvig" userId="72e82339-bab0-442f-8ca6-e6f386a713ee" providerId="ADAL" clId="{9706D415-2DA0-4D00-90B6-E46BF852F024}" dt="2023-03-22T11:18:50.378" v="2600" actId="729"/>
        <pc:sldMkLst>
          <pc:docMk/>
          <pc:sldMk cId="382517694" sldId="2147199155"/>
        </pc:sldMkLst>
      </pc:sldChg>
      <pc:sldChg chg="modSp mod ord">
        <pc:chgData name="Schjold, Hanne Røvig" userId="72e82339-bab0-442f-8ca6-e6f386a713ee" providerId="ADAL" clId="{9706D415-2DA0-4D00-90B6-E46BF852F024}" dt="2023-03-17T12:20:07.714" v="2150" actId="1076"/>
        <pc:sldMkLst>
          <pc:docMk/>
          <pc:sldMk cId="311781684" sldId="2147199626"/>
        </pc:sldMkLst>
        <pc:spChg chg="mod">
          <ac:chgData name="Schjold, Hanne Røvig" userId="72e82339-bab0-442f-8ca6-e6f386a713ee" providerId="ADAL" clId="{9706D415-2DA0-4D00-90B6-E46BF852F024}" dt="2023-03-17T12:19:52.046" v="2148" actId="14100"/>
          <ac:spMkLst>
            <pc:docMk/>
            <pc:sldMk cId="311781684" sldId="2147199626"/>
            <ac:spMk id="6" creationId="{3D90203F-4BF8-89B9-2E7B-0E3F530FB9C1}"/>
          </ac:spMkLst>
        </pc:spChg>
        <pc:spChg chg="mod">
          <ac:chgData name="Schjold, Hanne Røvig" userId="72e82339-bab0-442f-8ca6-e6f386a713ee" providerId="ADAL" clId="{9706D415-2DA0-4D00-90B6-E46BF852F024}" dt="2023-03-17T12:20:00.955" v="2149" actId="1076"/>
          <ac:spMkLst>
            <pc:docMk/>
            <pc:sldMk cId="311781684" sldId="2147199626"/>
            <ac:spMk id="7" creationId="{A14F37E8-F947-D8F6-6B28-544E3B22BEE6}"/>
          </ac:spMkLst>
        </pc:spChg>
        <pc:spChg chg="mod">
          <ac:chgData name="Schjold, Hanne Røvig" userId="72e82339-bab0-442f-8ca6-e6f386a713ee" providerId="ADAL" clId="{9706D415-2DA0-4D00-90B6-E46BF852F024}" dt="2023-03-17T12:19:47.085" v="2147" actId="1076"/>
          <ac:spMkLst>
            <pc:docMk/>
            <pc:sldMk cId="311781684" sldId="2147199626"/>
            <ac:spMk id="8" creationId="{3271F0B4-5CCF-C495-D089-497F26529AE8}"/>
          </ac:spMkLst>
        </pc:spChg>
        <pc:spChg chg="mod">
          <ac:chgData name="Schjold, Hanne Røvig" userId="72e82339-bab0-442f-8ca6-e6f386a713ee" providerId="ADAL" clId="{9706D415-2DA0-4D00-90B6-E46BF852F024}" dt="2023-03-17T12:20:07.714" v="2150" actId="1076"/>
          <ac:spMkLst>
            <pc:docMk/>
            <pc:sldMk cId="311781684" sldId="2147199626"/>
            <ac:spMk id="12" creationId="{70351A5B-7F36-D1E6-CE6B-B749844F6BCA}"/>
          </ac:spMkLst>
        </pc:spChg>
        <pc:picChg chg="mod">
          <ac:chgData name="Schjold, Hanne Røvig" userId="72e82339-bab0-442f-8ca6-e6f386a713ee" providerId="ADAL" clId="{9706D415-2DA0-4D00-90B6-E46BF852F024}" dt="2023-03-17T12:19:35.304" v="2121" actId="1036"/>
          <ac:picMkLst>
            <pc:docMk/>
            <pc:sldMk cId="311781684" sldId="2147199626"/>
            <ac:picMk id="10" creationId="{E68C39DF-4641-840D-F2A3-1E278E8E1E99}"/>
          </ac:picMkLst>
        </pc:picChg>
        <pc:picChg chg="mod">
          <ac:chgData name="Schjold, Hanne Røvig" userId="72e82339-bab0-442f-8ca6-e6f386a713ee" providerId="ADAL" clId="{9706D415-2DA0-4D00-90B6-E46BF852F024}" dt="2023-03-17T12:19:41.447" v="2146" actId="1035"/>
          <ac:picMkLst>
            <pc:docMk/>
            <pc:sldMk cId="311781684" sldId="2147199626"/>
            <ac:picMk id="14" creationId="{971CCBD5-3934-31E8-E783-42D15CCA13CD}"/>
          </ac:picMkLst>
        </pc:picChg>
        <pc:picChg chg="mod">
          <ac:chgData name="Schjold, Hanne Røvig" userId="72e82339-bab0-442f-8ca6-e6f386a713ee" providerId="ADAL" clId="{9706D415-2DA0-4D00-90B6-E46BF852F024}" dt="2023-03-17T12:19:30.104" v="2110" actId="1036"/>
          <ac:picMkLst>
            <pc:docMk/>
            <pc:sldMk cId="311781684" sldId="2147199626"/>
            <ac:picMk id="18" creationId="{D34BD9DE-E926-6625-F70C-7904CA8DF0DB}"/>
          </ac:picMkLst>
        </pc:picChg>
      </pc:sldChg>
      <pc:sldChg chg="modSp mod ord">
        <pc:chgData name="Schjold, Hanne Røvig" userId="72e82339-bab0-442f-8ca6-e6f386a713ee" providerId="ADAL" clId="{9706D415-2DA0-4D00-90B6-E46BF852F024}" dt="2023-03-17T12:22:06.862" v="2159" actId="14826"/>
        <pc:sldMkLst>
          <pc:docMk/>
          <pc:sldMk cId="1177185325" sldId="2147199641"/>
        </pc:sldMkLst>
        <pc:spChg chg="mod">
          <ac:chgData name="Schjold, Hanne Røvig" userId="72e82339-bab0-442f-8ca6-e6f386a713ee" providerId="ADAL" clId="{9706D415-2DA0-4D00-90B6-E46BF852F024}" dt="2023-03-17T12:20:29.212" v="2154" actId="114"/>
          <ac:spMkLst>
            <pc:docMk/>
            <pc:sldMk cId="1177185325" sldId="2147199641"/>
            <ac:spMk id="19" creationId="{17EEBBEB-F393-7E4E-98F6-881D3DA536BC}"/>
          </ac:spMkLst>
        </pc:spChg>
        <pc:spChg chg="mod">
          <ac:chgData name="Schjold, Hanne Røvig" userId="72e82339-bab0-442f-8ca6-e6f386a713ee" providerId="ADAL" clId="{9706D415-2DA0-4D00-90B6-E46BF852F024}" dt="2023-03-17T12:20:33.657" v="2155" actId="114"/>
          <ac:spMkLst>
            <pc:docMk/>
            <pc:sldMk cId="1177185325" sldId="2147199641"/>
            <ac:spMk id="20" creationId="{6CBDF1D0-0B89-524A-8563-98E90F7182E9}"/>
          </ac:spMkLst>
        </pc:spChg>
        <pc:spChg chg="mod">
          <ac:chgData name="Schjold, Hanne Røvig" userId="72e82339-bab0-442f-8ca6-e6f386a713ee" providerId="ADAL" clId="{9706D415-2DA0-4D00-90B6-E46BF852F024}" dt="2023-03-17T12:20:50.311" v="2157" actId="14100"/>
          <ac:spMkLst>
            <pc:docMk/>
            <pc:sldMk cId="1177185325" sldId="2147199641"/>
            <ac:spMk id="21" creationId="{2AF1438F-135E-2648-8DA4-FDCEEFF12C99}"/>
          </ac:spMkLst>
        </pc:spChg>
        <pc:picChg chg="mod">
          <ac:chgData name="Schjold, Hanne Røvig" userId="72e82339-bab0-442f-8ca6-e6f386a713ee" providerId="ADAL" clId="{9706D415-2DA0-4D00-90B6-E46BF852F024}" dt="2023-03-17T12:22:06.862" v="2159" actId="14826"/>
          <ac:picMkLst>
            <pc:docMk/>
            <pc:sldMk cId="1177185325" sldId="2147199641"/>
            <ac:picMk id="10" creationId="{D0724A7B-A309-944A-8276-454FE4230BAB}"/>
          </ac:picMkLst>
        </pc:picChg>
        <pc:picChg chg="mod">
          <ac:chgData name="Schjold, Hanne Røvig" userId="72e82339-bab0-442f-8ca6-e6f386a713ee" providerId="ADAL" clId="{9706D415-2DA0-4D00-90B6-E46BF852F024}" dt="2023-03-17T12:20:15.148" v="2151" actId="1076"/>
          <ac:picMkLst>
            <pc:docMk/>
            <pc:sldMk cId="1177185325" sldId="2147199641"/>
            <ac:picMk id="17" creationId="{33C06A63-4EE6-714E-AB5E-70DD0817854B}"/>
          </ac:picMkLst>
        </pc:picChg>
        <pc:picChg chg="mod">
          <ac:chgData name="Schjold, Hanne Røvig" userId="72e82339-bab0-442f-8ca6-e6f386a713ee" providerId="ADAL" clId="{9706D415-2DA0-4D00-90B6-E46BF852F024}" dt="2023-03-17T12:20:19.895" v="2153" actId="1076"/>
          <ac:picMkLst>
            <pc:docMk/>
            <pc:sldMk cId="1177185325" sldId="2147199641"/>
            <ac:picMk id="24" creationId="{EBB6638D-08A8-7D4B-B30E-2F7EB06FF7B1}"/>
          </ac:picMkLst>
        </pc:picChg>
      </pc:sldChg>
      <pc:sldChg chg="addSp delSp modSp add mod ord">
        <pc:chgData name="Schjold, Hanne Røvig" userId="72e82339-bab0-442f-8ca6-e6f386a713ee" providerId="ADAL" clId="{9706D415-2DA0-4D00-90B6-E46BF852F024}" dt="2023-03-22T11:08:58.576" v="2527" actId="20577"/>
        <pc:sldMkLst>
          <pc:docMk/>
          <pc:sldMk cId="3806527201" sldId="2147199650"/>
        </pc:sldMkLst>
        <pc:spChg chg="mod">
          <ac:chgData name="Schjold, Hanne Røvig" userId="72e82339-bab0-442f-8ca6-e6f386a713ee" providerId="ADAL" clId="{9706D415-2DA0-4D00-90B6-E46BF852F024}" dt="2023-03-16T10:18:15.899" v="194" actId="27636"/>
          <ac:spMkLst>
            <pc:docMk/>
            <pc:sldMk cId="3806527201" sldId="2147199650"/>
            <ac:spMk id="2" creationId="{8953B5AA-F9F0-54FC-88B4-DA9DA9A0D2BE}"/>
          </ac:spMkLst>
        </pc:spChg>
        <pc:spChg chg="mod">
          <ac:chgData name="Schjold, Hanne Røvig" userId="72e82339-bab0-442f-8ca6-e6f386a713ee" providerId="ADAL" clId="{9706D415-2DA0-4D00-90B6-E46BF852F024}" dt="2023-03-22T11:08:58.576" v="2527" actId="20577"/>
          <ac:spMkLst>
            <pc:docMk/>
            <pc:sldMk cId="3806527201" sldId="2147199650"/>
            <ac:spMk id="3" creationId="{F5F03FED-4A68-6C1D-7B86-E171D7FB3E82}"/>
          </ac:spMkLst>
        </pc:spChg>
        <pc:spChg chg="del">
          <ac:chgData name="Schjold, Hanne Røvig" userId="72e82339-bab0-442f-8ca6-e6f386a713ee" providerId="ADAL" clId="{9706D415-2DA0-4D00-90B6-E46BF852F024}" dt="2023-03-16T10:22:13.336" v="269" actId="478"/>
          <ac:spMkLst>
            <pc:docMk/>
            <pc:sldMk cId="3806527201" sldId="2147199650"/>
            <ac:spMk id="4" creationId="{A821996D-BA31-33EA-367B-0500C2FB5883}"/>
          </ac:spMkLst>
        </pc:spChg>
        <pc:spChg chg="add mod ord">
          <ac:chgData name="Schjold, Hanne Røvig" userId="72e82339-bab0-442f-8ca6-e6f386a713ee" providerId="ADAL" clId="{9706D415-2DA0-4D00-90B6-E46BF852F024}" dt="2023-03-16T10:23:54.941" v="309" actId="1076"/>
          <ac:spMkLst>
            <pc:docMk/>
            <pc:sldMk cId="3806527201" sldId="2147199650"/>
            <ac:spMk id="6" creationId="{2FA79696-0528-2EEE-FD3A-244A4CE2FFC8}"/>
          </ac:spMkLst>
        </pc:spChg>
        <pc:spChg chg="add mod ord">
          <ac:chgData name="Schjold, Hanne Røvig" userId="72e82339-bab0-442f-8ca6-e6f386a713ee" providerId="ADAL" clId="{9706D415-2DA0-4D00-90B6-E46BF852F024}" dt="2023-03-16T10:22:43.030" v="276" actId="14100"/>
          <ac:spMkLst>
            <pc:docMk/>
            <pc:sldMk cId="3806527201" sldId="2147199650"/>
            <ac:spMk id="7" creationId="{2F170D88-1199-F498-5451-A825F6E60BFF}"/>
          </ac:spMkLst>
        </pc:spChg>
        <pc:spChg chg="add mod">
          <ac:chgData name="Schjold, Hanne Røvig" userId="72e82339-bab0-442f-8ca6-e6f386a713ee" providerId="ADAL" clId="{9706D415-2DA0-4D00-90B6-E46BF852F024}" dt="2023-03-16T10:24:49.501" v="312" actId="12"/>
          <ac:spMkLst>
            <pc:docMk/>
            <pc:sldMk cId="3806527201" sldId="2147199650"/>
            <ac:spMk id="10" creationId="{72908C6C-0D2F-D12A-A4CC-C12738E2F463}"/>
          </ac:spMkLst>
        </pc:spChg>
        <pc:picChg chg="del mod">
          <ac:chgData name="Schjold, Hanne Røvig" userId="72e82339-bab0-442f-8ca6-e6f386a713ee" providerId="ADAL" clId="{9706D415-2DA0-4D00-90B6-E46BF852F024}" dt="2023-03-16T10:22:09.652" v="268" actId="478"/>
          <ac:picMkLst>
            <pc:docMk/>
            <pc:sldMk cId="3806527201" sldId="2147199650"/>
            <ac:picMk id="5" creationId="{6D6751DF-1D74-B8A7-074E-CCC31B87C3A5}"/>
          </ac:picMkLst>
        </pc:picChg>
        <pc:picChg chg="add del mod">
          <ac:chgData name="Schjold, Hanne Røvig" userId="72e82339-bab0-442f-8ca6-e6f386a713ee" providerId="ADAL" clId="{9706D415-2DA0-4D00-90B6-E46BF852F024}" dt="2023-03-16T10:19:44.569" v="207" actId="478"/>
          <ac:picMkLst>
            <pc:docMk/>
            <pc:sldMk cId="3806527201" sldId="2147199650"/>
            <ac:picMk id="8" creationId="{D00979F7-20FC-566E-E291-D5EDE3CBFDE2}"/>
          </ac:picMkLst>
        </pc:picChg>
        <pc:picChg chg="add mod modCrop">
          <ac:chgData name="Schjold, Hanne Røvig" userId="72e82339-bab0-442f-8ca6-e6f386a713ee" providerId="ADAL" clId="{9706D415-2DA0-4D00-90B6-E46BF852F024}" dt="2023-03-16T10:23:42.113" v="305" actId="1076"/>
          <ac:picMkLst>
            <pc:docMk/>
            <pc:sldMk cId="3806527201" sldId="2147199650"/>
            <ac:picMk id="12" creationId="{E8D42208-732A-DC80-6E7B-99F169DB7707}"/>
          </ac:picMkLst>
        </pc:picChg>
      </pc:sldChg>
      <pc:sldChg chg="del">
        <pc:chgData name="Schjold, Hanne Røvig" userId="72e82339-bab0-442f-8ca6-e6f386a713ee" providerId="ADAL" clId="{9706D415-2DA0-4D00-90B6-E46BF852F024}" dt="2023-03-16T10:16:38.656" v="176" actId="2696"/>
        <pc:sldMkLst>
          <pc:docMk/>
          <pc:sldMk cId="3995887970" sldId="2147199650"/>
        </pc:sldMkLst>
      </pc:sldChg>
      <pc:sldChg chg="addSp delSp modSp mod ord setBg">
        <pc:chgData name="Schjold, Hanne Røvig" userId="72e82339-bab0-442f-8ca6-e6f386a713ee" providerId="ADAL" clId="{9706D415-2DA0-4D00-90B6-E46BF852F024}" dt="2023-03-17T10:13:23.888" v="1347"/>
        <pc:sldMkLst>
          <pc:docMk/>
          <pc:sldMk cId="2096985387" sldId="2147199651"/>
        </pc:sldMkLst>
        <pc:graphicFrameChg chg="mod">
          <ac:chgData name="Schjold, Hanne Røvig" userId="72e82339-bab0-442f-8ca6-e6f386a713ee" providerId="ADAL" clId="{9706D415-2DA0-4D00-90B6-E46BF852F024}" dt="2023-03-16T14:33:33.986" v="1173" actId="14100"/>
          <ac:graphicFrameMkLst>
            <pc:docMk/>
            <pc:sldMk cId="2096985387" sldId="2147199651"/>
            <ac:graphicFrameMk id="8" creationId="{5A21B9AA-3C21-14EC-000A-27246BFBA3AE}"/>
          </ac:graphicFrameMkLst>
        </pc:graphicFrameChg>
        <pc:picChg chg="del">
          <ac:chgData name="Schjold, Hanne Røvig" userId="72e82339-bab0-442f-8ca6-e6f386a713ee" providerId="ADAL" clId="{9706D415-2DA0-4D00-90B6-E46BF852F024}" dt="2023-03-16T14:31:58.505" v="1151" actId="478"/>
          <ac:picMkLst>
            <pc:docMk/>
            <pc:sldMk cId="2096985387" sldId="2147199651"/>
            <ac:picMk id="4" creationId="{E1F8B889-81B9-4C42-800F-77D1EB9C7F13}"/>
          </ac:picMkLst>
        </pc:picChg>
        <pc:picChg chg="add del mod ord modCrop">
          <ac:chgData name="Schjold, Hanne Røvig" userId="72e82339-bab0-442f-8ca6-e6f386a713ee" providerId="ADAL" clId="{9706D415-2DA0-4D00-90B6-E46BF852F024}" dt="2023-03-16T14:34:26.533" v="1175" actId="478"/>
          <ac:picMkLst>
            <pc:docMk/>
            <pc:sldMk cId="2096985387" sldId="2147199651"/>
            <ac:picMk id="5" creationId="{3A420297-4776-635F-78D6-AFB9FBC15E39}"/>
          </ac:picMkLst>
        </pc:picChg>
        <pc:picChg chg="add mod modCrop">
          <ac:chgData name="Schjold, Hanne Røvig" userId="72e82339-bab0-442f-8ca6-e6f386a713ee" providerId="ADAL" clId="{9706D415-2DA0-4D00-90B6-E46BF852F024}" dt="2023-03-16T14:34:58.695" v="1186" actId="1037"/>
          <ac:picMkLst>
            <pc:docMk/>
            <pc:sldMk cId="2096985387" sldId="2147199651"/>
            <ac:picMk id="7" creationId="{D279216C-0495-6CEF-91B0-81AF334C5B34}"/>
          </ac:picMkLst>
        </pc:picChg>
      </pc:sldChg>
      <pc:sldChg chg="addSp delSp modSp mod ord setBg">
        <pc:chgData name="Schjold, Hanne Røvig" userId="72e82339-bab0-442f-8ca6-e6f386a713ee" providerId="ADAL" clId="{9706D415-2DA0-4D00-90B6-E46BF852F024}" dt="2023-03-28T13:39:56.267" v="2616"/>
        <pc:sldMkLst>
          <pc:docMk/>
          <pc:sldMk cId="857450812" sldId="2147199655"/>
        </pc:sldMkLst>
        <pc:spChg chg="add del mod">
          <ac:chgData name="Schjold, Hanne Røvig" userId="72e82339-bab0-442f-8ca6-e6f386a713ee" providerId="ADAL" clId="{9706D415-2DA0-4D00-90B6-E46BF852F024}" dt="2023-03-22T11:15:31.992" v="2583" actId="478"/>
          <ac:spMkLst>
            <pc:docMk/>
            <pc:sldMk cId="857450812" sldId="2147199655"/>
            <ac:spMk id="3" creationId="{227CCFB1-93BF-6420-9ED5-7C242AEE811E}"/>
          </ac:spMkLst>
        </pc:spChg>
        <pc:spChg chg="mod">
          <ac:chgData name="Schjold, Hanne Røvig" userId="72e82339-bab0-442f-8ca6-e6f386a713ee" providerId="ADAL" clId="{9706D415-2DA0-4D00-90B6-E46BF852F024}" dt="2023-03-17T12:28:22.062" v="2180" actId="21"/>
          <ac:spMkLst>
            <pc:docMk/>
            <pc:sldMk cId="857450812" sldId="2147199655"/>
            <ac:spMk id="4" creationId="{220ECE60-5F52-478F-A560-8AC7CDA9BDDB}"/>
          </ac:spMkLst>
        </pc:spChg>
        <pc:spChg chg="add del mod">
          <ac:chgData name="Schjold, Hanne Røvig" userId="72e82339-bab0-442f-8ca6-e6f386a713ee" providerId="ADAL" clId="{9706D415-2DA0-4D00-90B6-E46BF852F024}" dt="2023-03-22T11:14:25.728" v="2575" actId="478"/>
          <ac:spMkLst>
            <pc:docMk/>
            <pc:sldMk cId="857450812" sldId="2147199655"/>
            <ac:spMk id="5" creationId="{EA6CDF27-8871-1E13-560C-52E7A71DE927}"/>
          </ac:spMkLst>
        </pc:spChg>
        <pc:spChg chg="add mod">
          <ac:chgData name="Schjold, Hanne Røvig" userId="72e82339-bab0-442f-8ca6-e6f386a713ee" providerId="ADAL" clId="{9706D415-2DA0-4D00-90B6-E46BF852F024}" dt="2023-03-22T11:14:24.534" v="2574" actId="1076"/>
          <ac:spMkLst>
            <pc:docMk/>
            <pc:sldMk cId="857450812" sldId="2147199655"/>
            <ac:spMk id="8" creationId="{20569437-4088-61EC-A185-514132F05471}"/>
          </ac:spMkLst>
        </pc:spChg>
        <pc:spChg chg="add mod ord">
          <ac:chgData name="Schjold, Hanne Røvig" userId="72e82339-bab0-442f-8ca6-e6f386a713ee" providerId="ADAL" clId="{9706D415-2DA0-4D00-90B6-E46BF852F024}" dt="2023-03-22T11:14:31.053" v="2577" actId="167"/>
          <ac:spMkLst>
            <pc:docMk/>
            <pc:sldMk cId="857450812" sldId="2147199655"/>
            <ac:spMk id="9" creationId="{1645074B-E591-4CD6-6AD9-3E6A983D7D53}"/>
          </ac:spMkLst>
        </pc:spChg>
        <pc:spChg chg="add mod ord">
          <ac:chgData name="Schjold, Hanne Røvig" userId="72e82339-bab0-442f-8ca6-e6f386a713ee" providerId="ADAL" clId="{9706D415-2DA0-4D00-90B6-E46BF852F024}" dt="2023-03-22T11:15:48.413" v="2586" actId="1076"/>
          <ac:spMkLst>
            <pc:docMk/>
            <pc:sldMk cId="857450812" sldId="2147199655"/>
            <ac:spMk id="10" creationId="{E0CDF61A-CA27-E8C8-D390-06B523799456}"/>
          </ac:spMkLst>
        </pc:spChg>
        <pc:graphicFrameChg chg="mod">
          <ac:chgData name="Schjold, Hanne Røvig" userId="72e82339-bab0-442f-8ca6-e6f386a713ee" providerId="ADAL" clId="{9706D415-2DA0-4D00-90B6-E46BF852F024}" dt="2023-03-21T09:44:45.266" v="2396" actId="6549"/>
          <ac:graphicFrameMkLst>
            <pc:docMk/>
            <pc:sldMk cId="857450812" sldId="2147199655"/>
            <ac:graphicFrameMk id="2" creationId="{80DAAB1E-3F7E-497E-92E7-2270E32CFA81}"/>
          </ac:graphicFrameMkLst>
        </pc:graphicFrameChg>
        <pc:picChg chg="add mod">
          <ac:chgData name="Schjold, Hanne Røvig" userId="72e82339-bab0-442f-8ca6-e6f386a713ee" providerId="ADAL" clId="{9706D415-2DA0-4D00-90B6-E46BF852F024}" dt="2023-03-17T12:30:50.378" v="2219" actId="1036"/>
          <ac:picMkLst>
            <pc:docMk/>
            <pc:sldMk cId="857450812" sldId="2147199655"/>
            <ac:picMk id="7" creationId="{D8527276-5867-4D22-B627-7D2DF8607A2E}"/>
          </ac:picMkLst>
        </pc:picChg>
      </pc:sldChg>
      <pc:sldChg chg="del">
        <pc:chgData name="Schjold, Hanne Røvig" userId="72e82339-bab0-442f-8ca6-e6f386a713ee" providerId="ADAL" clId="{9706D415-2DA0-4D00-90B6-E46BF852F024}" dt="2023-03-16T10:50:39.444" v="393" actId="2696"/>
        <pc:sldMkLst>
          <pc:docMk/>
          <pc:sldMk cId="2491096251" sldId="2147199656"/>
        </pc:sldMkLst>
      </pc:sldChg>
      <pc:sldChg chg="addSp delSp modSp add mod ord setBg">
        <pc:chgData name="Schjold, Hanne Røvig" userId="72e82339-bab0-442f-8ca6-e6f386a713ee" providerId="ADAL" clId="{9706D415-2DA0-4D00-90B6-E46BF852F024}" dt="2023-03-17T12:40:04.165" v="2253" actId="21"/>
        <pc:sldMkLst>
          <pc:docMk/>
          <pc:sldMk cId="4022571338" sldId="2147199656"/>
        </pc:sldMkLst>
        <pc:spChg chg="mod">
          <ac:chgData name="Schjold, Hanne Røvig" userId="72e82339-bab0-442f-8ca6-e6f386a713ee" providerId="ADAL" clId="{9706D415-2DA0-4D00-90B6-E46BF852F024}" dt="2023-03-16T10:53:14.786" v="420" actId="207"/>
          <ac:spMkLst>
            <pc:docMk/>
            <pc:sldMk cId="4022571338" sldId="2147199656"/>
            <ac:spMk id="4" creationId="{0E5765D7-7FCD-614A-B025-4CC03904B46D}"/>
          </ac:spMkLst>
        </pc:spChg>
        <pc:spChg chg="mod">
          <ac:chgData name="Schjold, Hanne Røvig" userId="72e82339-bab0-442f-8ca6-e6f386a713ee" providerId="ADAL" clId="{9706D415-2DA0-4D00-90B6-E46BF852F024}" dt="2023-03-16T10:54:21.246" v="424" actId="12"/>
          <ac:spMkLst>
            <pc:docMk/>
            <pc:sldMk cId="4022571338" sldId="2147199656"/>
            <ac:spMk id="5" creationId="{A9E1B165-CD61-5545-B3A3-F9EAA80CC4EF}"/>
          </ac:spMkLst>
        </pc:spChg>
        <pc:cxnChg chg="add del mod">
          <ac:chgData name="Schjold, Hanne Røvig" userId="72e82339-bab0-442f-8ca6-e6f386a713ee" providerId="ADAL" clId="{9706D415-2DA0-4D00-90B6-E46BF852F024}" dt="2023-03-17T12:40:04.165" v="2253" actId="21"/>
          <ac:cxnSpMkLst>
            <pc:docMk/>
            <pc:sldMk cId="4022571338" sldId="2147199656"/>
            <ac:cxnSpMk id="2" creationId="{3FE4C8B2-4C63-BD08-312B-B8CD4F56A8CE}"/>
          </ac:cxnSpMkLst>
        </pc:cxnChg>
      </pc:sldChg>
      <pc:sldChg chg="ord">
        <pc:chgData name="Schjold, Hanne Røvig" userId="72e82339-bab0-442f-8ca6-e6f386a713ee" providerId="ADAL" clId="{9706D415-2DA0-4D00-90B6-E46BF852F024}" dt="2023-03-17T10:08:42.726" v="1313"/>
        <pc:sldMkLst>
          <pc:docMk/>
          <pc:sldMk cId="967738493" sldId="2147199659"/>
        </pc:sldMkLst>
      </pc:sldChg>
      <pc:sldChg chg="modSp del mod ord">
        <pc:chgData name="Schjold, Hanne Røvig" userId="72e82339-bab0-442f-8ca6-e6f386a713ee" providerId="ADAL" clId="{9706D415-2DA0-4D00-90B6-E46BF852F024}" dt="2023-03-17T12:23:59.664" v="2165" actId="47"/>
        <pc:sldMkLst>
          <pc:docMk/>
          <pc:sldMk cId="3099417458" sldId="2147199666"/>
        </pc:sldMkLst>
        <pc:spChg chg="mod">
          <ac:chgData name="Schjold, Hanne Røvig" userId="72e82339-bab0-442f-8ca6-e6f386a713ee" providerId="ADAL" clId="{9706D415-2DA0-4D00-90B6-E46BF852F024}" dt="2023-03-17T10:23:06.384" v="1438" actId="20577"/>
          <ac:spMkLst>
            <pc:docMk/>
            <pc:sldMk cId="3099417458" sldId="2147199666"/>
            <ac:spMk id="2" creationId="{518B5E7A-6872-0DF1-0DC4-23705BA4A051}"/>
          </ac:spMkLst>
        </pc:spChg>
        <pc:picChg chg="mod">
          <ac:chgData name="Schjold, Hanne Røvig" userId="72e82339-bab0-442f-8ca6-e6f386a713ee" providerId="ADAL" clId="{9706D415-2DA0-4D00-90B6-E46BF852F024}" dt="2023-03-17T10:23:28.279" v="1442" actId="1076"/>
          <ac:picMkLst>
            <pc:docMk/>
            <pc:sldMk cId="3099417458" sldId="2147199666"/>
            <ac:picMk id="8" creationId="{4228393E-20DA-368D-03B8-DEE822E5293D}"/>
          </ac:picMkLst>
        </pc:picChg>
      </pc:sldChg>
      <pc:sldChg chg="modSp del mod">
        <pc:chgData name="Schjold, Hanne Røvig" userId="72e82339-bab0-442f-8ca6-e6f386a713ee" providerId="ADAL" clId="{9706D415-2DA0-4D00-90B6-E46BF852F024}" dt="2023-03-16T10:50:39.444" v="393" actId="2696"/>
        <pc:sldMkLst>
          <pc:docMk/>
          <pc:sldMk cId="2856188119" sldId="2147199668"/>
        </pc:sldMkLst>
        <pc:spChg chg="mod">
          <ac:chgData name="Schjold, Hanne Røvig" userId="72e82339-bab0-442f-8ca6-e6f386a713ee" providerId="ADAL" clId="{9706D415-2DA0-4D00-90B6-E46BF852F024}" dt="2023-03-16T09:58:10.640" v="114" actId="207"/>
          <ac:spMkLst>
            <pc:docMk/>
            <pc:sldMk cId="2856188119" sldId="2147199668"/>
            <ac:spMk id="4" creationId="{0E5765D7-7FCD-614A-B025-4CC03904B46D}"/>
          </ac:spMkLst>
        </pc:spChg>
        <pc:spChg chg="mod">
          <ac:chgData name="Schjold, Hanne Røvig" userId="72e82339-bab0-442f-8ca6-e6f386a713ee" providerId="ADAL" clId="{9706D415-2DA0-4D00-90B6-E46BF852F024}" dt="2023-03-16T09:59:36.783" v="131" actId="20577"/>
          <ac:spMkLst>
            <pc:docMk/>
            <pc:sldMk cId="2856188119" sldId="2147199668"/>
            <ac:spMk id="5" creationId="{A9E1B165-CD61-5545-B3A3-F9EAA80CC4EF}"/>
          </ac:spMkLst>
        </pc:spChg>
      </pc:sldChg>
      <pc:sldChg chg="addSp delSp modSp add mod ord setBg">
        <pc:chgData name="Schjold, Hanne Røvig" userId="72e82339-bab0-442f-8ca6-e6f386a713ee" providerId="ADAL" clId="{9706D415-2DA0-4D00-90B6-E46BF852F024}" dt="2023-03-17T10:14:56.560" v="1365"/>
        <pc:sldMkLst>
          <pc:docMk/>
          <pc:sldMk cId="3063502814" sldId="2147199668"/>
        </pc:sldMkLst>
        <pc:spChg chg="add del mod">
          <ac:chgData name="Schjold, Hanne Røvig" userId="72e82339-bab0-442f-8ca6-e6f386a713ee" providerId="ADAL" clId="{9706D415-2DA0-4D00-90B6-E46BF852F024}" dt="2023-03-16T10:51:11.850" v="397" actId="931"/>
          <ac:spMkLst>
            <pc:docMk/>
            <pc:sldMk cId="3063502814" sldId="2147199668"/>
            <ac:spMk id="3" creationId="{0CADBF10-8D15-4098-0307-AF5C7E78FA52}"/>
          </ac:spMkLst>
        </pc:spChg>
        <pc:picChg chg="add mod">
          <ac:chgData name="Schjold, Hanne Røvig" userId="72e82339-bab0-442f-8ca6-e6f386a713ee" providerId="ADAL" clId="{9706D415-2DA0-4D00-90B6-E46BF852F024}" dt="2023-03-16T10:51:15.742" v="398" actId="27614"/>
          <ac:picMkLst>
            <pc:docMk/>
            <pc:sldMk cId="3063502814" sldId="2147199668"/>
            <ac:picMk id="7" creationId="{62B7E9B6-AFB4-A0B9-1CDC-891C4097F59D}"/>
          </ac:picMkLst>
        </pc:picChg>
        <pc:picChg chg="del">
          <ac:chgData name="Schjold, Hanne Røvig" userId="72e82339-bab0-442f-8ca6-e6f386a713ee" providerId="ADAL" clId="{9706D415-2DA0-4D00-90B6-E46BF852F024}" dt="2023-03-16T10:51:06.408" v="396" actId="478"/>
          <ac:picMkLst>
            <pc:docMk/>
            <pc:sldMk cId="3063502814" sldId="2147199668"/>
            <ac:picMk id="11" creationId="{1260C70F-E1A6-4290-B7ED-1827FE4E8977}"/>
          </ac:picMkLst>
        </pc:picChg>
      </pc:sldChg>
      <pc:sldChg chg="modSp ord setBg">
        <pc:chgData name="Schjold, Hanne Røvig" userId="72e82339-bab0-442f-8ca6-e6f386a713ee" providerId="ADAL" clId="{9706D415-2DA0-4D00-90B6-E46BF852F024}" dt="2023-03-28T13:48:19.852" v="2657"/>
        <pc:sldMkLst>
          <pc:docMk/>
          <pc:sldMk cId="1481927132" sldId="2147199671"/>
        </pc:sldMkLst>
        <pc:graphicFrameChg chg="mod">
          <ac:chgData name="Schjold, Hanne Røvig" userId="72e82339-bab0-442f-8ca6-e6f386a713ee" providerId="ADAL" clId="{9706D415-2DA0-4D00-90B6-E46BF852F024}" dt="2023-03-28T13:46:58.931" v="2655" actId="2711"/>
          <ac:graphicFrameMkLst>
            <pc:docMk/>
            <pc:sldMk cId="1481927132" sldId="2147199671"/>
            <ac:graphicFrameMk id="8" creationId="{593BDA29-4B12-6D33-863C-027164633F1F}"/>
          </ac:graphicFrameMkLst>
        </pc:graphicFrameChg>
      </pc:sldChg>
      <pc:sldChg chg="addSp delSp modSp add mod ord">
        <pc:chgData name="Schjold, Hanne Røvig" userId="72e82339-bab0-442f-8ca6-e6f386a713ee" providerId="ADAL" clId="{9706D415-2DA0-4D00-90B6-E46BF852F024}" dt="2023-03-17T10:22:24.587" v="1437" actId="20577"/>
        <pc:sldMkLst>
          <pc:docMk/>
          <pc:sldMk cId="2119641651" sldId="2147199673"/>
        </pc:sldMkLst>
        <pc:spChg chg="del">
          <ac:chgData name="Schjold, Hanne Røvig" userId="72e82339-bab0-442f-8ca6-e6f386a713ee" providerId="ADAL" clId="{9706D415-2DA0-4D00-90B6-E46BF852F024}" dt="2023-03-16T11:46:47.376" v="465" actId="478"/>
          <ac:spMkLst>
            <pc:docMk/>
            <pc:sldMk cId="2119641651" sldId="2147199673"/>
            <ac:spMk id="2" creationId="{DD423B10-54D8-4E7B-5B09-8969409C848C}"/>
          </ac:spMkLst>
        </pc:spChg>
        <pc:spChg chg="add mod ord">
          <ac:chgData name="Schjold, Hanne Røvig" userId="72e82339-bab0-442f-8ca6-e6f386a713ee" providerId="ADAL" clId="{9706D415-2DA0-4D00-90B6-E46BF852F024}" dt="2023-03-16T11:00:09.603" v="449" actId="167"/>
          <ac:spMkLst>
            <pc:docMk/>
            <pc:sldMk cId="2119641651" sldId="2147199673"/>
            <ac:spMk id="3" creationId="{0EE60CFC-EAD3-3AF9-B507-5492C3C3E6E5}"/>
          </ac:spMkLst>
        </pc:spChg>
        <pc:spChg chg="mod">
          <ac:chgData name="Schjold, Hanne Røvig" userId="72e82339-bab0-442f-8ca6-e6f386a713ee" providerId="ADAL" clId="{9706D415-2DA0-4D00-90B6-E46BF852F024}" dt="2023-03-16T11:47:28.157" v="481" actId="20577"/>
          <ac:spMkLst>
            <pc:docMk/>
            <pc:sldMk cId="2119641651" sldId="2147199673"/>
            <ac:spMk id="4" creationId="{CEB5A685-31DB-4FA3-845F-BBEE0F4B08E3}"/>
          </ac:spMkLst>
        </pc:spChg>
        <pc:spChg chg="mod">
          <ac:chgData name="Schjold, Hanne Røvig" userId="72e82339-bab0-442f-8ca6-e6f386a713ee" providerId="ADAL" clId="{9706D415-2DA0-4D00-90B6-E46BF852F024}" dt="2023-03-17T10:22:24.587" v="1437" actId="20577"/>
          <ac:spMkLst>
            <pc:docMk/>
            <pc:sldMk cId="2119641651" sldId="2147199673"/>
            <ac:spMk id="6" creationId="{3F1A3724-68CD-4791-A508-D4BC4AD61CD6}"/>
          </ac:spMkLst>
        </pc:spChg>
        <pc:picChg chg="add mod">
          <ac:chgData name="Schjold, Hanne Røvig" userId="72e82339-bab0-442f-8ca6-e6f386a713ee" providerId="ADAL" clId="{9706D415-2DA0-4D00-90B6-E46BF852F024}" dt="2023-03-16T11:46:44.813" v="464" actId="1076"/>
          <ac:picMkLst>
            <pc:docMk/>
            <pc:sldMk cId="2119641651" sldId="2147199673"/>
            <ac:picMk id="5" creationId="{B0A9D7B8-11C7-8A81-D8E0-C4B40BEE0DD9}"/>
          </ac:picMkLst>
        </pc:picChg>
        <pc:picChg chg="del mod">
          <ac:chgData name="Schjold, Hanne Røvig" userId="72e82339-bab0-442f-8ca6-e6f386a713ee" providerId="ADAL" clId="{9706D415-2DA0-4D00-90B6-E46BF852F024}" dt="2023-03-16T11:46:35.959" v="459" actId="478"/>
          <ac:picMkLst>
            <pc:docMk/>
            <pc:sldMk cId="2119641651" sldId="2147199673"/>
            <ac:picMk id="1026" creationId="{412A8934-5EE9-7153-E09C-BCA184400D13}"/>
          </ac:picMkLst>
        </pc:picChg>
      </pc:sldChg>
      <pc:sldChg chg="del">
        <pc:chgData name="Schjold, Hanne Røvig" userId="72e82339-bab0-442f-8ca6-e6f386a713ee" providerId="ADAL" clId="{9706D415-2DA0-4D00-90B6-E46BF852F024}" dt="2023-03-16T10:59:48.037" v="446" actId="2696"/>
        <pc:sldMkLst>
          <pc:docMk/>
          <pc:sldMk cId="2576924646" sldId="2147199673"/>
        </pc:sldMkLst>
      </pc:sldChg>
      <pc:sldChg chg="modSp mod ord setBg">
        <pc:chgData name="Schjold, Hanne Røvig" userId="72e82339-bab0-442f-8ca6-e6f386a713ee" providerId="ADAL" clId="{9706D415-2DA0-4D00-90B6-E46BF852F024}" dt="2023-03-17T10:16:45.074" v="1387"/>
        <pc:sldMkLst>
          <pc:docMk/>
          <pc:sldMk cId="2463229187" sldId="2147199675"/>
        </pc:sldMkLst>
        <pc:spChg chg="mod">
          <ac:chgData name="Schjold, Hanne Røvig" userId="72e82339-bab0-442f-8ca6-e6f386a713ee" providerId="ADAL" clId="{9706D415-2DA0-4D00-90B6-E46BF852F024}" dt="2023-03-16T09:56:09.068" v="113" actId="20577"/>
          <ac:spMkLst>
            <pc:docMk/>
            <pc:sldMk cId="2463229187" sldId="2147199675"/>
            <ac:spMk id="5" creationId="{A9E1B165-CD61-5545-B3A3-F9EAA80CC4EF}"/>
          </ac:spMkLst>
        </pc:spChg>
      </pc:sldChg>
      <pc:sldChg chg="addSp delSp modSp mod ord">
        <pc:chgData name="Schjold, Hanne Røvig" userId="72e82339-bab0-442f-8ca6-e6f386a713ee" providerId="ADAL" clId="{9706D415-2DA0-4D00-90B6-E46BF852F024}" dt="2023-03-17T10:49:58.220" v="1685" actId="113"/>
        <pc:sldMkLst>
          <pc:docMk/>
          <pc:sldMk cId="3460481158" sldId="2147199683"/>
        </pc:sldMkLst>
        <pc:spChg chg="mod">
          <ac:chgData name="Schjold, Hanne Røvig" userId="72e82339-bab0-442f-8ca6-e6f386a713ee" providerId="ADAL" clId="{9706D415-2DA0-4D00-90B6-E46BF852F024}" dt="2023-03-17T10:49:58.220" v="1685" actId="113"/>
          <ac:spMkLst>
            <pc:docMk/>
            <pc:sldMk cId="3460481158" sldId="2147199683"/>
            <ac:spMk id="5" creationId="{65DC75E4-3269-B54C-A6DE-60AFB65C8393}"/>
          </ac:spMkLst>
        </pc:spChg>
        <pc:picChg chg="add mod modCrop">
          <ac:chgData name="Schjold, Hanne Røvig" userId="72e82339-bab0-442f-8ca6-e6f386a713ee" providerId="ADAL" clId="{9706D415-2DA0-4D00-90B6-E46BF852F024}" dt="2023-03-17T10:49:50.467" v="1683" actId="1036"/>
          <ac:picMkLst>
            <pc:docMk/>
            <pc:sldMk cId="3460481158" sldId="2147199683"/>
            <ac:picMk id="7" creationId="{FB97B8EF-879A-79AE-F99E-871CB00B47AD}"/>
          </ac:picMkLst>
        </pc:picChg>
        <pc:picChg chg="del">
          <ac:chgData name="Schjold, Hanne Røvig" userId="72e82339-bab0-442f-8ca6-e6f386a713ee" providerId="ADAL" clId="{9706D415-2DA0-4D00-90B6-E46BF852F024}" dt="2023-03-17T10:49:11.331" v="1660" actId="478"/>
          <ac:picMkLst>
            <pc:docMk/>
            <pc:sldMk cId="3460481158" sldId="2147199683"/>
            <ac:picMk id="10" creationId="{BE5D8116-3A25-46A5-AA87-8079AB217DB0}"/>
          </ac:picMkLst>
        </pc:picChg>
      </pc:sldChg>
      <pc:sldChg chg="addSp delSp modSp del mod ord">
        <pc:chgData name="Schjold, Hanne Røvig" userId="72e82339-bab0-442f-8ca6-e6f386a713ee" providerId="ADAL" clId="{9706D415-2DA0-4D00-90B6-E46BF852F024}" dt="2023-03-17T10:55:29.998" v="1758" actId="47"/>
        <pc:sldMkLst>
          <pc:docMk/>
          <pc:sldMk cId="2664133486" sldId="2147199684"/>
        </pc:sldMkLst>
        <pc:spChg chg="mod">
          <ac:chgData name="Schjold, Hanne Røvig" userId="72e82339-bab0-442f-8ca6-e6f386a713ee" providerId="ADAL" clId="{9706D415-2DA0-4D00-90B6-E46BF852F024}" dt="2023-03-17T10:54:07.684" v="1735" actId="21"/>
          <ac:spMkLst>
            <pc:docMk/>
            <pc:sldMk cId="2664133486" sldId="2147199684"/>
            <ac:spMk id="2" creationId="{B28EC001-4C7E-DC5B-B081-A6335CB69320}"/>
          </ac:spMkLst>
        </pc:spChg>
        <pc:spChg chg="mod">
          <ac:chgData name="Schjold, Hanne Røvig" userId="72e82339-bab0-442f-8ca6-e6f386a713ee" providerId="ADAL" clId="{9706D415-2DA0-4D00-90B6-E46BF852F024}" dt="2023-03-17T10:55:24.687" v="1756" actId="21"/>
          <ac:spMkLst>
            <pc:docMk/>
            <pc:sldMk cId="2664133486" sldId="2147199684"/>
            <ac:spMk id="3" creationId="{284E060A-849A-4D66-602A-63463C8D3B57}"/>
          </ac:spMkLst>
        </pc:spChg>
        <pc:spChg chg="mod ord">
          <ac:chgData name="Schjold, Hanne Røvig" userId="72e82339-bab0-442f-8ca6-e6f386a713ee" providerId="ADAL" clId="{9706D415-2DA0-4D00-90B6-E46BF852F024}" dt="2023-03-17T10:50:42.236" v="1689" actId="167"/>
          <ac:spMkLst>
            <pc:docMk/>
            <pc:sldMk cId="2664133486" sldId="2147199684"/>
            <ac:spMk id="4" creationId="{DC8FEE1F-828F-2CF5-2A32-F7FCDEE2AD90}"/>
          </ac:spMkLst>
        </pc:spChg>
        <pc:spChg chg="add mod">
          <ac:chgData name="Schjold, Hanne Røvig" userId="72e82339-bab0-442f-8ca6-e6f386a713ee" providerId="ADAL" clId="{9706D415-2DA0-4D00-90B6-E46BF852F024}" dt="2023-03-17T10:53:21.680" v="1732" actId="1036"/>
          <ac:spMkLst>
            <pc:docMk/>
            <pc:sldMk cId="2664133486" sldId="2147199684"/>
            <ac:spMk id="5" creationId="{496AAC31-3EB7-5B74-E68A-3F3182CFAA81}"/>
          </ac:spMkLst>
        </pc:spChg>
        <pc:spChg chg="add mod">
          <ac:chgData name="Schjold, Hanne Røvig" userId="72e82339-bab0-442f-8ca6-e6f386a713ee" providerId="ADAL" clId="{9706D415-2DA0-4D00-90B6-E46BF852F024}" dt="2023-03-17T10:53:21.680" v="1732" actId="1036"/>
          <ac:spMkLst>
            <pc:docMk/>
            <pc:sldMk cId="2664133486" sldId="2147199684"/>
            <ac:spMk id="8" creationId="{7B4C1FD7-BA0C-BBA9-E541-AFD34D8024A1}"/>
          </ac:spMkLst>
        </pc:spChg>
        <pc:spChg chg="add mod">
          <ac:chgData name="Schjold, Hanne Røvig" userId="72e82339-bab0-442f-8ca6-e6f386a713ee" providerId="ADAL" clId="{9706D415-2DA0-4D00-90B6-E46BF852F024}" dt="2023-03-17T10:53:21.680" v="1732" actId="1036"/>
          <ac:spMkLst>
            <pc:docMk/>
            <pc:sldMk cId="2664133486" sldId="2147199684"/>
            <ac:spMk id="9" creationId="{81667A25-3299-C78A-BEC3-6DAC701580A0}"/>
          </ac:spMkLst>
        </pc:spChg>
        <pc:spChg chg="add mod">
          <ac:chgData name="Schjold, Hanne Røvig" userId="72e82339-bab0-442f-8ca6-e6f386a713ee" providerId="ADAL" clId="{9706D415-2DA0-4D00-90B6-E46BF852F024}" dt="2023-03-17T10:53:21.680" v="1732" actId="1036"/>
          <ac:spMkLst>
            <pc:docMk/>
            <pc:sldMk cId="2664133486" sldId="2147199684"/>
            <ac:spMk id="10" creationId="{3CE6FAAE-D155-20B4-6635-DEEB61ECB22E}"/>
          </ac:spMkLst>
        </pc:spChg>
        <pc:picChg chg="del">
          <ac:chgData name="Schjold, Hanne Røvig" userId="72e82339-bab0-442f-8ca6-e6f386a713ee" providerId="ADAL" clId="{9706D415-2DA0-4D00-90B6-E46BF852F024}" dt="2023-03-17T10:50:31.310" v="1686" actId="478"/>
          <ac:picMkLst>
            <pc:docMk/>
            <pc:sldMk cId="2664133486" sldId="2147199684"/>
            <ac:picMk id="6" creationId="{1EDF148F-9CAA-56AA-EFC0-3AD666118387}"/>
          </ac:picMkLst>
        </pc:picChg>
      </pc:sldChg>
      <pc:sldChg chg="addSp delSp modSp mod ord setBg addAnim delAnim modAnim modNotesTx">
        <pc:chgData name="Schjold, Hanne Røvig" userId="72e82339-bab0-442f-8ca6-e6f386a713ee" providerId="ADAL" clId="{9706D415-2DA0-4D00-90B6-E46BF852F024}" dt="2023-03-22T09:21:06.030" v="2446"/>
        <pc:sldMkLst>
          <pc:docMk/>
          <pc:sldMk cId="1689254817" sldId="2147199685"/>
        </pc:sldMkLst>
        <pc:spChg chg="mod">
          <ac:chgData name="Schjold, Hanne Røvig" userId="72e82339-bab0-442f-8ca6-e6f386a713ee" providerId="ADAL" clId="{9706D415-2DA0-4D00-90B6-E46BF852F024}" dt="2023-03-16T14:39:21.516" v="1257" actId="1037"/>
          <ac:spMkLst>
            <pc:docMk/>
            <pc:sldMk cId="1689254817" sldId="2147199685"/>
            <ac:spMk id="2" creationId="{B840D42E-9090-B946-BB30-39F111CA2DC2}"/>
          </ac:spMkLst>
        </pc:spChg>
        <pc:spChg chg="del mod">
          <ac:chgData name="Schjold, Hanne Røvig" userId="72e82339-bab0-442f-8ca6-e6f386a713ee" providerId="ADAL" clId="{9706D415-2DA0-4D00-90B6-E46BF852F024}" dt="2023-03-16T14:37:58.236" v="1213" actId="478"/>
          <ac:spMkLst>
            <pc:docMk/>
            <pc:sldMk cId="1689254817" sldId="2147199685"/>
            <ac:spMk id="3" creationId="{50D07FEF-3C7D-0947-8A9D-EDA946494B03}"/>
          </ac:spMkLst>
        </pc:spChg>
        <pc:spChg chg="add del mod">
          <ac:chgData name="Schjold, Hanne Røvig" userId="72e82339-bab0-442f-8ca6-e6f386a713ee" providerId="ADAL" clId="{9706D415-2DA0-4D00-90B6-E46BF852F024}" dt="2023-03-16T14:35:51.314" v="1194" actId="478"/>
          <ac:spMkLst>
            <pc:docMk/>
            <pc:sldMk cId="1689254817" sldId="2147199685"/>
            <ac:spMk id="8" creationId="{F4266AB1-CD8B-1A3A-DB02-F748F1BC42F3}"/>
          </ac:spMkLst>
        </pc:spChg>
        <pc:spChg chg="mod">
          <ac:chgData name="Schjold, Hanne Røvig" userId="72e82339-bab0-442f-8ca6-e6f386a713ee" providerId="ADAL" clId="{9706D415-2DA0-4D00-90B6-E46BF852F024}" dt="2023-03-16T14:39:51.916" v="1263" actId="1076"/>
          <ac:spMkLst>
            <pc:docMk/>
            <pc:sldMk cId="1689254817" sldId="2147199685"/>
            <ac:spMk id="11" creationId="{3406733C-048A-3940-A620-4F774ACFFDB0}"/>
          </ac:spMkLst>
        </pc:spChg>
        <pc:spChg chg="mod">
          <ac:chgData name="Schjold, Hanne Røvig" userId="72e82339-bab0-442f-8ca6-e6f386a713ee" providerId="ADAL" clId="{9706D415-2DA0-4D00-90B6-E46BF852F024}" dt="2023-03-16T14:39:30.207" v="1258" actId="1076"/>
          <ac:spMkLst>
            <pc:docMk/>
            <pc:sldMk cId="1689254817" sldId="2147199685"/>
            <ac:spMk id="12" creationId="{85C0778A-5ECB-F549-B098-D372E737F9AF}"/>
          </ac:spMkLst>
        </pc:spChg>
        <pc:graphicFrameChg chg="add del mod">
          <ac:chgData name="Schjold, Hanne Røvig" userId="72e82339-bab0-442f-8ca6-e6f386a713ee" providerId="ADAL" clId="{9706D415-2DA0-4D00-90B6-E46BF852F024}" dt="2023-03-16T14:39:44.173" v="1262" actId="14100"/>
          <ac:graphicFrameMkLst>
            <pc:docMk/>
            <pc:sldMk cId="1689254817" sldId="2147199685"/>
            <ac:graphicFrameMk id="7" creationId="{844A7F48-AAF4-47FD-B93D-D9623088550E}"/>
          </ac:graphicFrameMkLst>
        </pc:graphicFrameChg>
        <pc:picChg chg="del">
          <ac:chgData name="Schjold, Hanne Røvig" userId="72e82339-bab0-442f-8ca6-e6f386a713ee" providerId="ADAL" clId="{9706D415-2DA0-4D00-90B6-E46BF852F024}" dt="2023-03-16T14:35:23.979" v="1187" actId="478"/>
          <ac:picMkLst>
            <pc:docMk/>
            <pc:sldMk cId="1689254817" sldId="2147199685"/>
            <ac:picMk id="5" creationId="{797EAA9A-6823-0E49-807B-67E20228D425}"/>
          </ac:picMkLst>
        </pc:picChg>
        <pc:picChg chg="add mod modCrop">
          <ac:chgData name="Schjold, Hanne Røvig" userId="72e82339-bab0-442f-8ca6-e6f386a713ee" providerId="ADAL" clId="{9706D415-2DA0-4D00-90B6-E46BF852F024}" dt="2023-03-16T14:37:10.286" v="1203" actId="732"/>
          <ac:picMkLst>
            <pc:docMk/>
            <pc:sldMk cId="1689254817" sldId="2147199685"/>
            <ac:picMk id="10" creationId="{789C89A7-2F78-625B-72AB-21D77F60BE08}"/>
          </ac:picMkLst>
        </pc:picChg>
      </pc:sldChg>
      <pc:sldChg chg="del">
        <pc:chgData name="Schjold, Hanne Røvig" userId="72e82339-bab0-442f-8ca6-e6f386a713ee" providerId="ADAL" clId="{9706D415-2DA0-4D00-90B6-E46BF852F024}" dt="2023-03-17T10:17:42.108" v="1394" actId="47"/>
        <pc:sldMkLst>
          <pc:docMk/>
          <pc:sldMk cId="202147821" sldId="2147199687"/>
        </pc:sldMkLst>
      </pc:sldChg>
      <pc:sldChg chg="addSp delSp modSp mod ord setBg addCm">
        <pc:chgData name="Schjold, Hanne Røvig" userId="72e82339-bab0-442f-8ca6-e6f386a713ee" providerId="ADAL" clId="{9706D415-2DA0-4D00-90B6-E46BF852F024}" dt="2023-03-28T13:45:34.868" v="2653"/>
        <pc:sldMkLst>
          <pc:docMk/>
          <pc:sldMk cId="1314660975" sldId="2147199688"/>
        </pc:sldMkLst>
        <pc:spChg chg="add del mod">
          <ac:chgData name="Schjold, Hanne Røvig" userId="72e82339-bab0-442f-8ca6-e6f386a713ee" providerId="ADAL" clId="{9706D415-2DA0-4D00-90B6-E46BF852F024}" dt="2023-03-17T12:06:59.050" v="1985" actId="478"/>
          <ac:spMkLst>
            <pc:docMk/>
            <pc:sldMk cId="1314660975" sldId="2147199688"/>
            <ac:spMk id="4" creationId="{4118B756-3BD1-7DC3-E779-402EAA12AC81}"/>
          </ac:spMkLst>
        </pc:spChg>
        <pc:spChg chg="mod">
          <ac:chgData name="Schjold, Hanne Røvig" userId="72e82339-bab0-442f-8ca6-e6f386a713ee" providerId="ADAL" clId="{9706D415-2DA0-4D00-90B6-E46BF852F024}" dt="2023-03-22T11:02:02.670" v="2525" actId="1076"/>
          <ac:spMkLst>
            <pc:docMk/>
            <pc:sldMk cId="1314660975" sldId="2147199688"/>
            <ac:spMk id="12" creationId="{85572DB7-CF91-4128-BE6E-E2866A5F031D}"/>
          </ac:spMkLst>
        </pc:spChg>
        <pc:spChg chg="mod">
          <ac:chgData name="Schjold, Hanne Røvig" userId="72e82339-bab0-442f-8ca6-e6f386a713ee" providerId="ADAL" clId="{9706D415-2DA0-4D00-90B6-E46BF852F024}" dt="2023-03-22T11:01:15.806" v="2517" actId="14100"/>
          <ac:spMkLst>
            <pc:docMk/>
            <pc:sldMk cId="1314660975" sldId="2147199688"/>
            <ac:spMk id="14" creationId="{751AA060-3B1D-4102-9E3B-BFF75CD4A862}"/>
          </ac:spMkLst>
        </pc:spChg>
        <pc:spChg chg="del">
          <ac:chgData name="Schjold, Hanne Røvig" userId="72e82339-bab0-442f-8ca6-e6f386a713ee" providerId="ADAL" clId="{9706D415-2DA0-4D00-90B6-E46BF852F024}" dt="2023-03-22T11:01:11.016" v="2516" actId="478"/>
          <ac:spMkLst>
            <pc:docMk/>
            <pc:sldMk cId="1314660975" sldId="2147199688"/>
            <ac:spMk id="16" creationId="{B5D430BB-6FE6-4F43-8329-BC06E13B7AE7}"/>
          </ac:spMkLst>
        </pc:spChg>
        <pc:graphicFrameChg chg="mod">
          <ac:chgData name="Schjold, Hanne Røvig" userId="72e82339-bab0-442f-8ca6-e6f386a713ee" providerId="ADAL" clId="{9706D415-2DA0-4D00-90B6-E46BF852F024}" dt="2023-03-22T11:01:56.444" v="2524" actId="1076"/>
          <ac:graphicFrameMkLst>
            <pc:docMk/>
            <pc:sldMk cId="1314660975" sldId="2147199688"/>
            <ac:graphicFrameMk id="3" creationId="{1E15F8A0-F63A-38EE-EE9D-C51688EA5A3E}"/>
          </ac:graphicFrameMkLst>
        </pc:graphicFrameChg>
        <pc:picChg chg="add del mod modCrop">
          <ac:chgData name="Schjold, Hanne Røvig" userId="72e82339-bab0-442f-8ca6-e6f386a713ee" providerId="ADAL" clId="{9706D415-2DA0-4D00-90B6-E46BF852F024}" dt="2023-03-22T11:01:05.214" v="2515" actId="732"/>
          <ac:picMkLst>
            <pc:docMk/>
            <pc:sldMk cId="1314660975" sldId="2147199688"/>
            <ac:picMk id="6" creationId="{9D4E138F-A18D-4A31-A2B9-6A2EB61FF8AF}"/>
          </ac:picMkLst>
        </pc:picChg>
      </pc:sldChg>
      <pc:sldChg chg="delSp modSp mod">
        <pc:chgData name="Schjold, Hanne Røvig" userId="72e82339-bab0-442f-8ca6-e6f386a713ee" providerId="ADAL" clId="{9706D415-2DA0-4D00-90B6-E46BF852F024}" dt="2023-03-22T11:07:42.178" v="2526" actId="478"/>
        <pc:sldMkLst>
          <pc:docMk/>
          <pc:sldMk cId="613675044" sldId="2147199689"/>
        </pc:sldMkLst>
        <pc:spChg chg="mod">
          <ac:chgData name="Schjold, Hanne Røvig" userId="72e82339-bab0-442f-8ca6-e6f386a713ee" providerId="ADAL" clId="{9706D415-2DA0-4D00-90B6-E46BF852F024}" dt="2023-03-16T09:52:56.668" v="16" actId="14100"/>
          <ac:spMkLst>
            <pc:docMk/>
            <pc:sldMk cId="613675044" sldId="2147199689"/>
            <ac:spMk id="2" creationId="{3A0D7993-F149-87CD-BB20-078C0D6E3520}"/>
          </ac:spMkLst>
        </pc:spChg>
        <pc:spChg chg="mod">
          <ac:chgData name="Schjold, Hanne Røvig" userId="72e82339-bab0-442f-8ca6-e6f386a713ee" providerId="ADAL" clId="{9706D415-2DA0-4D00-90B6-E46BF852F024}" dt="2023-03-16T09:53:11.195" v="26" actId="1037"/>
          <ac:spMkLst>
            <pc:docMk/>
            <pc:sldMk cId="613675044" sldId="2147199689"/>
            <ac:spMk id="3" creationId="{D8497EF9-4ADB-9096-D01E-5AAC23F2AEA7}"/>
          </ac:spMkLst>
        </pc:spChg>
        <pc:picChg chg="del">
          <ac:chgData name="Schjold, Hanne Røvig" userId="72e82339-bab0-442f-8ca6-e6f386a713ee" providerId="ADAL" clId="{9706D415-2DA0-4D00-90B6-E46BF852F024}" dt="2023-03-22T11:07:42.178" v="2526" actId="478"/>
          <ac:picMkLst>
            <pc:docMk/>
            <pc:sldMk cId="613675044" sldId="2147199689"/>
            <ac:picMk id="5" creationId="{6970BDE4-4E6B-9D90-38A4-A18E7BB99299}"/>
          </ac:picMkLst>
        </pc:picChg>
      </pc:sldChg>
      <pc:sldChg chg="addSp delSp modSp mod">
        <pc:chgData name="Schjold, Hanne Røvig" userId="72e82339-bab0-442f-8ca6-e6f386a713ee" providerId="ADAL" clId="{9706D415-2DA0-4D00-90B6-E46BF852F024}" dt="2023-03-17T12:14:01.694" v="2057" actId="478"/>
        <pc:sldMkLst>
          <pc:docMk/>
          <pc:sldMk cId="3828192015" sldId="2147199690"/>
        </pc:sldMkLst>
        <pc:spChg chg="del">
          <ac:chgData name="Schjold, Hanne Røvig" userId="72e82339-bab0-442f-8ca6-e6f386a713ee" providerId="ADAL" clId="{9706D415-2DA0-4D00-90B6-E46BF852F024}" dt="2023-03-16T09:53:21.323" v="27" actId="478"/>
          <ac:spMkLst>
            <pc:docMk/>
            <pc:sldMk cId="3828192015" sldId="2147199690"/>
            <ac:spMk id="2" creationId="{18A0BA95-1DF1-4CF9-DA11-D989A7033311}"/>
          </ac:spMkLst>
        </pc:spChg>
        <pc:spChg chg="mod ord">
          <ac:chgData name="Schjold, Hanne Røvig" userId="72e82339-bab0-442f-8ca6-e6f386a713ee" providerId="ADAL" clId="{9706D415-2DA0-4D00-90B6-E46BF852F024}" dt="2023-03-17T12:13:18.322" v="2002" actId="1076"/>
          <ac:spMkLst>
            <pc:docMk/>
            <pc:sldMk cId="3828192015" sldId="2147199690"/>
            <ac:spMk id="3" creationId="{7425ED42-33CE-522A-B35E-5456E3947C53}"/>
          </ac:spMkLst>
        </pc:spChg>
        <pc:spChg chg="add mod">
          <ac:chgData name="Schjold, Hanne Røvig" userId="72e82339-bab0-442f-8ca6-e6f386a713ee" providerId="ADAL" clId="{9706D415-2DA0-4D00-90B6-E46BF852F024}" dt="2023-03-17T12:13:32.828" v="2003" actId="207"/>
          <ac:spMkLst>
            <pc:docMk/>
            <pc:sldMk cId="3828192015" sldId="2147199690"/>
            <ac:spMk id="5" creationId="{485DFE7D-5378-1A60-D6C4-0936F7DFA5ED}"/>
          </ac:spMkLst>
        </pc:spChg>
        <pc:spChg chg="del">
          <ac:chgData name="Schjold, Hanne Røvig" userId="72e82339-bab0-442f-8ca6-e6f386a713ee" providerId="ADAL" clId="{9706D415-2DA0-4D00-90B6-E46BF852F024}" dt="2023-03-17T12:14:01.694" v="2057" actId="478"/>
          <ac:spMkLst>
            <pc:docMk/>
            <pc:sldMk cId="3828192015" sldId="2147199690"/>
            <ac:spMk id="20" creationId="{C21C05B3-ED5B-4685-ACCF-B58B195A777A}"/>
          </ac:spMkLst>
        </pc:spChg>
        <pc:picChg chg="mod">
          <ac:chgData name="Schjold, Hanne Røvig" userId="72e82339-bab0-442f-8ca6-e6f386a713ee" providerId="ADAL" clId="{9706D415-2DA0-4D00-90B6-E46BF852F024}" dt="2023-03-17T12:13:57.390" v="2056" actId="1035"/>
          <ac:picMkLst>
            <pc:docMk/>
            <pc:sldMk cId="3828192015" sldId="2147199690"/>
            <ac:picMk id="4" creationId="{AFD28111-05DE-C94A-9B1C-1D9A35AF3899}"/>
          </ac:picMkLst>
        </pc:picChg>
      </pc:sldChg>
      <pc:sldChg chg="addSp delSp modSp mod">
        <pc:chgData name="Schjold, Hanne Røvig" userId="72e82339-bab0-442f-8ca6-e6f386a713ee" providerId="ADAL" clId="{9706D415-2DA0-4D00-90B6-E46BF852F024}" dt="2023-03-16T09:53:56.881" v="57" actId="1035"/>
        <pc:sldMkLst>
          <pc:docMk/>
          <pc:sldMk cId="2293250089" sldId="2147199691"/>
        </pc:sldMkLst>
        <pc:spChg chg="del">
          <ac:chgData name="Schjold, Hanne Røvig" userId="72e82339-bab0-442f-8ca6-e6f386a713ee" providerId="ADAL" clId="{9706D415-2DA0-4D00-90B6-E46BF852F024}" dt="2023-03-16T09:53:41.814" v="43" actId="478"/>
          <ac:spMkLst>
            <pc:docMk/>
            <pc:sldMk cId="2293250089" sldId="2147199691"/>
            <ac:spMk id="2" creationId="{010DE18F-CC4F-FC25-D72C-B526E5CD49EE}"/>
          </ac:spMkLst>
        </pc:spChg>
        <pc:spChg chg="add mod">
          <ac:chgData name="Schjold, Hanne Røvig" userId="72e82339-bab0-442f-8ca6-e6f386a713ee" providerId="ADAL" clId="{9706D415-2DA0-4D00-90B6-E46BF852F024}" dt="2023-03-16T09:53:56.881" v="57" actId="1035"/>
          <ac:spMkLst>
            <pc:docMk/>
            <pc:sldMk cId="2293250089" sldId="2147199691"/>
            <ac:spMk id="5" creationId="{235C3883-95D8-D532-B068-ACB66979BB12}"/>
          </ac:spMkLst>
        </pc:spChg>
        <pc:spChg chg="ord">
          <ac:chgData name="Schjold, Hanne Røvig" userId="72e82339-bab0-442f-8ca6-e6f386a713ee" providerId="ADAL" clId="{9706D415-2DA0-4D00-90B6-E46BF852F024}" dt="2023-03-16T09:53:47.801" v="45" actId="166"/>
          <ac:spMkLst>
            <pc:docMk/>
            <pc:sldMk cId="2293250089" sldId="2147199691"/>
            <ac:spMk id="12" creationId="{78CACF4D-9D62-8D47-9FA7-C3ADDDE07316}"/>
          </ac:spMkLst>
        </pc:spChg>
      </pc:sldChg>
      <pc:sldChg chg="del">
        <pc:chgData name="Schjold, Hanne Røvig" userId="72e82339-bab0-442f-8ca6-e6f386a713ee" providerId="ADAL" clId="{9706D415-2DA0-4D00-90B6-E46BF852F024}" dt="2023-03-16T11:49:39.443" v="482" actId="2696"/>
        <pc:sldMkLst>
          <pc:docMk/>
          <pc:sldMk cId="1757337601" sldId="2147199692"/>
        </pc:sldMkLst>
      </pc:sldChg>
      <pc:sldChg chg="addSp delSp modSp add del mod">
        <pc:chgData name="Schjold, Hanne Røvig" userId="72e82339-bab0-442f-8ca6-e6f386a713ee" providerId="ADAL" clId="{9706D415-2DA0-4D00-90B6-E46BF852F024}" dt="2023-03-17T10:17:28.200" v="1393" actId="47"/>
        <pc:sldMkLst>
          <pc:docMk/>
          <pc:sldMk cId="3937907364" sldId="2147199692"/>
        </pc:sldMkLst>
        <pc:spChg chg="mod">
          <ac:chgData name="Schjold, Hanne Røvig" userId="72e82339-bab0-442f-8ca6-e6f386a713ee" providerId="ADAL" clId="{9706D415-2DA0-4D00-90B6-E46BF852F024}" dt="2023-03-16T11:50:27.542" v="488" actId="14100"/>
          <ac:spMkLst>
            <pc:docMk/>
            <pc:sldMk cId="3937907364" sldId="2147199692"/>
            <ac:spMk id="2" creationId="{8818DCED-05F9-9ABF-0AFA-ACE11092C794}"/>
          </ac:spMkLst>
        </pc:spChg>
        <pc:spChg chg="mod">
          <ac:chgData name="Schjold, Hanne Røvig" userId="72e82339-bab0-442f-8ca6-e6f386a713ee" providerId="ADAL" clId="{9706D415-2DA0-4D00-90B6-E46BF852F024}" dt="2023-03-16T11:50:39.801" v="489" actId="20577"/>
          <ac:spMkLst>
            <pc:docMk/>
            <pc:sldMk cId="3937907364" sldId="2147199692"/>
            <ac:spMk id="3" creationId="{9709E693-3878-A324-ABAE-101EC3019A94}"/>
          </ac:spMkLst>
        </pc:spChg>
        <pc:spChg chg="add mod ord">
          <ac:chgData name="Schjold, Hanne Røvig" userId="72e82339-bab0-442f-8ca6-e6f386a713ee" providerId="ADAL" clId="{9706D415-2DA0-4D00-90B6-E46BF852F024}" dt="2023-03-16T11:50:21.946" v="486" actId="167"/>
          <ac:spMkLst>
            <pc:docMk/>
            <pc:sldMk cId="3937907364" sldId="2147199692"/>
            <ac:spMk id="6" creationId="{635CC1B8-87AB-CBEF-CD95-62B8BC848A9C}"/>
          </ac:spMkLst>
        </pc:spChg>
        <pc:picChg chg="del">
          <ac:chgData name="Schjold, Hanne Røvig" userId="72e82339-bab0-442f-8ca6-e6f386a713ee" providerId="ADAL" clId="{9706D415-2DA0-4D00-90B6-E46BF852F024}" dt="2023-03-16T11:49:56.944" v="484" actId="478"/>
          <ac:picMkLst>
            <pc:docMk/>
            <pc:sldMk cId="3937907364" sldId="2147199692"/>
            <ac:picMk id="4" creationId="{2AE0FED4-4C4C-DF7A-6B09-86F474577745}"/>
          </ac:picMkLst>
        </pc:picChg>
      </pc:sldChg>
      <pc:sldChg chg="addSp delSp modSp mod">
        <pc:chgData name="Schjold, Hanne Røvig" userId="72e82339-bab0-442f-8ca6-e6f386a713ee" providerId="ADAL" clId="{9706D415-2DA0-4D00-90B6-E46BF852F024}" dt="2023-03-16T09:54:27.003" v="73" actId="207"/>
        <pc:sldMkLst>
          <pc:docMk/>
          <pc:sldMk cId="457178272" sldId="2147199693"/>
        </pc:sldMkLst>
        <pc:spChg chg="ord">
          <ac:chgData name="Schjold, Hanne Røvig" userId="72e82339-bab0-442f-8ca6-e6f386a713ee" providerId="ADAL" clId="{9706D415-2DA0-4D00-90B6-E46BF852F024}" dt="2023-03-16T09:54:11.009" v="61" actId="166"/>
          <ac:spMkLst>
            <pc:docMk/>
            <pc:sldMk cId="457178272" sldId="2147199693"/>
            <ac:spMk id="2" creationId="{DF73711E-FECE-0C40-85D5-01BB8BE771B0}"/>
          </ac:spMkLst>
        </pc:spChg>
        <pc:spChg chg="del">
          <ac:chgData name="Schjold, Hanne Røvig" userId="72e82339-bab0-442f-8ca6-e6f386a713ee" providerId="ADAL" clId="{9706D415-2DA0-4D00-90B6-E46BF852F024}" dt="2023-03-16T09:54:02.001" v="58" actId="478"/>
          <ac:spMkLst>
            <pc:docMk/>
            <pc:sldMk cId="457178272" sldId="2147199693"/>
            <ac:spMk id="3" creationId="{34BBAA55-6502-30BC-807C-2F1C83E737AB}"/>
          </ac:spMkLst>
        </pc:spChg>
        <pc:spChg chg="add mod">
          <ac:chgData name="Schjold, Hanne Røvig" userId="72e82339-bab0-442f-8ca6-e6f386a713ee" providerId="ADAL" clId="{9706D415-2DA0-4D00-90B6-E46BF852F024}" dt="2023-03-16T09:54:27.003" v="73" actId="207"/>
          <ac:spMkLst>
            <pc:docMk/>
            <pc:sldMk cId="457178272" sldId="2147199693"/>
            <ac:spMk id="4" creationId="{8E9D161C-256A-16A4-CA2A-CA5481CDA753}"/>
          </ac:spMkLst>
        </pc:spChg>
      </pc:sldChg>
      <pc:sldChg chg="del">
        <pc:chgData name="Schjold, Hanne Røvig" userId="72e82339-bab0-442f-8ca6-e6f386a713ee" providerId="ADAL" clId="{9706D415-2DA0-4D00-90B6-E46BF852F024}" dt="2023-03-16T10:13:28.986" v="141" actId="47"/>
        <pc:sldMkLst>
          <pc:docMk/>
          <pc:sldMk cId="2401920521" sldId="2147199694"/>
        </pc:sldMkLst>
      </pc:sldChg>
      <pc:sldChg chg="del">
        <pc:chgData name="Schjold, Hanne Røvig" userId="72e82339-bab0-442f-8ca6-e6f386a713ee" providerId="ADAL" clId="{9706D415-2DA0-4D00-90B6-E46BF852F024}" dt="2023-03-16T10:16:38.656" v="176" actId="2696"/>
        <pc:sldMkLst>
          <pc:docMk/>
          <pc:sldMk cId="3507735321" sldId="2147199695"/>
        </pc:sldMkLst>
      </pc:sldChg>
      <pc:sldChg chg="addSp modSp add mod ord">
        <pc:chgData name="Schjold, Hanne Røvig" userId="72e82339-bab0-442f-8ca6-e6f386a713ee" providerId="ADAL" clId="{9706D415-2DA0-4D00-90B6-E46BF852F024}" dt="2023-03-17T10:12:24.285" v="1337"/>
        <pc:sldMkLst>
          <pc:docMk/>
          <pc:sldMk cId="3887728048" sldId="2147199695"/>
        </pc:sldMkLst>
        <pc:spChg chg="mod">
          <ac:chgData name="Schjold, Hanne Røvig" userId="72e82339-bab0-442f-8ca6-e6f386a713ee" providerId="ADAL" clId="{9706D415-2DA0-4D00-90B6-E46BF852F024}" dt="2023-03-16T10:50:00.920" v="392" actId="6549"/>
          <ac:spMkLst>
            <pc:docMk/>
            <pc:sldMk cId="3887728048" sldId="2147199695"/>
            <ac:spMk id="2" creationId="{6C846BD3-38D2-997F-387F-44DB63FEFE9F}"/>
          </ac:spMkLst>
        </pc:spChg>
        <pc:spChg chg="mod">
          <ac:chgData name="Schjold, Hanne Røvig" userId="72e82339-bab0-442f-8ca6-e6f386a713ee" providerId="ADAL" clId="{9706D415-2DA0-4D00-90B6-E46BF852F024}" dt="2023-03-16T10:37:09.986" v="349" actId="5793"/>
          <ac:spMkLst>
            <pc:docMk/>
            <pc:sldMk cId="3887728048" sldId="2147199695"/>
            <ac:spMk id="3" creationId="{968B4499-74AE-082A-E385-6EC3C5E1482C}"/>
          </ac:spMkLst>
        </pc:spChg>
        <pc:spChg chg="add mod ord">
          <ac:chgData name="Schjold, Hanne Røvig" userId="72e82339-bab0-442f-8ca6-e6f386a713ee" providerId="ADAL" clId="{9706D415-2DA0-4D00-90B6-E46BF852F024}" dt="2023-03-16T10:32:49.685" v="329" actId="167"/>
          <ac:spMkLst>
            <pc:docMk/>
            <pc:sldMk cId="3887728048" sldId="2147199695"/>
            <ac:spMk id="4" creationId="{82892688-4D2A-6710-209E-EBBE47A98EA9}"/>
          </ac:spMkLst>
        </pc:spChg>
        <pc:picChg chg="mod modCrop">
          <ac:chgData name="Schjold, Hanne Røvig" userId="72e82339-bab0-442f-8ca6-e6f386a713ee" providerId="ADAL" clId="{9706D415-2DA0-4D00-90B6-E46BF852F024}" dt="2023-03-16T10:37:59.205" v="355" actId="14100"/>
          <ac:picMkLst>
            <pc:docMk/>
            <pc:sldMk cId="3887728048" sldId="2147199695"/>
            <ac:picMk id="7" creationId="{3F1CC40B-3388-EDD3-CD18-DA36A7AD7011}"/>
          </ac:picMkLst>
        </pc:picChg>
      </pc:sldChg>
      <pc:sldChg chg="modSp del mod">
        <pc:chgData name="Schjold, Hanne Røvig" userId="72e82339-bab0-442f-8ca6-e6f386a713ee" providerId="ADAL" clId="{9706D415-2DA0-4D00-90B6-E46BF852F024}" dt="2023-03-17T10:45:01.473" v="1652" actId="47"/>
        <pc:sldMkLst>
          <pc:docMk/>
          <pc:sldMk cId="3566806490" sldId="2147199696"/>
        </pc:sldMkLst>
        <pc:spChg chg="mod">
          <ac:chgData name="Schjold, Hanne Røvig" userId="72e82339-bab0-442f-8ca6-e6f386a713ee" providerId="ADAL" clId="{9706D415-2DA0-4D00-90B6-E46BF852F024}" dt="2023-03-17T10:24:03.277" v="1445" actId="20577"/>
          <ac:spMkLst>
            <pc:docMk/>
            <pc:sldMk cId="3566806490" sldId="2147199696"/>
            <ac:spMk id="2" creationId="{8CAB8E88-5C61-19C1-E2C7-92B5A161A9C7}"/>
          </ac:spMkLst>
        </pc:spChg>
        <pc:spChg chg="mod">
          <ac:chgData name="Schjold, Hanne Røvig" userId="72e82339-bab0-442f-8ca6-e6f386a713ee" providerId="ADAL" clId="{9706D415-2DA0-4D00-90B6-E46BF852F024}" dt="2023-03-17T10:24:00.056" v="1443" actId="14100"/>
          <ac:spMkLst>
            <pc:docMk/>
            <pc:sldMk cId="3566806490" sldId="2147199696"/>
            <ac:spMk id="4" creationId="{18B6F4AE-E3B4-0721-7E81-5B932246DA7F}"/>
          </ac:spMkLst>
        </pc:spChg>
      </pc:sldChg>
      <pc:sldChg chg="addSp modSp">
        <pc:chgData name="Schjold, Hanne Røvig" userId="72e82339-bab0-442f-8ca6-e6f386a713ee" providerId="ADAL" clId="{9706D415-2DA0-4D00-90B6-E46BF852F024}" dt="2023-03-28T13:52:12.319" v="2679" actId="931"/>
        <pc:sldMkLst>
          <pc:docMk/>
          <pc:sldMk cId="3383914499" sldId="2147199697"/>
        </pc:sldMkLst>
        <pc:picChg chg="add mod">
          <ac:chgData name="Schjold, Hanne Røvig" userId="72e82339-bab0-442f-8ca6-e6f386a713ee" providerId="ADAL" clId="{9706D415-2DA0-4D00-90B6-E46BF852F024}" dt="2023-03-28T13:52:12.319" v="2679" actId="931"/>
          <ac:picMkLst>
            <pc:docMk/>
            <pc:sldMk cId="3383914499" sldId="2147199697"/>
            <ac:picMk id="9" creationId="{2FA9203A-D561-E12F-3F4E-A9C5E7671DC0}"/>
          </ac:picMkLst>
        </pc:picChg>
      </pc:sldChg>
      <pc:sldChg chg="addSp delSp modSp mod">
        <pc:chgData name="Schjold, Hanne Røvig" userId="72e82339-bab0-442f-8ca6-e6f386a713ee" providerId="ADAL" clId="{9706D415-2DA0-4D00-90B6-E46BF852F024}" dt="2023-03-16T09:52:39.282" v="13" actId="1076"/>
        <pc:sldMkLst>
          <pc:docMk/>
          <pc:sldMk cId="3231242404" sldId="2147199698"/>
        </pc:sldMkLst>
        <pc:spChg chg="del">
          <ac:chgData name="Schjold, Hanne Røvig" userId="72e82339-bab0-442f-8ca6-e6f386a713ee" providerId="ADAL" clId="{9706D415-2DA0-4D00-90B6-E46BF852F024}" dt="2023-03-16T09:52:21.883" v="7" actId="478"/>
          <ac:spMkLst>
            <pc:docMk/>
            <pc:sldMk cId="3231242404" sldId="2147199698"/>
            <ac:spMk id="2" creationId="{A3D91D93-C46B-EB73-2813-CEEB875C48CA}"/>
          </ac:spMkLst>
        </pc:spChg>
        <pc:spChg chg="add mod">
          <ac:chgData name="Schjold, Hanne Røvig" userId="72e82339-bab0-442f-8ca6-e6f386a713ee" providerId="ADAL" clId="{9706D415-2DA0-4D00-90B6-E46BF852F024}" dt="2023-03-16T09:52:34.425" v="12" actId="1076"/>
          <ac:spMkLst>
            <pc:docMk/>
            <pc:sldMk cId="3231242404" sldId="2147199698"/>
            <ac:spMk id="3" creationId="{20253E1D-D11E-8738-AAEE-F5339C2D03C4}"/>
          </ac:spMkLst>
        </pc:spChg>
        <pc:spChg chg="mod ord">
          <ac:chgData name="Schjold, Hanne Røvig" userId="72e82339-bab0-442f-8ca6-e6f386a713ee" providerId="ADAL" clId="{9706D415-2DA0-4D00-90B6-E46BF852F024}" dt="2023-03-16T09:52:39.282" v="13" actId="1076"/>
          <ac:spMkLst>
            <pc:docMk/>
            <pc:sldMk cId="3231242404" sldId="2147199698"/>
            <ac:spMk id="7" creationId="{1674067F-C975-922D-7329-6B5EB4A89FFD}"/>
          </ac:spMkLst>
        </pc:spChg>
      </pc:sldChg>
      <pc:sldChg chg="addSp delSp modSp mod ord">
        <pc:chgData name="Schjold, Hanne Røvig" userId="72e82339-bab0-442f-8ca6-e6f386a713ee" providerId="ADAL" clId="{9706D415-2DA0-4D00-90B6-E46BF852F024}" dt="2023-03-17T10:48:47.750" v="1659" actId="21"/>
        <pc:sldMkLst>
          <pc:docMk/>
          <pc:sldMk cId="2665262395" sldId="2147199699"/>
        </pc:sldMkLst>
        <pc:spChg chg="mod">
          <ac:chgData name="Schjold, Hanne Røvig" userId="72e82339-bab0-442f-8ca6-e6f386a713ee" providerId="ADAL" clId="{9706D415-2DA0-4D00-90B6-E46BF852F024}" dt="2023-03-17T10:48:41.308" v="1658" actId="207"/>
          <ac:spMkLst>
            <pc:docMk/>
            <pc:sldMk cId="2665262395" sldId="2147199699"/>
            <ac:spMk id="2" creationId="{A3D91D93-C46B-EB73-2813-CEEB875C48CA}"/>
          </ac:spMkLst>
        </pc:spChg>
        <pc:spChg chg="mod">
          <ac:chgData name="Schjold, Hanne Røvig" userId="72e82339-bab0-442f-8ca6-e6f386a713ee" providerId="ADAL" clId="{9706D415-2DA0-4D00-90B6-E46BF852F024}" dt="2023-03-16T10:11:49.742" v="140" actId="1076"/>
          <ac:spMkLst>
            <pc:docMk/>
            <pc:sldMk cId="2665262395" sldId="2147199699"/>
            <ac:spMk id="7" creationId="{1674067F-C975-922D-7329-6B5EB4A89FFD}"/>
          </ac:spMkLst>
        </pc:spChg>
        <pc:picChg chg="add del mod">
          <ac:chgData name="Schjold, Hanne Røvig" userId="72e82339-bab0-442f-8ca6-e6f386a713ee" providerId="ADAL" clId="{9706D415-2DA0-4D00-90B6-E46BF852F024}" dt="2023-03-17T10:48:47.750" v="1659" actId="21"/>
          <ac:picMkLst>
            <pc:docMk/>
            <pc:sldMk cId="2665262395" sldId="2147199699"/>
            <ac:picMk id="3" creationId="{2F4ECBCD-8BBC-3DBF-0048-49FE3641CF3A}"/>
          </ac:picMkLst>
        </pc:picChg>
        <pc:picChg chg="mod">
          <ac:chgData name="Schjold, Hanne Røvig" userId="72e82339-bab0-442f-8ca6-e6f386a713ee" providerId="ADAL" clId="{9706D415-2DA0-4D00-90B6-E46BF852F024}" dt="2023-03-16T10:11:16.704" v="134" actId="14826"/>
          <ac:picMkLst>
            <pc:docMk/>
            <pc:sldMk cId="2665262395" sldId="2147199699"/>
            <ac:picMk id="4" creationId="{BF128BB2-FB3B-FD1C-38C1-35DC7FD36336}"/>
          </ac:picMkLst>
        </pc:picChg>
      </pc:sldChg>
      <pc:sldChg chg="addSp delSp modSp mod ord">
        <pc:chgData name="Schjold, Hanne Røvig" userId="72e82339-bab0-442f-8ca6-e6f386a713ee" providerId="ADAL" clId="{9706D415-2DA0-4D00-90B6-E46BF852F024}" dt="2023-03-17T10:48:30.130" v="1655" actId="21"/>
        <pc:sldMkLst>
          <pc:docMk/>
          <pc:sldMk cId="1103566599" sldId="2147199700"/>
        </pc:sldMkLst>
        <pc:picChg chg="add del mod">
          <ac:chgData name="Schjold, Hanne Røvig" userId="72e82339-bab0-442f-8ca6-e6f386a713ee" providerId="ADAL" clId="{9706D415-2DA0-4D00-90B6-E46BF852F024}" dt="2023-03-17T10:48:30.130" v="1655" actId="21"/>
          <ac:picMkLst>
            <pc:docMk/>
            <pc:sldMk cId="1103566599" sldId="2147199700"/>
            <ac:picMk id="4" creationId="{B7D3F8D1-3840-0103-9CDC-FE7C725C900A}"/>
          </ac:picMkLst>
        </pc:picChg>
      </pc:sldChg>
      <pc:sldChg chg="del">
        <pc:chgData name="Schjold, Hanne Røvig" userId="72e82339-bab0-442f-8ca6-e6f386a713ee" providerId="ADAL" clId="{9706D415-2DA0-4D00-90B6-E46BF852F024}" dt="2023-03-17T10:16:59.656" v="1392" actId="47"/>
        <pc:sldMkLst>
          <pc:docMk/>
          <pc:sldMk cId="143830795" sldId="2147199701"/>
        </pc:sldMkLst>
      </pc:sldChg>
      <pc:sldChg chg="modSp del mod">
        <pc:chgData name="Schjold, Hanne Røvig" userId="72e82339-bab0-442f-8ca6-e6f386a713ee" providerId="ADAL" clId="{9706D415-2DA0-4D00-90B6-E46BF852F024}" dt="2023-03-17T12:58:52.121" v="2385" actId="47"/>
        <pc:sldMkLst>
          <pc:docMk/>
          <pc:sldMk cId="2824427931" sldId="2147199702"/>
        </pc:sldMkLst>
        <pc:spChg chg="mod">
          <ac:chgData name="Schjold, Hanne Røvig" userId="72e82339-bab0-442f-8ca6-e6f386a713ee" providerId="ADAL" clId="{9706D415-2DA0-4D00-90B6-E46BF852F024}" dt="2023-03-17T10:16:06.749" v="1381" actId="20577"/>
          <ac:spMkLst>
            <pc:docMk/>
            <pc:sldMk cId="2824427931" sldId="2147199702"/>
            <ac:spMk id="2" creationId="{46C91869-FC6E-F9F7-26BE-A7828F05E822}"/>
          </ac:spMkLst>
        </pc:spChg>
      </pc:sldChg>
      <pc:sldChg chg="ord">
        <pc:chgData name="Schjold, Hanne Røvig" userId="72e82339-bab0-442f-8ca6-e6f386a713ee" providerId="ADAL" clId="{9706D415-2DA0-4D00-90B6-E46BF852F024}" dt="2023-03-17T10:16:53.758" v="1389"/>
        <pc:sldMkLst>
          <pc:docMk/>
          <pc:sldMk cId="3098349971" sldId="2147199703"/>
        </pc:sldMkLst>
      </pc:sldChg>
      <pc:sldChg chg="del ord">
        <pc:chgData name="Schjold, Hanne Røvig" userId="72e82339-bab0-442f-8ca6-e6f386a713ee" providerId="ADAL" clId="{9706D415-2DA0-4D00-90B6-E46BF852F024}" dt="2023-03-17T10:16:25.506" v="1382" actId="2696"/>
        <pc:sldMkLst>
          <pc:docMk/>
          <pc:sldMk cId="3884299006" sldId="2147199704"/>
        </pc:sldMkLst>
      </pc:sldChg>
      <pc:sldChg chg="modSp add mod ord modShow">
        <pc:chgData name="Schjold, Hanne Røvig" userId="72e82339-bab0-442f-8ca6-e6f386a713ee" providerId="ADAL" clId="{9706D415-2DA0-4D00-90B6-E46BF852F024}" dt="2023-03-22T11:18:38.785" v="2599" actId="729"/>
        <pc:sldMkLst>
          <pc:docMk/>
          <pc:sldMk cId="4096535654" sldId="2147199704"/>
        </pc:sldMkLst>
        <pc:spChg chg="mod">
          <ac:chgData name="Schjold, Hanne Røvig" userId="72e82339-bab0-442f-8ca6-e6f386a713ee" providerId="ADAL" clId="{9706D415-2DA0-4D00-90B6-E46BF852F024}" dt="2023-03-17T12:59:03.673" v="2391" actId="403"/>
          <ac:spMkLst>
            <pc:docMk/>
            <pc:sldMk cId="4096535654" sldId="2147199704"/>
            <ac:spMk id="2" creationId="{C4F2055E-0A87-2278-2136-EB43747949F9}"/>
          </ac:spMkLst>
        </pc:spChg>
      </pc:sldChg>
      <pc:sldChg chg="modSp mod ord">
        <pc:chgData name="Schjold, Hanne Røvig" userId="72e82339-bab0-442f-8ca6-e6f386a713ee" providerId="ADAL" clId="{9706D415-2DA0-4D00-90B6-E46BF852F024}" dt="2023-03-17T10:12:59.959" v="1345"/>
        <pc:sldMkLst>
          <pc:docMk/>
          <pc:sldMk cId="1055730045" sldId="2147199705"/>
        </pc:sldMkLst>
        <pc:picChg chg="mod">
          <ac:chgData name="Schjold, Hanne Røvig" userId="72e82339-bab0-442f-8ca6-e6f386a713ee" providerId="ADAL" clId="{9706D415-2DA0-4D00-90B6-E46BF852F024}" dt="2023-03-16T09:55:10.700" v="108" actId="1038"/>
          <ac:picMkLst>
            <pc:docMk/>
            <pc:sldMk cId="1055730045" sldId="2147199705"/>
            <ac:picMk id="9" creationId="{33D3F1B4-CA58-A95C-8062-90002423F6E8}"/>
          </ac:picMkLst>
        </pc:picChg>
      </pc:sldChg>
      <pc:sldChg chg="add">
        <pc:chgData name="Schjold, Hanne Røvig" userId="72e82339-bab0-442f-8ca6-e6f386a713ee" providerId="ADAL" clId="{9706D415-2DA0-4D00-90B6-E46BF852F024}" dt="2023-03-17T10:16:29.427" v="1383"/>
        <pc:sldMkLst>
          <pc:docMk/>
          <pc:sldMk cId="223489148" sldId="2147199706"/>
        </pc:sldMkLst>
      </pc:sldChg>
      <pc:sldChg chg="add del ord">
        <pc:chgData name="Schjold, Hanne Røvig" userId="72e82339-bab0-442f-8ca6-e6f386a713ee" providerId="ADAL" clId="{9706D415-2DA0-4D00-90B6-E46BF852F024}" dt="2023-03-17T10:16:25.506" v="1382" actId="2696"/>
        <pc:sldMkLst>
          <pc:docMk/>
          <pc:sldMk cId="2512655414" sldId="2147199706"/>
        </pc:sldMkLst>
      </pc:sldChg>
      <pc:sldChg chg="modSp add mod ord setBg">
        <pc:chgData name="Schjold, Hanne Røvig" userId="72e82339-bab0-442f-8ca6-e6f386a713ee" providerId="ADAL" clId="{9706D415-2DA0-4D00-90B6-E46BF852F024}" dt="2023-03-28T13:50:53.760" v="2670"/>
        <pc:sldMkLst>
          <pc:docMk/>
          <pc:sldMk cId="281140690" sldId="2147199707"/>
        </pc:sldMkLst>
        <pc:picChg chg="mod">
          <ac:chgData name="Schjold, Hanne Røvig" userId="72e82339-bab0-442f-8ca6-e6f386a713ee" providerId="ADAL" clId="{9706D415-2DA0-4D00-90B6-E46BF852F024}" dt="2023-03-22T09:18:26.729" v="2417" actId="1076"/>
          <ac:picMkLst>
            <pc:docMk/>
            <pc:sldMk cId="281140690" sldId="2147199707"/>
            <ac:picMk id="15" creationId="{D6C7B324-5E4F-774E-2484-3D4C7BA20F5F}"/>
          </ac:picMkLst>
        </pc:picChg>
        <pc:picChg chg="mod">
          <ac:chgData name="Schjold, Hanne Røvig" userId="72e82339-bab0-442f-8ca6-e6f386a713ee" providerId="ADAL" clId="{9706D415-2DA0-4D00-90B6-E46BF852F024}" dt="2023-03-22T09:18:30.746" v="2419" actId="1076"/>
          <ac:picMkLst>
            <pc:docMk/>
            <pc:sldMk cId="281140690" sldId="2147199707"/>
            <ac:picMk id="17" creationId="{B57AA32D-F08F-F922-EF27-29FFCF1D7E23}"/>
          </ac:picMkLst>
        </pc:picChg>
        <pc:picChg chg="mod">
          <ac:chgData name="Schjold, Hanne Røvig" userId="72e82339-bab0-442f-8ca6-e6f386a713ee" providerId="ADAL" clId="{9706D415-2DA0-4D00-90B6-E46BF852F024}" dt="2023-03-22T09:18:12.959" v="2404" actId="1076"/>
          <ac:picMkLst>
            <pc:docMk/>
            <pc:sldMk cId="281140690" sldId="2147199707"/>
            <ac:picMk id="19" creationId="{12C5F873-B6AC-83BF-6C32-FC2985EF758C}"/>
          </ac:picMkLst>
        </pc:picChg>
        <pc:picChg chg="mod">
          <ac:chgData name="Schjold, Hanne Røvig" userId="72e82339-bab0-442f-8ca6-e6f386a713ee" providerId="ADAL" clId="{9706D415-2DA0-4D00-90B6-E46BF852F024}" dt="2023-03-22T09:18:20.806" v="2415" actId="1037"/>
          <ac:picMkLst>
            <pc:docMk/>
            <pc:sldMk cId="281140690" sldId="2147199707"/>
            <ac:picMk id="25" creationId="{350C35FA-3D40-89A0-D9EB-69654A82F4FC}"/>
          </ac:picMkLst>
        </pc:picChg>
      </pc:sldChg>
      <pc:sldChg chg="addSp delSp modSp new mod ord setBg modNotesTx">
        <pc:chgData name="Schjold, Hanne Røvig" userId="72e82339-bab0-442f-8ca6-e6f386a713ee" providerId="ADAL" clId="{9706D415-2DA0-4D00-90B6-E46BF852F024}" dt="2023-03-28T13:41:45.976" v="2632" actId="207"/>
        <pc:sldMkLst>
          <pc:docMk/>
          <pc:sldMk cId="1793173726" sldId="2147199708"/>
        </pc:sldMkLst>
        <pc:spChg chg="mod">
          <ac:chgData name="Schjold, Hanne Røvig" userId="72e82339-bab0-442f-8ca6-e6f386a713ee" providerId="ADAL" clId="{9706D415-2DA0-4D00-90B6-E46BF852F024}" dt="2023-03-16T11:57:45.613" v="496"/>
          <ac:spMkLst>
            <pc:docMk/>
            <pc:sldMk cId="1793173726" sldId="2147199708"/>
            <ac:spMk id="2" creationId="{E506B738-8970-1339-BE95-F4A12D051ED3}"/>
          </ac:spMkLst>
        </pc:spChg>
        <pc:spChg chg="del">
          <ac:chgData name="Schjold, Hanne Røvig" userId="72e82339-bab0-442f-8ca6-e6f386a713ee" providerId="ADAL" clId="{9706D415-2DA0-4D00-90B6-E46BF852F024}" dt="2023-03-16T11:56:56.130" v="491" actId="478"/>
          <ac:spMkLst>
            <pc:docMk/>
            <pc:sldMk cId="1793173726" sldId="2147199708"/>
            <ac:spMk id="3" creationId="{95A5DBBE-6C3B-657A-DD5E-DB6C23EB1424}"/>
          </ac:spMkLst>
        </pc:spChg>
        <pc:spChg chg="add mod">
          <ac:chgData name="Schjold, Hanne Røvig" userId="72e82339-bab0-442f-8ca6-e6f386a713ee" providerId="ADAL" clId="{9706D415-2DA0-4D00-90B6-E46BF852F024}" dt="2023-03-16T12:39:28.487" v="659" actId="14100"/>
          <ac:spMkLst>
            <pc:docMk/>
            <pc:sldMk cId="1793173726" sldId="2147199708"/>
            <ac:spMk id="4" creationId="{BD7B14C8-9CF7-281E-4D9A-2093809DBE78}"/>
          </ac:spMkLst>
        </pc:spChg>
        <pc:spChg chg="add mod">
          <ac:chgData name="Schjold, Hanne Røvig" userId="72e82339-bab0-442f-8ca6-e6f386a713ee" providerId="ADAL" clId="{9706D415-2DA0-4D00-90B6-E46BF852F024}" dt="2023-03-16T12:39:18.430" v="658" actId="122"/>
          <ac:spMkLst>
            <pc:docMk/>
            <pc:sldMk cId="1793173726" sldId="2147199708"/>
            <ac:spMk id="5" creationId="{65F7DB62-41A7-81C7-067A-F67A4EBCD139}"/>
          </ac:spMkLst>
        </pc:spChg>
        <pc:spChg chg="add mod">
          <ac:chgData name="Schjold, Hanne Røvig" userId="72e82339-bab0-442f-8ca6-e6f386a713ee" providerId="ADAL" clId="{9706D415-2DA0-4D00-90B6-E46BF852F024}" dt="2023-03-16T12:01:32.321" v="560" actId="1035"/>
          <ac:spMkLst>
            <pc:docMk/>
            <pc:sldMk cId="1793173726" sldId="2147199708"/>
            <ac:spMk id="6" creationId="{CA8A4933-24BB-06DD-45D8-BB412310BF75}"/>
          </ac:spMkLst>
        </pc:spChg>
        <pc:spChg chg="add mod">
          <ac:chgData name="Schjold, Hanne Røvig" userId="72e82339-bab0-442f-8ca6-e6f386a713ee" providerId="ADAL" clId="{9706D415-2DA0-4D00-90B6-E46BF852F024}" dt="2023-03-16T12:38:06.939" v="633" actId="1076"/>
          <ac:spMkLst>
            <pc:docMk/>
            <pc:sldMk cId="1793173726" sldId="2147199708"/>
            <ac:spMk id="7" creationId="{E8EB661B-B4EF-3952-DCF6-D61C668051BE}"/>
          </ac:spMkLst>
        </pc:spChg>
        <pc:spChg chg="add mod">
          <ac:chgData name="Schjold, Hanne Røvig" userId="72e82339-bab0-442f-8ca6-e6f386a713ee" providerId="ADAL" clId="{9706D415-2DA0-4D00-90B6-E46BF852F024}" dt="2023-03-22T11:13:02.430" v="2563" actId="1076"/>
          <ac:spMkLst>
            <pc:docMk/>
            <pc:sldMk cId="1793173726" sldId="2147199708"/>
            <ac:spMk id="8" creationId="{C2145434-2894-79D4-9549-223EB1636BB4}"/>
          </ac:spMkLst>
        </pc:spChg>
        <pc:picChg chg="add mod">
          <ac:chgData name="Schjold, Hanne Røvig" userId="72e82339-bab0-442f-8ca6-e6f386a713ee" providerId="ADAL" clId="{9706D415-2DA0-4D00-90B6-E46BF852F024}" dt="2023-03-22T11:12:58.282" v="2562" actId="1076"/>
          <ac:picMkLst>
            <pc:docMk/>
            <pc:sldMk cId="1793173726" sldId="2147199708"/>
            <ac:picMk id="9" creationId="{0B431953-7AE5-85A9-62AC-F042CE1A0BC6}"/>
          </ac:picMkLst>
        </pc:picChg>
        <pc:picChg chg="add del mod">
          <ac:chgData name="Schjold, Hanne Røvig" userId="72e82339-bab0-442f-8ca6-e6f386a713ee" providerId="ADAL" clId="{9706D415-2DA0-4D00-90B6-E46BF852F024}" dt="2023-03-16T12:35:21.534" v="617" actId="478"/>
          <ac:picMkLst>
            <pc:docMk/>
            <pc:sldMk cId="1793173726" sldId="2147199708"/>
            <ac:picMk id="10" creationId="{54A267A0-3E59-5A7A-159E-17BAE9EF5413}"/>
          </ac:picMkLst>
        </pc:picChg>
        <pc:picChg chg="add mod">
          <ac:chgData name="Schjold, Hanne Røvig" userId="72e82339-bab0-442f-8ca6-e6f386a713ee" providerId="ADAL" clId="{9706D415-2DA0-4D00-90B6-E46BF852F024}" dt="2023-03-16T12:06:04.522" v="597" actId="1076"/>
          <ac:picMkLst>
            <pc:docMk/>
            <pc:sldMk cId="1793173726" sldId="2147199708"/>
            <ac:picMk id="12" creationId="{C79ECADA-15AA-002C-EFED-1FB91229B135}"/>
          </ac:picMkLst>
        </pc:picChg>
        <pc:picChg chg="add del mod ord">
          <ac:chgData name="Schjold, Hanne Røvig" userId="72e82339-bab0-442f-8ca6-e6f386a713ee" providerId="ADAL" clId="{9706D415-2DA0-4D00-90B6-E46BF852F024}" dt="2023-03-16T12:36:47.700" v="624" actId="478"/>
          <ac:picMkLst>
            <pc:docMk/>
            <pc:sldMk cId="1793173726" sldId="2147199708"/>
            <ac:picMk id="14" creationId="{41E5242A-D487-05A2-BD26-5E3C0ADA7FF6}"/>
          </ac:picMkLst>
        </pc:picChg>
        <pc:picChg chg="add mod">
          <ac:chgData name="Schjold, Hanne Røvig" userId="72e82339-bab0-442f-8ca6-e6f386a713ee" providerId="ADAL" clId="{9706D415-2DA0-4D00-90B6-E46BF852F024}" dt="2023-03-28T13:41:45.976" v="2632" actId="207"/>
          <ac:picMkLst>
            <pc:docMk/>
            <pc:sldMk cId="1793173726" sldId="2147199708"/>
            <ac:picMk id="16" creationId="{826D086F-054C-B76A-4485-5C821C1E5BFD}"/>
          </ac:picMkLst>
        </pc:picChg>
        <pc:picChg chg="add mod">
          <ac:chgData name="Schjold, Hanne Røvig" userId="72e82339-bab0-442f-8ca6-e6f386a713ee" providerId="ADAL" clId="{9706D415-2DA0-4D00-90B6-E46BF852F024}" dt="2023-03-16T12:09:43.170" v="616" actId="1076"/>
          <ac:picMkLst>
            <pc:docMk/>
            <pc:sldMk cId="1793173726" sldId="2147199708"/>
            <ac:picMk id="18" creationId="{3F81625D-6D54-29A7-F1F6-0D07AEEAF68C}"/>
          </ac:picMkLst>
        </pc:picChg>
        <pc:picChg chg="add mod">
          <ac:chgData name="Schjold, Hanne Røvig" userId="72e82339-bab0-442f-8ca6-e6f386a713ee" providerId="ADAL" clId="{9706D415-2DA0-4D00-90B6-E46BF852F024}" dt="2023-03-16T12:37:08.887" v="630" actId="14100"/>
          <ac:picMkLst>
            <pc:docMk/>
            <pc:sldMk cId="1793173726" sldId="2147199708"/>
            <ac:picMk id="20" creationId="{32BD376D-A132-EDA6-33CC-888D48BF2DD6}"/>
          </ac:picMkLst>
        </pc:picChg>
        <pc:picChg chg="add mod">
          <ac:chgData name="Schjold, Hanne Røvig" userId="72e82339-bab0-442f-8ca6-e6f386a713ee" providerId="ADAL" clId="{9706D415-2DA0-4D00-90B6-E46BF852F024}" dt="2023-03-16T12:37:01.677" v="629" actId="1076"/>
          <ac:picMkLst>
            <pc:docMk/>
            <pc:sldMk cId="1793173726" sldId="2147199708"/>
            <ac:picMk id="22" creationId="{BEEDBBB2-66F4-0BF0-0F96-77E9B679B810}"/>
          </ac:picMkLst>
        </pc:picChg>
      </pc:sldChg>
      <pc:sldChg chg="addSp delSp modSp new mod ord setBg delAnim modAnim modNotesTx">
        <pc:chgData name="Schjold, Hanne Røvig" userId="72e82339-bab0-442f-8ca6-e6f386a713ee" providerId="ADAL" clId="{9706D415-2DA0-4D00-90B6-E46BF852F024}" dt="2023-03-17T10:10:22.546" v="1324"/>
        <pc:sldMkLst>
          <pc:docMk/>
          <pc:sldMk cId="2726177147" sldId="2147199709"/>
        </pc:sldMkLst>
        <pc:spChg chg="mod">
          <ac:chgData name="Schjold, Hanne Røvig" userId="72e82339-bab0-442f-8ca6-e6f386a713ee" providerId="ADAL" clId="{9706D415-2DA0-4D00-90B6-E46BF852F024}" dt="2023-03-16T13:01:09.730" v="910" actId="6549"/>
          <ac:spMkLst>
            <pc:docMk/>
            <pc:sldMk cId="2726177147" sldId="2147199709"/>
            <ac:spMk id="2" creationId="{9B83DDFE-649E-ECBB-7C9F-05AE95AC5572}"/>
          </ac:spMkLst>
        </pc:spChg>
        <pc:spChg chg="add mod">
          <ac:chgData name="Schjold, Hanne Røvig" userId="72e82339-bab0-442f-8ca6-e6f386a713ee" providerId="ADAL" clId="{9706D415-2DA0-4D00-90B6-E46BF852F024}" dt="2023-03-16T13:12:05.384" v="1130" actId="14100"/>
          <ac:spMkLst>
            <pc:docMk/>
            <pc:sldMk cId="2726177147" sldId="2147199709"/>
            <ac:spMk id="4" creationId="{31B28EF2-27DF-FD6E-A56E-C79FFA7A0237}"/>
          </ac:spMkLst>
        </pc:spChg>
        <pc:spChg chg="add del mod">
          <ac:chgData name="Schjold, Hanne Røvig" userId="72e82339-bab0-442f-8ca6-e6f386a713ee" providerId="ADAL" clId="{9706D415-2DA0-4D00-90B6-E46BF852F024}" dt="2023-03-16T13:02:57.214" v="979" actId="478"/>
          <ac:spMkLst>
            <pc:docMk/>
            <pc:sldMk cId="2726177147" sldId="2147199709"/>
            <ac:spMk id="5" creationId="{26C69F83-77C1-DFE9-B706-029D779A4F7E}"/>
          </ac:spMkLst>
        </pc:spChg>
        <pc:spChg chg="add del mod">
          <ac:chgData name="Schjold, Hanne Røvig" userId="72e82339-bab0-442f-8ca6-e6f386a713ee" providerId="ADAL" clId="{9706D415-2DA0-4D00-90B6-E46BF852F024}" dt="2023-03-16T13:03:19.993" v="999" actId="478"/>
          <ac:spMkLst>
            <pc:docMk/>
            <pc:sldMk cId="2726177147" sldId="2147199709"/>
            <ac:spMk id="6" creationId="{5516687E-4B2E-8A26-9377-ACE3EFB27304}"/>
          </ac:spMkLst>
        </pc:spChg>
        <pc:spChg chg="add del mod">
          <ac:chgData name="Schjold, Hanne Røvig" userId="72e82339-bab0-442f-8ca6-e6f386a713ee" providerId="ADAL" clId="{9706D415-2DA0-4D00-90B6-E46BF852F024}" dt="2023-03-16T13:03:35.156" v="1024" actId="478"/>
          <ac:spMkLst>
            <pc:docMk/>
            <pc:sldMk cId="2726177147" sldId="2147199709"/>
            <ac:spMk id="7" creationId="{19B68629-EF4B-ACA3-2833-0D7B12AF05A4}"/>
          </ac:spMkLst>
        </pc:spChg>
        <pc:spChg chg="add del mod">
          <ac:chgData name="Schjold, Hanne Røvig" userId="72e82339-bab0-442f-8ca6-e6f386a713ee" providerId="ADAL" clId="{9706D415-2DA0-4D00-90B6-E46BF852F024}" dt="2023-03-16T13:04:15.190" v="1087" actId="478"/>
          <ac:spMkLst>
            <pc:docMk/>
            <pc:sldMk cId="2726177147" sldId="2147199709"/>
            <ac:spMk id="8" creationId="{E836C8C3-8868-695E-13CC-57BBA3A8A424}"/>
          </ac:spMkLst>
        </pc:spChg>
        <pc:spChg chg="add del mod">
          <ac:chgData name="Schjold, Hanne Røvig" userId="72e82339-bab0-442f-8ca6-e6f386a713ee" providerId="ADAL" clId="{9706D415-2DA0-4D00-90B6-E46BF852F024}" dt="2023-03-16T13:04:13.021" v="1086" actId="478"/>
          <ac:spMkLst>
            <pc:docMk/>
            <pc:sldMk cId="2726177147" sldId="2147199709"/>
            <ac:spMk id="9" creationId="{57AA2D03-9AC3-70CC-2BC7-C2952613014A}"/>
          </ac:spMkLst>
        </pc:spChg>
        <pc:spChg chg="add del mod">
          <ac:chgData name="Schjold, Hanne Røvig" userId="72e82339-bab0-442f-8ca6-e6f386a713ee" providerId="ADAL" clId="{9706D415-2DA0-4D00-90B6-E46BF852F024}" dt="2023-03-16T13:03:46.214" v="1035" actId="478"/>
          <ac:spMkLst>
            <pc:docMk/>
            <pc:sldMk cId="2726177147" sldId="2147199709"/>
            <ac:spMk id="10" creationId="{040B195F-F502-9D26-FC24-8193FD0E125D}"/>
          </ac:spMkLst>
        </pc:spChg>
        <pc:spChg chg="add del mod">
          <ac:chgData name="Schjold, Hanne Røvig" userId="72e82339-bab0-442f-8ca6-e6f386a713ee" providerId="ADAL" clId="{9706D415-2DA0-4D00-90B6-E46BF852F024}" dt="2023-03-16T13:02:45.762" v="965" actId="478"/>
          <ac:spMkLst>
            <pc:docMk/>
            <pc:sldMk cId="2726177147" sldId="2147199709"/>
            <ac:spMk id="11" creationId="{5EEA7C10-E6E7-8917-B880-EA6C97A1707C}"/>
          </ac:spMkLst>
        </pc:spChg>
        <pc:spChg chg="add del mod">
          <ac:chgData name="Schjold, Hanne Røvig" userId="72e82339-bab0-442f-8ca6-e6f386a713ee" providerId="ADAL" clId="{9706D415-2DA0-4D00-90B6-E46BF852F024}" dt="2023-03-16T13:02:34.425" v="954" actId="478"/>
          <ac:spMkLst>
            <pc:docMk/>
            <pc:sldMk cId="2726177147" sldId="2147199709"/>
            <ac:spMk id="12" creationId="{E002F552-88C5-1F2A-F408-5EEAB11E22F8}"/>
          </ac:spMkLst>
        </pc:spChg>
        <pc:spChg chg="add del mod">
          <ac:chgData name="Schjold, Hanne Røvig" userId="72e82339-bab0-442f-8ca6-e6f386a713ee" providerId="ADAL" clId="{9706D415-2DA0-4D00-90B6-E46BF852F024}" dt="2023-03-16T13:02:35.995" v="955" actId="478"/>
          <ac:spMkLst>
            <pc:docMk/>
            <pc:sldMk cId="2726177147" sldId="2147199709"/>
            <ac:spMk id="13" creationId="{080138B5-D5C7-0EDD-EDA7-78D5899D3A91}"/>
          </ac:spMkLst>
        </pc:spChg>
        <pc:spChg chg="add del mod">
          <ac:chgData name="Schjold, Hanne Røvig" userId="72e82339-bab0-442f-8ca6-e6f386a713ee" providerId="ADAL" clId="{9706D415-2DA0-4D00-90B6-E46BF852F024}" dt="2023-03-16T13:03:09.254" v="986" actId="478"/>
          <ac:spMkLst>
            <pc:docMk/>
            <pc:sldMk cId="2726177147" sldId="2147199709"/>
            <ac:spMk id="14" creationId="{FF318A0E-C234-F349-8707-1EEF80F3C688}"/>
          </ac:spMkLst>
        </pc:spChg>
        <pc:spChg chg="add del mod">
          <ac:chgData name="Schjold, Hanne Røvig" userId="72e82339-bab0-442f-8ca6-e6f386a713ee" providerId="ADAL" clId="{9706D415-2DA0-4D00-90B6-E46BF852F024}" dt="2023-03-16T13:02:15.479" v="927" actId="478"/>
          <ac:spMkLst>
            <pc:docMk/>
            <pc:sldMk cId="2726177147" sldId="2147199709"/>
            <ac:spMk id="15" creationId="{547EF0C7-FBF9-96D7-281F-18326AF0CF9C}"/>
          </ac:spMkLst>
        </pc:spChg>
        <pc:graphicFrameChg chg="add mod modGraphic">
          <ac:chgData name="Schjold, Hanne Røvig" userId="72e82339-bab0-442f-8ca6-e6f386a713ee" providerId="ADAL" clId="{9706D415-2DA0-4D00-90B6-E46BF852F024}" dt="2023-03-16T13:12:38.387" v="1131" actId="2711"/>
          <ac:graphicFrameMkLst>
            <pc:docMk/>
            <pc:sldMk cId="2726177147" sldId="2147199709"/>
            <ac:graphicFrameMk id="3" creationId="{E1640A42-0E56-52ED-FE3A-AE4A6A8B8FFD}"/>
          </ac:graphicFrameMkLst>
        </pc:graphicFrameChg>
        <pc:picChg chg="add mod">
          <ac:chgData name="Schjold, Hanne Røvig" userId="72e82339-bab0-442f-8ca6-e6f386a713ee" providerId="ADAL" clId="{9706D415-2DA0-4D00-90B6-E46BF852F024}" dt="2023-03-16T13:11:49.937" v="1117" actId="14100"/>
          <ac:picMkLst>
            <pc:docMk/>
            <pc:sldMk cId="2726177147" sldId="2147199709"/>
            <ac:picMk id="16" creationId="{9DFE4010-C24A-3B37-86EF-93B4CCF45823}"/>
          </ac:picMkLst>
        </pc:picChg>
      </pc:sldChg>
      <pc:sldChg chg="addSp modSp add mod">
        <pc:chgData name="Schjold, Hanne Røvig" userId="72e82339-bab0-442f-8ca6-e6f386a713ee" providerId="ADAL" clId="{9706D415-2DA0-4D00-90B6-E46BF852F024}" dt="2023-03-22T10:59:40.052" v="2509" actId="207"/>
        <pc:sldMkLst>
          <pc:docMk/>
          <pc:sldMk cId="148059855" sldId="2147199710"/>
        </pc:sldMkLst>
        <pc:spChg chg="mod">
          <ac:chgData name="Schjold, Hanne Røvig" userId="72e82339-bab0-442f-8ca6-e6f386a713ee" providerId="ADAL" clId="{9706D415-2DA0-4D00-90B6-E46BF852F024}" dt="2023-03-22T10:58:02.617" v="2465" actId="14100"/>
          <ac:spMkLst>
            <pc:docMk/>
            <pc:sldMk cId="148059855" sldId="2147199710"/>
            <ac:spMk id="2" creationId="{F0434D61-A687-44E3-0765-82576E2F66E1}"/>
          </ac:spMkLst>
        </pc:spChg>
        <pc:spChg chg="mod">
          <ac:chgData name="Schjold, Hanne Røvig" userId="72e82339-bab0-442f-8ca6-e6f386a713ee" providerId="ADAL" clId="{9706D415-2DA0-4D00-90B6-E46BF852F024}" dt="2023-03-22T10:57:56.467" v="2463" actId="1076"/>
          <ac:spMkLst>
            <pc:docMk/>
            <pc:sldMk cId="148059855" sldId="2147199710"/>
            <ac:spMk id="3" creationId="{42605C73-3AA6-3208-8D60-FAB8438F0665}"/>
          </ac:spMkLst>
        </pc:spChg>
        <pc:spChg chg="mod">
          <ac:chgData name="Schjold, Hanne Røvig" userId="72e82339-bab0-442f-8ca6-e6f386a713ee" providerId="ADAL" clId="{9706D415-2DA0-4D00-90B6-E46BF852F024}" dt="2023-03-22T10:57:48.134" v="2461" actId="1076"/>
          <ac:spMkLst>
            <pc:docMk/>
            <pc:sldMk cId="148059855" sldId="2147199710"/>
            <ac:spMk id="4" creationId="{D7214331-7536-86E4-1B21-C9195C52727B}"/>
          </ac:spMkLst>
        </pc:spChg>
        <pc:spChg chg="mod">
          <ac:chgData name="Schjold, Hanne Røvig" userId="72e82339-bab0-442f-8ca6-e6f386a713ee" providerId="ADAL" clId="{9706D415-2DA0-4D00-90B6-E46BF852F024}" dt="2023-03-22T10:59:40.052" v="2509" actId="207"/>
          <ac:spMkLst>
            <pc:docMk/>
            <pc:sldMk cId="148059855" sldId="2147199710"/>
            <ac:spMk id="5" creationId="{ADA497E4-437A-4B00-4CA4-18D7323CFF38}"/>
          </ac:spMkLst>
        </pc:spChg>
        <pc:spChg chg="mod">
          <ac:chgData name="Schjold, Hanne Røvig" userId="72e82339-bab0-442f-8ca6-e6f386a713ee" providerId="ADAL" clId="{9706D415-2DA0-4D00-90B6-E46BF852F024}" dt="2023-03-22T10:58:17.286" v="2467" actId="1076"/>
          <ac:spMkLst>
            <pc:docMk/>
            <pc:sldMk cId="148059855" sldId="2147199710"/>
            <ac:spMk id="7" creationId="{77B5EF0E-0038-36AA-32F0-59EC62FF1640}"/>
          </ac:spMkLst>
        </pc:spChg>
        <pc:spChg chg="add mod ord">
          <ac:chgData name="Schjold, Hanne Røvig" userId="72e82339-bab0-442f-8ca6-e6f386a713ee" providerId="ADAL" clId="{9706D415-2DA0-4D00-90B6-E46BF852F024}" dt="2023-03-22T10:57:34.187" v="2458" actId="167"/>
          <ac:spMkLst>
            <pc:docMk/>
            <pc:sldMk cId="148059855" sldId="2147199710"/>
            <ac:spMk id="8" creationId="{50B25810-5EFC-E05B-7901-8E7A4ED9891C}"/>
          </ac:spMkLst>
        </pc:spChg>
        <pc:spChg chg="mod">
          <ac:chgData name="Schjold, Hanne Røvig" userId="72e82339-bab0-442f-8ca6-e6f386a713ee" providerId="ADAL" clId="{9706D415-2DA0-4D00-90B6-E46BF852F024}" dt="2023-03-22T10:59:31.589" v="2508" actId="108"/>
          <ac:spMkLst>
            <pc:docMk/>
            <pc:sldMk cId="148059855" sldId="2147199710"/>
            <ac:spMk id="9" creationId="{985A973B-AF30-8374-40C0-52F516DFFB9A}"/>
          </ac:spMkLst>
        </pc:spChg>
        <pc:graphicFrameChg chg="mod">
          <ac:chgData name="Schjold, Hanne Røvig" userId="72e82339-bab0-442f-8ca6-e6f386a713ee" providerId="ADAL" clId="{9706D415-2DA0-4D00-90B6-E46BF852F024}" dt="2023-03-22T10:57:51.083" v="2462" actId="1076"/>
          <ac:graphicFrameMkLst>
            <pc:docMk/>
            <pc:sldMk cId="148059855" sldId="2147199710"/>
            <ac:graphicFrameMk id="11" creationId="{2A6E5D02-B7A7-4F1C-ACEE-845E7C8E051E}"/>
          </ac:graphicFrameMkLst>
        </pc:graphicFrameChg>
        <pc:picChg chg="mod">
          <ac:chgData name="Schjold, Hanne Røvig" userId="72e82339-bab0-442f-8ca6-e6f386a713ee" providerId="ADAL" clId="{9706D415-2DA0-4D00-90B6-E46BF852F024}" dt="2023-03-22T10:58:12.978" v="2466" actId="1076"/>
          <ac:picMkLst>
            <pc:docMk/>
            <pc:sldMk cId="148059855" sldId="2147199710"/>
            <ac:picMk id="6" creationId="{B8584628-7297-E409-2403-DA515E5B33E4}"/>
          </ac:picMkLst>
        </pc:picChg>
      </pc:sldChg>
      <pc:sldChg chg="add del">
        <pc:chgData name="Schjold, Hanne Røvig" userId="72e82339-bab0-442f-8ca6-e6f386a713ee" providerId="ADAL" clId="{9706D415-2DA0-4D00-90B6-E46BF852F024}" dt="2023-03-17T10:19:00.455" v="1411" actId="47"/>
        <pc:sldMkLst>
          <pc:docMk/>
          <pc:sldMk cId="794423024" sldId="2147199711"/>
        </pc:sldMkLst>
      </pc:sldChg>
      <pc:sldChg chg="addSp delSp modSp mod modNotesTx">
        <pc:chgData name="Schjold, Hanne Røvig" userId="72e82339-bab0-442f-8ca6-e6f386a713ee" providerId="ADAL" clId="{9706D415-2DA0-4D00-90B6-E46BF852F024}" dt="2023-03-17T11:46:06.284" v="1839" actId="1037"/>
        <pc:sldMkLst>
          <pc:docMk/>
          <pc:sldMk cId="4015035725" sldId="2147199711"/>
        </pc:sldMkLst>
        <pc:spChg chg="mod">
          <ac:chgData name="Schjold, Hanne Røvig" userId="72e82339-bab0-442f-8ca6-e6f386a713ee" providerId="ADAL" clId="{9706D415-2DA0-4D00-90B6-E46BF852F024}" dt="2023-03-17T10:34:29.817" v="1501" actId="404"/>
          <ac:spMkLst>
            <pc:docMk/>
            <pc:sldMk cId="4015035725" sldId="2147199711"/>
            <ac:spMk id="2" creationId="{C635046B-ED6B-6CD7-4137-0E3D1F4F0F6F}"/>
          </ac:spMkLst>
        </pc:spChg>
        <pc:spChg chg="mod">
          <ac:chgData name="Schjold, Hanne Røvig" userId="72e82339-bab0-442f-8ca6-e6f386a713ee" providerId="ADAL" clId="{9706D415-2DA0-4D00-90B6-E46BF852F024}" dt="2023-03-17T11:46:06.284" v="1839" actId="1037"/>
          <ac:spMkLst>
            <pc:docMk/>
            <pc:sldMk cId="4015035725" sldId="2147199711"/>
            <ac:spMk id="3" creationId="{D77E0DB2-8F9B-0963-F4DA-5689FFC98EE4}"/>
          </ac:spMkLst>
        </pc:spChg>
        <pc:spChg chg="del">
          <ac:chgData name="Schjold, Hanne Røvig" userId="72e82339-bab0-442f-8ca6-e6f386a713ee" providerId="ADAL" clId="{9706D415-2DA0-4D00-90B6-E46BF852F024}" dt="2023-03-17T10:36:53.660" v="1539" actId="478"/>
          <ac:spMkLst>
            <pc:docMk/>
            <pc:sldMk cId="4015035725" sldId="2147199711"/>
            <ac:spMk id="4" creationId="{8D0BBD2E-251A-33DC-AA04-895EA1D862B8}"/>
          </ac:spMkLst>
        </pc:spChg>
        <pc:spChg chg="del">
          <ac:chgData name="Schjold, Hanne Røvig" userId="72e82339-bab0-442f-8ca6-e6f386a713ee" providerId="ADAL" clId="{9706D415-2DA0-4D00-90B6-E46BF852F024}" dt="2023-03-17T10:34:55.875" v="1503" actId="478"/>
          <ac:spMkLst>
            <pc:docMk/>
            <pc:sldMk cId="4015035725" sldId="2147199711"/>
            <ac:spMk id="5" creationId="{1545C292-0488-F521-8705-F73193C54E93}"/>
          </ac:spMkLst>
        </pc:spChg>
        <pc:spChg chg="add mod">
          <ac:chgData name="Schjold, Hanne Røvig" userId="72e82339-bab0-442f-8ca6-e6f386a713ee" providerId="ADAL" clId="{9706D415-2DA0-4D00-90B6-E46BF852F024}" dt="2023-03-17T10:37:43.170" v="1550" actId="1076"/>
          <ac:spMkLst>
            <pc:docMk/>
            <pc:sldMk cId="4015035725" sldId="2147199711"/>
            <ac:spMk id="7" creationId="{2E58EDB8-6A30-DFF4-733B-13DE6425401B}"/>
          </ac:spMkLst>
        </pc:spChg>
        <pc:spChg chg="add mod">
          <ac:chgData name="Schjold, Hanne Røvig" userId="72e82339-bab0-442f-8ca6-e6f386a713ee" providerId="ADAL" clId="{9706D415-2DA0-4D00-90B6-E46BF852F024}" dt="2023-03-17T10:36:14.553" v="1530" actId="20577"/>
          <ac:spMkLst>
            <pc:docMk/>
            <pc:sldMk cId="4015035725" sldId="2147199711"/>
            <ac:spMk id="11" creationId="{B4E42DF5-4FFC-B222-FF0C-A27A915B68C9}"/>
          </ac:spMkLst>
        </pc:spChg>
        <pc:spChg chg="add mod">
          <ac:chgData name="Schjold, Hanne Røvig" userId="72e82339-bab0-442f-8ca6-e6f386a713ee" providerId="ADAL" clId="{9706D415-2DA0-4D00-90B6-E46BF852F024}" dt="2023-03-17T11:45:58.668" v="1834" actId="1076"/>
          <ac:spMkLst>
            <pc:docMk/>
            <pc:sldMk cId="4015035725" sldId="2147199711"/>
            <ac:spMk id="12" creationId="{ECEC2220-283E-7D4B-E8FD-EE6331F7B150}"/>
          </ac:spMkLst>
        </pc:spChg>
        <pc:spChg chg="add mod ord">
          <ac:chgData name="Schjold, Hanne Røvig" userId="72e82339-bab0-442f-8ca6-e6f386a713ee" providerId="ADAL" clId="{9706D415-2DA0-4D00-90B6-E46BF852F024}" dt="2023-03-17T10:44:42.392" v="1649" actId="14100"/>
          <ac:spMkLst>
            <pc:docMk/>
            <pc:sldMk cId="4015035725" sldId="2147199711"/>
            <ac:spMk id="14" creationId="{788BD7DD-9DD6-6F87-A171-6581DD75A4E4}"/>
          </ac:spMkLst>
        </pc:spChg>
        <pc:spChg chg="add mod ord">
          <ac:chgData name="Schjold, Hanne Røvig" userId="72e82339-bab0-442f-8ca6-e6f386a713ee" providerId="ADAL" clId="{9706D415-2DA0-4D00-90B6-E46BF852F024}" dt="2023-03-17T10:43:38.774" v="1639" actId="20577"/>
          <ac:spMkLst>
            <pc:docMk/>
            <pc:sldMk cId="4015035725" sldId="2147199711"/>
            <ac:spMk id="16" creationId="{7746E606-D3B4-D381-56D0-CEB9E949D394}"/>
          </ac:spMkLst>
        </pc:spChg>
        <pc:spChg chg="add mod">
          <ac:chgData name="Schjold, Hanne Røvig" userId="72e82339-bab0-442f-8ca6-e6f386a713ee" providerId="ADAL" clId="{9706D415-2DA0-4D00-90B6-E46BF852F024}" dt="2023-03-17T10:41:18.810" v="1585" actId="14100"/>
          <ac:spMkLst>
            <pc:docMk/>
            <pc:sldMk cId="4015035725" sldId="2147199711"/>
            <ac:spMk id="17" creationId="{05FFABD0-AFEB-DD94-E31E-0955B6400464}"/>
          </ac:spMkLst>
        </pc:spChg>
        <pc:picChg chg="del mod">
          <ac:chgData name="Schjold, Hanne Røvig" userId="72e82339-bab0-442f-8ca6-e6f386a713ee" providerId="ADAL" clId="{9706D415-2DA0-4D00-90B6-E46BF852F024}" dt="2023-03-17T10:43:51.720" v="1643" actId="478"/>
          <ac:picMkLst>
            <pc:docMk/>
            <pc:sldMk cId="4015035725" sldId="2147199711"/>
            <ac:picMk id="6" creationId="{591DD79B-C580-87F1-D60E-52C553A0CF89}"/>
          </ac:picMkLst>
        </pc:picChg>
        <pc:picChg chg="add del mod">
          <ac:chgData name="Schjold, Hanne Røvig" userId="72e82339-bab0-442f-8ca6-e6f386a713ee" providerId="ADAL" clId="{9706D415-2DA0-4D00-90B6-E46BF852F024}" dt="2023-03-17T10:43:55.531" v="1645" actId="478"/>
          <ac:picMkLst>
            <pc:docMk/>
            <pc:sldMk cId="4015035725" sldId="2147199711"/>
            <ac:picMk id="8" creationId="{557E50F2-DF51-03A4-E7AA-2FC7392A2E6B}"/>
          </ac:picMkLst>
        </pc:picChg>
        <pc:picChg chg="del mod">
          <ac:chgData name="Schjold, Hanne Røvig" userId="72e82339-bab0-442f-8ca6-e6f386a713ee" providerId="ADAL" clId="{9706D415-2DA0-4D00-90B6-E46BF852F024}" dt="2023-03-17T10:43:52.763" v="1644" actId="478"/>
          <ac:picMkLst>
            <pc:docMk/>
            <pc:sldMk cId="4015035725" sldId="2147199711"/>
            <ac:picMk id="9" creationId="{33D3F1B4-CA58-A95C-8062-90002423F6E8}"/>
          </ac:picMkLst>
        </pc:picChg>
        <pc:picChg chg="del">
          <ac:chgData name="Schjold, Hanne Røvig" userId="72e82339-bab0-442f-8ca6-e6f386a713ee" providerId="ADAL" clId="{9706D415-2DA0-4D00-90B6-E46BF852F024}" dt="2023-03-17T10:34:54.306" v="1502" actId="478"/>
          <ac:picMkLst>
            <pc:docMk/>
            <pc:sldMk cId="4015035725" sldId="2147199711"/>
            <ac:picMk id="10" creationId="{B11F5844-0B20-041D-3041-FA9D24D4EB5F}"/>
          </ac:picMkLst>
        </pc:picChg>
        <pc:picChg chg="add mod">
          <ac:chgData name="Schjold, Hanne Røvig" userId="72e82339-bab0-442f-8ca6-e6f386a713ee" providerId="ADAL" clId="{9706D415-2DA0-4D00-90B6-E46BF852F024}" dt="2023-03-17T10:43:44.016" v="1640" actId="1076"/>
          <ac:picMkLst>
            <pc:docMk/>
            <pc:sldMk cId="4015035725" sldId="2147199711"/>
            <ac:picMk id="18" creationId="{B1C34761-A967-4D59-84BA-506D30A47062}"/>
          </ac:picMkLst>
        </pc:picChg>
        <pc:picChg chg="add mod">
          <ac:chgData name="Schjold, Hanne Røvig" userId="72e82339-bab0-442f-8ca6-e6f386a713ee" providerId="ADAL" clId="{9706D415-2DA0-4D00-90B6-E46BF852F024}" dt="2023-03-17T10:44:51.904" v="1651" actId="1076"/>
          <ac:picMkLst>
            <pc:docMk/>
            <pc:sldMk cId="4015035725" sldId="2147199711"/>
            <ac:picMk id="19" creationId="{4DD2485F-3C89-1E1B-D2EB-39B728E89F3B}"/>
          </ac:picMkLst>
        </pc:picChg>
      </pc:sldChg>
      <pc:sldChg chg="addSp delSp modSp new mod modAnim modNotesTx">
        <pc:chgData name="Schjold, Hanne Røvig" userId="72e82339-bab0-442f-8ca6-e6f386a713ee" providerId="ADAL" clId="{9706D415-2DA0-4D00-90B6-E46BF852F024}" dt="2023-03-22T09:20:04.856" v="2444" actId="1035"/>
        <pc:sldMkLst>
          <pc:docMk/>
          <pc:sldMk cId="2218608795" sldId="2147199712"/>
        </pc:sldMkLst>
        <pc:spChg chg="mod">
          <ac:chgData name="Schjold, Hanne Røvig" userId="72e82339-bab0-442f-8ca6-e6f386a713ee" providerId="ADAL" clId="{9706D415-2DA0-4D00-90B6-E46BF852F024}" dt="2023-03-22T09:19:44.400" v="2428" actId="1035"/>
          <ac:spMkLst>
            <pc:docMk/>
            <pc:sldMk cId="2218608795" sldId="2147199712"/>
            <ac:spMk id="5" creationId="{DCEF4EA1-FBB2-D222-A90C-D12ED0D440BA}"/>
          </ac:spMkLst>
        </pc:spChg>
        <pc:spChg chg="mod">
          <ac:chgData name="Schjold, Hanne Røvig" userId="72e82339-bab0-442f-8ca6-e6f386a713ee" providerId="ADAL" clId="{9706D415-2DA0-4D00-90B6-E46BF852F024}" dt="2023-03-17T12:01:05.760" v="1972" actId="14826"/>
          <ac:spMkLst>
            <pc:docMk/>
            <pc:sldMk cId="2218608795" sldId="2147199712"/>
            <ac:spMk id="6" creationId="{53C8F3CC-AB5C-502D-5B24-A33E086BBFDB}"/>
          </ac:spMkLst>
        </pc:spChg>
        <pc:spChg chg="mod">
          <ac:chgData name="Schjold, Hanne Røvig" userId="72e82339-bab0-442f-8ca6-e6f386a713ee" providerId="ADAL" clId="{9706D415-2DA0-4D00-90B6-E46BF852F024}" dt="2023-03-22T09:20:04.856" v="2444" actId="1035"/>
          <ac:spMkLst>
            <pc:docMk/>
            <pc:sldMk cId="2218608795" sldId="2147199712"/>
            <ac:spMk id="12" creationId="{91F84C3A-0125-0C3D-DF26-ECAE6B8899E6}"/>
          </ac:spMkLst>
        </pc:spChg>
        <pc:spChg chg="mod">
          <ac:chgData name="Schjold, Hanne Røvig" userId="72e82339-bab0-442f-8ca6-e6f386a713ee" providerId="ADAL" clId="{9706D415-2DA0-4D00-90B6-E46BF852F024}" dt="2023-03-17T10:57:36.022" v="1811" actId="692"/>
          <ac:spMkLst>
            <pc:docMk/>
            <pc:sldMk cId="2218608795" sldId="2147199712"/>
            <ac:spMk id="13" creationId="{19E8149F-9F75-F718-7BC3-1931C568E203}"/>
          </ac:spMkLst>
        </pc:spChg>
        <pc:spChg chg="add mod">
          <ac:chgData name="Schjold, Hanne Røvig" userId="72e82339-bab0-442f-8ca6-e6f386a713ee" providerId="ADAL" clId="{9706D415-2DA0-4D00-90B6-E46BF852F024}" dt="2023-03-17T12:00:36.894" v="1971" actId="207"/>
          <ac:spMkLst>
            <pc:docMk/>
            <pc:sldMk cId="2218608795" sldId="2147199712"/>
            <ac:spMk id="14" creationId="{0D7A2CA0-A9F5-1685-10A7-ACED53BA0CFF}"/>
          </ac:spMkLst>
        </pc:spChg>
        <pc:spChg chg="mod">
          <ac:chgData name="Schjold, Hanne Røvig" userId="72e82339-bab0-442f-8ca6-e6f386a713ee" providerId="ADAL" clId="{9706D415-2DA0-4D00-90B6-E46BF852F024}" dt="2023-03-22T09:20:00.769" v="2436" actId="1035"/>
          <ac:spMkLst>
            <pc:docMk/>
            <pc:sldMk cId="2218608795" sldId="2147199712"/>
            <ac:spMk id="19" creationId="{D7E9FF36-C643-F9F2-C035-FB1A0386CFE5}"/>
          </ac:spMkLst>
        </pc:spChg>
        <pc:spChg chg="mod">
          <ac:chgData name="Schjold, Hanne Røvig" userId="72e82339-bab0-442f-8ca6-e6f386a713ee" providerId="ADAL" clId="{9706D415-2DA0-4D00-90B6-E46BF852F024}" dt="2023-03-17T11:01:25.476" v="1820" actId="14826"/>
          <ac:spMkLst>
            <pc:docMk/>
            <pc:sldMk cId="2218608795" sldId="2147199712"/>
            <ac:spMk id="20" creationId="{1760EF49-99B4-D6AF-B4BB-EA22F519766F}"/>
          </ac:spMkLst>
        </pc:spChg>
        <pc:spChg chg="mod">
          <ac:chgData name="Schjold, Hanne Røvig" userId="72e82339-bab0-442f-8ca6-e6f386a713ee" providerId="ADAL" clId="{9706D415-2DA0-4D00-90B6-E46BF852F024}" dt="2023-03-22T09:19:55.539" v="2431" actId="403"/>
          <ac:spMkLst>
            <pc:docMk/>
            <pc:sldMk cId="2218608795" sldId="2147199712"/>
            <ac:spMk id="26" creationId="{0C3668D6-1C1A-2998-F9EE-59FDDA51281C}"/>
          </ac:spMkLst>
        </pc:spChg>
        <pc:spChg chg="mod">
          <ac:chgData name="Schjold, Hanne Røvig" userId="72e82339-bab0-442f-8ca6-e6f386a713ee" providerId="ADAL" clId="{9706D415-2DA0-4D00-90B6-E46BF852F024}" dt="2023-03-17T10:57:28.364" v="1806" actId="692"/>
          <ac:spMkLst>
            <pc:docMk/>
            <pc:sldMk cId="2218608795" sldId="2147199712"/>
            <ac:spMk id="27" creationId="{C854C50F-8AA3-6BD2-2DEC-1C3E061B889B}"/>
          </ac:spMkLst>
        </pc:spChg>
        <pc:spChg chg="add mod">
          <ac:chgData name="Schjold, Hanne Røvig" userId="72e82339-bab0-442f-8ca6-e6f386a713ee" providerId="ADAL" clId="{9706D415-2DA0-4D00-90B6-E46BF852F024}" dt="2023-03-17T10:54:34.300" v="1747" actId="207"/>
          <ac:spMkLst>
            <pc:docMk/>
            <pc:sldMk cId="2218608795" sldId="2147199712"/>
            <ac:spMk id="31" creationId="{0409E3C1-F3C4-839C-DECB-FF50E0F6B98E}"/>
          </ac:spMkLst>
        </pc:spChg>
        <pc:grpChg chg="add mod">
          <ac:chgData name="Schjold, Hanne Røvig" userId="72e82339-bab0-442f-8ca6-e6f386a713ee" providerId="ADAL" clId="{9706D415-2DA0-4D00-90B6-E46BF852F024}" dt="2023-03-17T12:01:05.760" v="1972" actId="14826"/>
          <ac:grpSpMkLst>
            <pc:docMk/>
            <pc:sldMk cId="2218608795" sldId="2147199712"/>
            <ac:grpSpMk id="3" creationId="{265EE70D-EDB7-C628-CE0A-C8CA5B7F7A75}"/>
          </ac:grpSpMkLst>
        </pc:grpChg>
        <pc:grpChg chg="mod">
          <ac:chgData name="Schjold, Hanne Røvig" userId="72e82339-bab0-442f-8ca6-e6f386a713ee" providerId="ADAL" clId="{9706D415-2DA0-4D00-90B6-E46BF852F024}" dt="2023-03-17T12:01:05.760" v="1972" actId="14826"/>
          <ac:grpSpMkLst>
            <pc:docMk/>
            <pc:sldMk cId="2218608795" sldId="2147199712"/>
            <ac:grpSpMk id="4" creationId="{C6D70DC4-0FB0-8677-A74D-192ECBDC80A9}"/>
          </ac:grpSpMkLst>
        </pc:grpChg>
        <pc:grpChg chg="mod">
          <ac:chgData name="Schjold, Hanne Røvig" userId="72e82339-bab0-442f-8ca6-e6f386a713ee" providerId="ADAL" clId="{9706D415-2DA0-4D00-90B6-E46BF852F024}" dt="2023-03-17T12:01:05.760" v="1972" actId="14826"/>
          <ac:grpSpMkLst>
            <pc:docMk/>
            <pc:sldMk cId="2218608795" sldId="2147199712"/>
            <ac:grpSpMk id="7" creationId="{83EE939D-E533-145F-B0CE-7D58345ACB61}"/>
          </ac:grpSpMkLst>
        </pc:grpChg>
        <pc:grpChg chg="add mod">
          <ac:chgData name="Schjold, Hanne Røvig" userId="72e82339-bab0-442f-8ca6-e6f386a713ee" providerId="ADAL" clId="{9706D415-2DA0-4D00-90B6-E46BF852F024}" dt="2023-03-17T10:54:01.304" v="1734"/>
          <ac:grpSpMkLst>
            <pc:docMk/>
            <pc:sldMk cId="2218608795" sldId="2147199712"/>
            <ac:grpSpMk id="10" creationId="{A594FCD0-5F95-98F0-689B-130D7ECD8FE7}"/>
          </ac:grpSpMkLst>
        </pc:grpChg>
        <pc:grpChg chg="mod">
          <ac:chgData name="Schjold, Hanne Røvig" userId="72e82339-bab0-442f-8ca6-e6f386a713ee" providerId="ADAL" clId="{9706D415-2DA0-4D00-90B6-E46BF852F024}" dt="2023-03-17T10:54:01.304" v="1734"/>
          <ac:grpSpMkLst>
            <pc:docMk/>
            <pc:sldMk cId="2218608795" sldId="2147199712"/>
            <ac:grpSpMk id="11" creationId="{036FDB77-0EBF-1DCD-FF1D-C52390F09368}"/>
          </ac:grpSpMkLst>
        </pc:grpChg>
        <pc:grpChg chg="del mod">
          <ac:chgData name="Schjold, Hanne Røvig" userId="72e82339-bab0-442f-8ca6-e6f386a713ee" providerId="ADAL" clId="{9706D415-2DA0-4D00-90B6-E46BF852F024}" dt="2023-03-17T11:01:34.866" v="1824" actId="478"/>
          <ac:grpSpMkLst>
            <pc:docMk/>
            <pc:sldMk cId="2218608795" sldId="2147199712"/>
            <ac:grpSpMk id="14" creationId="{08302163-8A89-3E45-3D5F-5B7C6393D6BD}"/>
          </ac:grpSpMkLst>
        </pc:grpChg>
        <pc:grpChg chg="add mod">
          <ac:chgData name="Schjold, Hanne Røvig" userId="72e82339-bab0-442f-8ca6-e6f386a713ee" providerId="ADAL" clId="{9706D415-2DA0-4D00-90B6-E46BF852F024}" dt="2023-03-17T11:01:25.476" v="1820" actId="14826"/>
          <ac:grpSpMkLst>
            <pc:docMk/>
            <pc:sldMk cId="2218608795" sldId="2147199712"/>
            <ac:grpSpMk id="17" creationId="{CB135247-6BEF-B171-5C83-8E0ADD2FF87F}"/>
          </ac:grpSpMkLst>
        </pc:grpChg>
        <pc:grpChg chg="mod">
          <ac:chgData name="Schjold, Hanne Røvig" userId="72e82339-bab0-442f-8ca6-e6f386a713ee" providerId="ADAL" clId="{9706D415-2DA0-4D00-90B6-E46BF852F024}" dt="2023-03-17T11:01:25.476" v="1820" actId="14826"/>
          <ac:grpSpMkLst>
            <pc:docMk/>
            <pc:sldMk cId="2218608795" sldId="2147199712"/>
            <ac:grpSpMk id="18" creationId="{7FABC7B6-8501-9BB0-E45B-E212EB18200D}"/>
          </ac:grpSpMkLst>
        </pc:grpChg>
        <pc:grpChg chg="del mod">
          <ac:chgData name="Schjold, Hanne Røvig" userId="72e82339-bab0-442f-8ca6-e6f386a713ee" providerId="ADAL" clId="{9706D415-2DA0-4D00-90B6-E46BF852F024}" dt="2023-03-17T11:01:52.385" v="1828" actId="21"/>
          <ac:grpSpMkLst>
            <pc:docMk/>
            <pc:sldMk cId="2218608795" sldId="2147199712"/>
            <ac:grpSpMk id="21" creationId="{FC9096AD-60B1-7C0D-92AE-58B637F0CEAD}"/>
          </ac:grpSpMkLst>
        </pc:grpChg>
        <pc:grpChg chg="add mod">
          <ac:chgData name="Schjold, Hanne Røvig" userId="72e82339-bab0-442f-8ca6-e6f386a713ee" providerId="ADAL" clId="{9706D415-2DA0-4D00-90B6-E46BF852F024}" dt="2023-03-17T10:54:01.304" v="1734"/>
          <ac:grpSpMkLst>
            <pc:docMk/>
            <pc:sldMk cId="2218608795" sldId="2147199712"/>
            <ac:grpSpMk id="24" creationId="{B8E6F1D7-0D9F-C7B0-7784-20A5F04AE8EA}"/>
          </ac:grpSpMkLst>
        </pc:grpChg>
        <pc:grpChg chg="mod">
          <ac:chgData name="Schjold, Hanne Røvig" userId="72e82339-bab0-442f-8ca6-e6f386a713ee" providerId="ADAL" clId="{9706D415-2DA0-4D00-90B6-E46BF852F024}" dt="2023-03-17T10:54:01.304" v="1734"/>
          <ac:grpSpMkLst>
            <pc:docMk/>
            <pc:sldMk cId="2218608795" sldId="2147199712"/>
            <ac:grpSpMk id="25" creationId="{FED607C4-36EC-DD46-04AA-0F595BDD56FC}"/>
          </ac:grpSpMkLst>
        </pc:grpChg>
        <pc:grpChg chg="del mod">
          <ac:chgData name="Schjold, Hanne Røvig" userId="72e82339-bab0-442f-8ca6-e6f386a713ee" providerId="ADAL" clId="{9706D415-2DA0-4D00-90B6-E46BF852F024}" dt="2023-03-17T11:01:33.127" v="1823" actId="478"/>
          <ac:grpSpMkLst>
            <pc:docMk/>
            <pc:sldMk cId="2218608795" sldId="2147199712"/>
            <ac:grpSpMk id="28" creationId="{E79C0B54-6812-6016-B324-FF900225E795}"/>
          </ac:grpSpMkLst>
        </pc:grpChg>
        <pc:picChg chg="add mod">
          <ac:chgData name="Schjold, Hanne Røvig" userId="72e82339-bab0-442f-8ca6-e6f386a713ee" providerId="ADAL" clId="{9706D415-2DA0-4D00-90B6-E46BF852F024}" dt="2023-03-17T10:54:46.607" v="1748" actId="207"/>
          <ac:picMkLst>
            <pc:docMk/>
            <pc:sldMk cId="2218608795" sldId="2147199712"/>
            <ac:picMk id="2" creationId="{F2605B76-6CF5-85AC-779E-15D2C1FDF241}"/>
          </ac:picMkLst>
        </pc:picChg>
        <pc:picChg chg="mod">
          <ac:chgData name="Schjold, Hanne Røvig" userId="72e82339-bab0-442f-8ca6-e6f386a713ee" providerId="ADAL" clId="{9706D415-2DA0-4D00-90B6-E46BF852F024}" dt="2023-03-17T12:01:05.760" v="1972" actId="14826"/>
          <ac:picMkLst>
            <pc:docMk/>
            <pc:sldMk cId="2218608795" sldId="2147199712"/>
            <ac:picMk id="8" creationId="{0E3CCA05-F413-B2C6-8FFE-252B78C1D42F}"/>
          </ac:picMkLst>
        </pc:picChg>
        <pc:picChg chg="mod">
          <ac:chgData name="Schjold, Hanne Røvig" userId="72e82339-bab0-442f-8ca6-e6f386a713ee" providerId="ADAL" clId="{9706D415-2DA0-4D00-90B6-E46BF852F024}" dt="2023-03-17T12:01:39.006" v="1976" actId="14100"/>
          <ac:picMkLst>
            <pc:docMk/>
            <pc:sldMk cId="2218608795" sldId="2147199712"/>
            <ac:picMk id="9" creationId="{1965E932-15BB-1029-976C-022A83E04968}"/>
          </ac:picMkLst>
        </pc:picChg>
        <pc:picChg chg="mod">
          <ac:chgData name="Schjold, Hanne Røvig" userId="72e82339-bab0-442f-8ca6-e6f386a713ee" providerId="ADAL" clId="{9706D415-2DA0-4D00-90B6-E46BF852F024}" dt="2023-03-17T10:54:01.304" v="1734"/>
          <ac:picMkLst>
            <pc:docMk/>
            <pc:sldMk cId="2218608795" sldId="2147199712"/>
            <ac:picMk id="15" creationId="{A6E64118-34D8-661B-1836-64BD399D01F7}"/>
          </ac:picMkLst>
        </pc:picChg>
        <pc:picChg chg="del mod">
          <ac:chgData name="Schjold, Hanne Røvig" userId="72e82339-bab0-442f-8ca6-e6f386a713ee" providerId="ADAL" clId="{9706D415-2DA0-4D00-90B6-E46BF852F024}" dt="2023-03-17T11:01:34.866" v="1824" actId="478"/>
          <ac:picMkLst>
            <pc:docMk/>
            <pc:sldMk cId="2218608795" sldId="2147199712"/>
            <ac:picMk id="16" creationId="{4EF2C0CE-C647-E902-C341-A7156B569375}"/>
          </ac:picMkLst>
        </pc:picChg>
        <pc:picChg chg="add mod">
          <ac:chgData name="Schjold, Hanne Røvig" userId="72e82339-bab0-442f-8ca6-e6f386a713ee" providerId="ADAL" clId="{9706D415-2DA0-4D00-90B6-E46BF852F024}" dt="2023-03-17T12:02:16.219" v="1979" actId="14826"/>
          <ac:picMkLst>
            <pc:docMk/>
            <pc:sldMk cId="2218608795" sldId="2147199712"/>
            <ac:picMk id="16" creationId="{A91D8196-6545-488D-B567-15FAD4B9FBA8}"/>
          </ac:picMkLst>
        </pc:picChg>
        <pc:picChg chg="mod">
          <ac:chgData name="Schjold, Hanne Røvig" userId="72e82339-bab0-442f-8ca6-e6f386a713ee" providerId="ADAL" clId="{9706D415-2DA0-4D00-90B6-E46BF852F024}" dt="2023-03-17T11:01:25.476" v="1820" actId="14826"/>
          <ac:picMkLst>
            <pc:docMk/>
            <pc:sldMk cId="2218608795" sldId="2147199712"/>
            <ac:picMk id="22" creationId="{9B92B46E-CB50-F9A8-AE28-FBF002AD7E98}"/>
          </ac:picMkLst>
        </pc:picChg>
        <pc:picChg chg="del mod">
          <ac:chgData name="Schjold, Hanne Røvig" userId="72e82339-bab0-442f-8ca6-e6f386a713ee" providerId="ADAL" clId="{9706D415-2DA0-4D00-90B6-E46BF852F024}" dt="2023-03-17T11:01:52.385" v="1828" actId="21"/>
          <ac:picMkLst>
            <pc:docMk/>
            <pc:sldMk cId="2218608795" sldId="2147199712"/>
            <ac:picMk id="23" creationId="{53DF1916-AD22-A660-806B-F6E618BCFD90}"/>
          </ac:picMkLst>
        </pc:picChg>
        <pc:picChg chg="mod">
          <ac:chgData name="Schjold, Hanne Røvig" userId="72e82339-bab0-442f-8ca6-e6f386a713ee" providerId="ADAL" clId="{9706D415-2DA0-4D00-90B6-E46BF852F024}" dt="2023-03-17T10:54:01.304" v="1734"/>
          <ac:picMkLst>
            <pc:docMk/>
            <pc:sldMk cId="2218608795" sldId="2147199712"/>
            <ac:picMk id="29" creationId="{E16DCF32-E173-2BB6-B146-B49B49D651A9}"/>
          </ac:picMkLst>
        </pc:picChg>
        <pc:picChg chg="del mod">
          <ac:chgData name="Schjold, Hanne Røvig" userId="72e82339-bab0-442f-8ca6-e6f386a713ee" providerId="ADAL" clId="{9706D415-2DA0-4D00-90B6-E46BF852F024}" dt="2023-03-17T11:01:33.127" v="1823" actId="478"/>
          <ac:picMkLst>
            <pc:docMk/>
            <pc:sldMk cId="2218608795" sldId="2147199712"/>
            <ac:picMk id="30" creationId="{3AE0ECF4-822D-DC03-786A-7243E6E2E02C}"/>
          </ac:picMkLst>
        </pc:picChg>
        <pc:picChg chg="add mod">
          <ac:chgData name="Schjold, Hanne Røvig" userId="72e82339-bab0-442f-8ca6-e6f386a713ee" providerId="ADAL" clId="{9706D415-2DA0-4D00-90B6-E46BF852F024}" dt="2023-03-17T12:01:25.820" v="1975" actId="207"/>
          <ac:picMkLst>
            <pc:docMk/>
            <pc:sldMk cId="2218608795" sldId="2147199712"/>
            <ac:picMk id="32" creationId="{98A72624-0FE4-1736-A5DB-F788EC1CCD61}"/>
          </ac:picMkLst>
        </pc:picChg>
      </pc:sldChg>
      <pc:sldChg chg="addSp delSp modSp new mod setBg modNotesTx">
        <pc:chgData name="Schjold, Hanne Røvig" userId="72e82339-bab0-442f-8ca6-e6f386a713ee" providerId="ADAL" clId="{9706D415-2DA0-4D00-90B6-E46BF852F024}" dt="2023-03-28T13:40:09.372" v="2617"/>
        <pc:sldMkLst>
          <pc:docMk/>
          <pc:sldMk cId="3140334545" sldId="2147199713"/>
        </pc:sldMkLst>
        <pc:spChg chg="del">
          <ac:chgData name="Schjold, Hanne Røvig" userId="72e82339-bab0-442f-8ca6-e6f386a713ee" providerId="ADAL" clId="{9706D415-2DA0-4D00-90B6-E46BF852F024}" dt="2023-03-17T12:23:35.098" v="2161" actId="478"/>
          <ac:spMkLst>
            <pc:docMk/>
            <pc:sldMk cId="3140334545" sldId="2147199713"/>
            <ac:spMk id="2" creationId="{570064E3-9CA9-D9EB-E24D-1061316822FA}"/>
          </ac:spMkLst>
        </pc:spChg>
        <pc:spChg chg="del">
          <ac:chgData name="Schjold, Hanne Røvig" userId="72e82339-bab0-442f-8ca6-e6f386a713ee" providerId="ADAL" clId="{9706D415-2DA0-4D00-90B6-E46BF852F024}" dt="2023-03-17T12:25:20.169" v="2166" actId="931"/>
          <ac:spMkLst>
            <pc:docMk/>
            <pc:sldMk cId="3140334545" sldId="2147199713"/>
            <ac:spMk id="3" creationId="{5300AD6D-A30A-C5CB-33D2-E1EB8C9A6733}"/>
          </ac:spMkLst>
        </pc:spChg>
        <pc:spChg chg="del">
          <ac:chgData name="Schjold, Hanne Røvig" userId="72e82339-bab0-442f-8ca6-e6f386a713ee" providerId="ADAL" clId="{9706D415-2DA0-4D00-90B6-E46BF852F024}" dt="2023-03-17T12:23:37.265" v="2162" actId="478"/>
          <ac:spMkLst>
            <pc:docMk/>
            <pc:sldMk cId="3140334545" sldId="2147199713"/>
            <ac:spMk id="4" creationId="{C8F8319B-0FE1-B2D3-EB41-FCEDDDCFAE45}"/>
          </ac:spMkLst>
        </pc:spChg>
        <pc:spChg chg="add mod">
          <ac:chgData name="Schjold, Hanne Røvig" userId="72e82339-bab0-442f-8ca6-e6f386a713ee" providerId="ADAL" clId="{9706D415-2DA0-4D00-90B6-E46BF852F024}" dt="2023-03-17T12:25:35.117" v="2169" actId="14100"/>
          <ac:spMkLst>
            <pc:docMk/>
            <pc:sldMk cId="3140334545" sldId="2147199713"/>
            <ac:spMk id="5" creationId="{AA556F97-FF88-17BE-2EC2-2C023326A291}"/>
          </ac:spMkLst>
        </pc:spChg>
        <pc:spChg chg="add mod">
          <ac:chgData name="Schjold, Hanne Røvig" userId="72e82339-bab0-442f-8ca6-e6f386a713ee" providerId="ADAL" clId="{9706D415-2DA0-4D00-90B6-E46BF852F024}" dt="2023-03-17T12:25:32.327" v="2168" actId="1076"/>
          <ac:spMkLst>
            <pc:docMk/>
            <pc:sldMk cId="3140334545" sldId="2147199713"/>
            <ac:spMk id="6" creationId="{280C8E6D-00CC-0624-172E-E3D3ECA2F6CE}"/>
          </ac:spMkLst>
        </pc:spChg>
        <pc:spChg chg="add mod">
          <ac:chgData name="Schjold, Hanne Røvig" userId="72e82339-bab0-442f-8ca6-e6f386a713ee" providerId="ADAL" clId="{9706D415-2DA0-4D00-90B6-E46BF852F024}" dt="2023-03-17T12:25:43.065" v="2170" actId="1076"/>
          <ac:spMkLst>
            <pc:docMk/>
            <pc:sldMk cId="3140334545" sldId="2147199713"/>
            <ac:spMk id="7" creationId="{E62C91A5-6AC7-0B94-7B0F-4CEBE3ED9252}"/>
          </ac:spMkLst>
        </pc:spChg>
        <pc:graphicFrameChg chg="add mod">
          <ac:chgData name="Schjold, Hanne Røvig" userId="72e82339-bab0-442f-8ca6-e6f386a713ee" providerId="ADAL" clId="{9706D415-2DA0-4D00-90B6-E46BF852F024}" dt="2023-03-17T12:23:37.815" v="2163"/>
          <ac:graphicFrameMkLst>
            <pc:docMk/>
            <pc:sldMk cId="3140334545" sldId="2147199713"/>
            <ac:graphicFrameMk id="8" creationId="{B40B6407-185A-E8EE-2199-67C7D8153637}"/>
          </ac:graphicFrameMkLst>
        </pc:graphicFrameChg>
        <pc:picChg chg="add mod">
          <ac:chgData name="Schjold, Hanne Røvig" userId="72e82339-bab0-442f-8ca6-e6f386a713ee" providerId="ADAL" clId="{9706D415-2DA0-4D00-90B6-E46BF852F024}" dt="2023-03-17T12:25:21.662" v="2167" actId="27614"/>
          <ac:picMkLst>
            <pc:docMk/>
            <pc:sldMk cId="3140334545" sldId="2147199713"/>
            <ac:picMk id="10" creationId="{98C8328E-E31B-14F9-1B7B-111ED1620DE2}"/>
          </ac:picMkLst>
        </pc:picChg>
      </pc:sldChg>
      <pc:sldChg chg="addSp delSp modSp new mod modNotesTx">
        <pc:chgData name="Schjold, Hanne Røvig" userId="72e82339-bab0-442f-8ca6-e6f386a713ee" providerId="ADAL" clId="{9706D415-2DA0-4D00-90B6-E46BF852F024}" dt="2023-03-21T09:46:00.311" v="2400" actId="20577"/>
        <pc:sldMkLst>
          <pc:docMk/>
          <pc:sldMk cId="3468937758" sldId="2147199714"/>
        </pc:sldMkLst>
        <pc:spChg chg="mod">
          <ac:chgData name="Schjold, Hanne Røvig" userId="72e82339-bab0-442f-8ca6-e6f386a713ee" providerId="ADAL" clId="{9706D415-2DA0-4D00-90B6-E46BF852F024}" dt="2023-03-17T12:53:43.025" v="2268" actId="122"/>
          <ac:spMkLst>
            <pc:docMk/>
            <pc:sldMk cId="3468937758" sldId="2147199714"/>
            <ac:spMk id="2" creationId="{109203F1-4DA9-92C9-6619-EC97165140C0}"/>
          </ac:spMkLst>
        </pc:spChg>
        <pc:spChg chg="mod">
          <ac:chgData name="Schjold, Hanne Røvig" userId="72e82339-bab0-442f-8ca6-e6f386a713ee" providerId="ADAL" clId="{9706D415-2DA0-4D00-90B6-E46BF852F024}" dt="2023-03-17T12:55:07.815" v="2283" actId="207"/>
          <ac:spMkLst>
            <pc:docMk/>
            <pc:sldMk cId="3468937758" sldId="2147199714"/>
            <ac:spMk id="4" creationId="{26355C6D-5824-7F86-7BCB-F8761A6E4BA3}"/>
          </ac:spMkLst>
        </pc:spChg>
        <pc:spChg chg="mod">
          <ac:chgData name="Schjold, Hanne Røvig" userId="72e82339-bab0-442f-8ca6-e6f386a713ee" providerId="ADAL" clId="{9706D415-2DA0-4D00-90B6-E46BF852F024}" dt="2023-03-17T12:55:25.801" v="2285" actId="207"/>
          <ac:spMkLst>
            <pc:docMk/>
            <pc:sldMk cId="3468937758" sldId="2147199714"/>
            <ac:spMk id="5" creationId="{4CEBA6D0-E2E5-DE33-4B57-FC9F48050EC4}"/>
          </ac:spMkLst>
        </pc:spChg>
        <pc:spChg chg="mod">
          <ac:chgData name="Schjold, Hanne Røvig" userId="72e82339-bab0-442f-8ca6-e6f386a713ee" providerId="ADAL" clId="{9706D415-2DA0-4D00-90B6-E46BF852F024}" dt="2023-03-17T12:55:19.884" v="2284" actId="207"/>
          <ac:spMkLst>
            <pc:docMk/>
            <pc:sldMk cId="3468937758" sldId="2147199714"/>
            <ac:spMk id="6" creationId="{818047E5-0FC8-6B74-08FC-39B6D1CAA7F8}"/>
          </ac:spMkLst>
        </pc:spChg>
        <pc:spChg chg="mod">
          <ac:chgData name="Schjold, Hanne Røvig" userId="72e82339-bab0-442f-8ca6-e6f386a713ee" providerId="ADAL" clId="{9706D415-2DA0-4D00-90B6-E46BF852F024}" dt="2023-03-17T12:55:31.838" v="2286" actId="207"/>
          <ac:spMkLst>
            <pc:docMk/>
            <pc:sldMk cId="3468937758" sldId="2147199714"/>
            <ac:spMk id="7" creationId="{A6C3AE58-A489-A671-9437-DD4FF96B4B80}"/>
          </ac:spMkLst>
        </pc:spChg>
        <pc:spChg chg="add mod">
          <ac:chgData name="Schjold, Hanne Røvig" userId="72e82339-bab0-442f-8ca6-e6f386a713ee" providerId="ADAL" clId="{9706D415-2DA0-4D00-90B6-E46BF852F024}" dt="2023-03-17T12:56:35.132" v="2304" actId="14100"/>
          <ac:spMkLst>
            <pc:docMk/>
            <pc:sldMk cId="3468937758" sldId="2147199714"/>
            <ac:spMk id="8" creationId="{9DDBEFBC-2BF6-3CEE-BE23-6CFEF0C75C74}"/>
          </ac:spMkLst>
        </pc:spChg>
        <pc:spChg chg="add mod">
          <ac:chgData name="Schjold, Hanne Røvig" userId="72e82339-bab0-442f-8ca6-e6f386a713ee" providerId="ADAL" clId="{9706D415-2DA0-4D00-90B6-E46BF852F024}" dt="2023-03-17T12:58:38.365" v="2383" actId="554"/>
          <ac:spMkLst>
            <pc:docMk/>
            <pc:sldMk cId="3468937758" sldId="2147199714"/>
            <ac:spMk id="9" creationId="{40C6DC6B-6EC1-73A0-7116-6A9CA4EDC599}"/>
          </ac:spMkLst>
        </pc:spChg>
        <pc:spChg chg="add mod">
          <ac:chgData name="Schjold, Hanne Røvig" userId="72e82339-bab0-442f-8ca6-e6f386a713ee" providerId="ADAL" clId="{9706D415-2DA0-4D00-90B6-E46BF852F024}" dt="2023-03-21T09:46:00.311" v="2400" actId="20577"/>
          <ac:spMkLst>
            <pc:docMk/>
            <pc:sldMk cId="3468937758" sldId="2147199714"/>
            <ac:spMk id="10" creationId="{12865911-99D6-BCF5-F70E-0E54E01A64B6}"/>
          </ac:spMkLst>
        </pc:spChg>
        <pc:spChg chg="add mod">
          <ac:chgData name="Schjold, Hanne Røvig" userId="72e82339-bab0-442f-8ca6-e6f386a713ee" providerId="ADAL" clId="{9706D415-2DA0-4D00-90B6-E46BF852F024}" dt="2023-03-17T12:58:38.365" v="2383" actId="554"/>
          <ac:spMkLst>
            <pc:docMk/>
            <pc:sldMk cId="3468937758" sldId="2147199714"/>
            <ac:spMk id="11" creationId="{DE6264DB-4943-2AE7-49F4-91055265DB72}"/>
          </ac:spMkLst>
        </pc:spChg>
        <pc:spChg chg="add mod">
          <ac:chgData name="Schjold, Hanne Røvig" userId="72e82339-bab0-442f-8ca6-e6f386a713ee" providerId="ADAL" clId="{9706D415-2DA0-4D00-90B6-E46BF852F024}" dt="2023-03-17T12:58:07.329" v="2371" actId="1037"/>
          <ac:spMkLst>
            <pc:docMk/>
            <pc:sldMk cId="3468937758" sldId="2147199714"/>
            <ac:spMk id="12" creationId="{B1D12F1F-D4C6-1649-87A3-479F1F691814}"/>
          </ac:spMkLst>
        </pc:spChg>
        <pc:spChg chg="add mod">
          <ac:chgData name="Schjold, Hanne Røvig" userId="72e82339-bab0-442f-8ca6-e6f386a713ee" providerId="ADAL" clId="{9706D415-2DA0-4D00-90B6-E46BF852F024}" dt="2023-03-17T12:58:07.329" v="2371" actId="1037"/>
          <ac:spMkLst>
            <pc:docMk/>
            <pc:sldMk cId="3468937758" sldId="2147199714"/>
            <ac:spMk id="13" creationId="{D8912488-EE3A-B67A-ACED-EB846F3BC75B}"/>
          </ac:spMkLst>
        </pc:spChg>
        <pc:spChg chg="add mod">
          <ac:chgData name="Schjold, Hanne Røvig" userId="72e82339-bab0-442f-8ca6-e6f386a713ee" providerId="ADAL" clId="{9706D415-2DA0-4D00-90B6-E46BF852F024}" dt="2023-03-17T12:58:07.329" v="2371" actId="1037"/>
          <ac:spMkLst>
            <pc:docMk/>
            <pc:sldMk cId="3468937758" sldId="2147199714"/>
            <ac:spMk id="14" creationId="{FEE02ECA-C166-434C-3817-BBD66B537EA9}"/>
          </ac:spMkLst>
        </pc:spChg>
        <pc:spChg chg="add mod">
          <ac:chgData name="Schjold, Hanne Røvig" userId="72e82339-bab0-442f-8ca6-e6f386a713ee" providerId="ADAL" clId="{9706D415-2DA0-4D00-90B6-E46BF852F024}" dt="2023-03-17T12:58:07.329" v="2371" actId="1037"/>
          <ac:spMkLst>
            <pc:docMk/>
            <pc:sldMk cId="3468937758" sldId="2147199714"/>
            <ac:spMk id="15" creationId="{CD92B991-B99F-93D1-F3C1-E4C54204FAE2}"/>
          </ac:spMkLst>
        </pc:spChg>
        <pc:grpChg chg="add mod">
          <ac:chgData name="Schjold, Hanne Røvig" userId="72e82339-bab0-442f-8ca6-e6f386a713ee" providerId="ADAL" clId="{9706D415-2DA0-4D00-90B6-E46BF852F024}" dt="2023-03-17T12:58:07.329" v="2371" actId="1037"/>
          <ac:grpSpMkLst>
            <pc:docMk/>
            <pc:sldMk cId="3468937758" sldId="2147199714"/>
            <ac:grpSpMk id="3" creationId="{5B1D8906-8C06-1F14-A3DF-6CACE0968117}"/>
          </ac:grpSpMkLst>
        </pc:grpChg>
        <pc:picChg chg="add del mod">
          <ac:chgData name="Schjold, Hanne Røvig" userId="72e82339-bab0-442f-8ca6-e6f386a713ee" providerId="ADAL" clId="{9706D415-2DA0-4D00-90B6-E46BF852F024}" dt="2023-03-17T12:55:35.687" v="2287" actId="478"/>
          <ac:picMkLst>
            <pc:docMk/>
            <pc:sldMk cId="3468937758" sldId="2147199714"/>
            <ac:picMk id="16" creationId="{5FDED6D3-CD30-6511-683F-939F93A7EEC1}"/>
          </ac:picMkLst>
        </pc:picChg>
      </pc:sldChg>
      <pc:sldChg chg="addSp modSp mod setBg">
        <pc:chgData name="Schjold, Hanne Røvig" userId="72e82339-bab0-442f-8ca6-e6f386a713ee" providerId="ADAL" clId="{9706D415-2DA0-4D00-90B6-E46BF852F024}" dt="2023-03-28T13:59:33.946" v="2947" actId="14100"/>
        <pc:sldMkLst>
          <pc:docMk/>
          <pc:sldMk cId="2246645452" sldId="2147199715"/>
        </pc:sldMkLst>
        <pc:spChg chg="mod">
          <ac:chgData name="Schjold, Hanne Røvig" userId="72e82339-bab0-442f-8ca6-e6f386a713ee" providerId="ADAL" clId="{9706D415-2DA0-4D00-90B6-E46BF852F024}" dt="2023-03-28T13:59:30.455" v="2946" actId="20577"/>
          <ac:spMkLst>
            <pc:docMk/>
            <pc:sldMk cId="2246645452" sldId="2147199715"/>
            <ac:spMk id="3" creationId="{D33CB1C3-60CC-33D2-420E-299F4D47DFC6}"/>
          </ac:spMkLst>
        </pc:spChg>
        <pc:picChg chg="add mod">
          <ac:chgData name="Schjold, Hanne Røvig" userId="72e82339-bab0-442f-8ca6-e6f386a713ee" providerId="ADAL" clId="{9706D415-2DA0-4D00-90B6-E46BF852F024}" dt="2023-03-28T13:59:33.946" v="2947" actId="14100"/>
          <ac:picMkLst>
            <pc:docMk/>
            <pc:sldMk cId="2246645452" sldId="2147199715"/>
            <ac:picMk id="5" creationId="{BD751BE5-AAEC-EE1F-25A2-9605AC0F5B92}"/>
          </ac:picMkLst>
        </pc:picChg>
      </pc:sldChg>
      <pc:sldChg chg="modSp mod setBg">
        <pc:chgData name="Schjold, Hanne Røvig" userId="72e82339-bab0-442f-8ca6-e6f386a713ee" providerId="ADAL" clId="{9706D415-2DA0-4D00-90B6-E46BF852F024}" dt="2023-03-28T13:44:53.239" v="2651" actId="12"/>
        <pc:sldMkLst>
          <pc:docMk/>
          <pc:sldMk cId="3054864823" sldId="2147199716"/>
        </pc:sldMkLst>
        <pc:spChg chg="mod">
          <ac:chgData name="Schjold, Hanne Røvig" userId="72e82339-bab0-442f-8ca6-e6f386a713ee" providerId="ADAL" clId="{9706D415-2DA0-4D00-90B6-E46BF852F024}" dt="2023-03-28T13:44:53.239" v="2651" actId="12"/>
          <ac:spMkLst>
            <pc:docMk/>
            <pc:sldMk cId="3054864823" sldId="2147199716"/>
            <ac:spMk id="6" creationId="{0C8900CB-B5C8-EF3F-D3ED-E7E416FEAA9E}"/>
          </ac:spMkLst>
        </pc:spChg>
      </pc:sldChg>
      <pc:sldChg chg="modSp mod setBg">
        <pc:chgData name="Schjold, Hanne Røvig" userId="72e82339-bab0-442f-8ca6-e6f386a713ee" providerId="ADAL" clId="{9706D415-2DA0-4D00-90B6-E46BF852F024}" dt="2023-03-28T13:49:29.735" v="2665" actId="20577"/>
        <pc:sldMkLst>
          <pc:docMk/>
          <pc:sldMk cId="3878668519" sldId="2147199717"/>
        </pc:sldMkLst>
        <pc:spChg chg="mod">
          <ac:chgData name="Schjold, Hanne Røvig" userId="72e82339-bab0-442f-8ca6-e6f386a713ee" providerId="ADAL" clId="{9706D415-2DA0-4D00-90B6-E46BF852F024}" dt="2023-03-28T13:49:29.735" v="2665" actId="20577"/>
          <ac:spMkLst>
            <pc:docMk/>
            <pc:sldMk cId="3878668519" sldId="2147199717"/>
            <ac:spMk id="6" creationId="{0C8900CB-B5C8-EF3F-D3ED-E7E416FEAA9E}"/>
          </ac:spMkLst>
        </pc:spChg>
      </pc:sldChg>
      <pc:sldChg chg="modSp mod setBg">
        <pc:chgData name="Schjold, Hanne Røvig" userId="72e82339-bab0-442f-8ca6-e6f386a713ee" providerId="ADAL" clId="{9706D415-2DA0-4D00-90B6-E46BF852F024}" dt="2023-03-28T13:43:20.225" v="2644" actId="20577"/>
        <pc:sldMkLst>
          <pc:docMk/>
          <pc:sldMk cId="2286936168" sldId="2147199718"/>
        </pc:sldMkLst>
        <pc:spChg chg="mod">
          <ac:chgData name="Schjold, Hanne Røvig" userId="72e82339-bab0-442f-8ca6-e6f386a713ee" providerId="ADAL" clId="{9706D415-2DA0-4D00-90B6-E46BF852F024}" dt="2023-03-28T13:43:20.225" v="2644" actId="20577"/>
          <ac:spMkLst>
            <pc:docMk/>
            <pc:sldMk cId="2286936168" sldId="2147199718"/>
            <ac:spMk id="6" creationId="{0C8900CB-B5C8-EF3F-D3ED-E7E416FEAA9E}"/>
          </ac:spMkLst>
        </pc:spChg>
      </pc:sldChg>
      <pc:sldChg chg="modSp mod setBg">
        <pc:chgData name="Schjold, Hanne Røvig" userId="72e82339-bab0-442f-8ca6-e6f386a713ee" providerId="ADAL" clId="{9706D415-2DA0-4D00-90B6-E46BF852F024}" dt="2023-03-28T13:42:33.948" v="2638" actId="5793"/>
        <pc:sldMkLst>
          <pc:docMk/>
          <pc:sldMk cId="3192489805" sldId="2147199719"/>
        </pc:sldMkLst>
        <pc:spChg chg="mod">
          <ac:chgData name="Schjold, Hanne Røvig" userId="72e82339-bab0-442f-8ca6-e6f386a713ee" providerId="ADAL" clId="{9706D415-2DA0-4D00-90B6-E46BF852F024}" dt="2023-03-28T13:42:33.948" v="2638" actId="5793"/>
          <ac:spMkLst>
            <pc:docMk/>
            <pc:sldMk cId="3192489805" sldId="2147199719"/>
            <ac:spMk id="6" creationId="{0C8900CB-B5C8-EF3F-D3ED-E7E416FEAA9E}"/>
          </ac:spMkLst>
        </pc:spChg>
      </pc:sldChg>
      <pc:sldChg chg="modSp mod setBg">
        <pc:chgData name="Schjold, Hanne Røvig" userId="72e82339-bab0-442f-8ca6-e6f386a713ee" providerId="ADAL" clId="{9706D415-2DA0-4D00-90B6-E46BF852F024}" dt="2023-03-28T13:41:22.613" v="2628"/>
        <pc:sldMkLst>
          <pc:docMk/>
          <pc:sldMk cId="3673287154" sldId="2147199720"/>
        </pc:sldMkLst>
        <pc:spChg chg="mod">
          <ac:chgData name="Schjold, Hanne Røvig" userId="72e82339-bab0-442f-8ca6-e6f386a713ee" providerId="ADAL" clId="{9706D415-2DA0-4D00-90B6-E46BF852F024}" dt="2023-03-28T13:41:11.131" v="2627" actId="20577"/>
          <ac:spMkLst>
            <pc:docMk/>
            <pc:sldMk cId="3673287154" sldId="2147199720"/>
            <ac:spMk id="6" creationId="{0C8900CB-B5C8-EF3F-D3ED-E7E416FEAA9E}"/>
          </ac:spMkLst>
        </pc:spChg>
      </pc:sldChg>
      <pc:sldChg chg="modSp mod setBg">
        <pc:chgData name="Schjold, Hanne Røvig" userId="72e82339-bab0-442f-8ca6-e6f386a713ee" providerId="ADAL" clId="{9706D415-2DA0-4D00-90B6-E46BF852F024}" dt="2023-03-28T13:39:43.222" v="2615"/>
        <pc:sldMkLst>
          <pc:docMk/>
          <pc:sldMk cId="2504834197" sldId="2147199721"/>
        </pc:sldMkLst>
        <pc:spChg chg="mod">
          <ac:chgData name="Schjold, Hanne Røvig" userId="72e82339-bab0-442f-8ca6-e6f386a713ee" providerId="ADAL" clId="{9706D415-2DA0-4D00-90B6-E46BF852F024}" dt="2023-03-28T13:39:31.143" v="2614" actId="12"/>
          <ac:spMkLst>
            <pc:docMk/>
            <pc:sldMk cId="2504834197" sldId="2147199721"/>
            <ac:spMk id="6" creationId="{0C8900CB-B5C8-EF3F-D3ED-E7E416FEAA9E}"/>
          </ac:spMkLst>
        </pc:spChg>
      </pc:sldChg>
      <pc:sldChg chg="modSp mod setBg">
        <pc:chgData name="Schjold, Hanne Røvig" userId="72e82339-bab0-442f-8ca6-e6f386a713ee" providerId="ADAL" clId="{9706D415-2DA0-4D00-90B6-E46BF852F024}" dt="2023-03-28T13:39:07.462" v="2611" actId="6549"/>
        <pc:sldMkLst>
          <pc:docMk/>
          <pc:sldMk cId="2156494836" sldId="2147199722"/>
        </pc:sldMkLst>
        <pc:spChg chg="mod">
          <ac:chgData name="Schjold, Hanne Røvig" userId="72e82339-bab0-442f-8ca6-e6f386a713ee" providerId="ADAL" clId="{9706D415-2DA0-4D00-90B6-E46BF852F024}" dt="2023-03-28T13:39:07.462" v="2611" actId="6549"/>
          <ac:spMkLst>
            <pc:docMk/>
            <pc:sldMk cId="2156494836" sldId="2147199722"/>
            <ac:spMk id="6" creationId="{0C8900CB-B5C8-EF3F-D3ED-E7E416FEAA9E}"/>
          </ac:spMkLst>
        </pc:spChg>
      </pc:sldChg>
      <pc:sldChg chg="addSp modSp mod setBg">
        <pc:chgData name="Schjold, Hanne Røvig" userId="72e82339-bab0-442f-8ca6-e6f386a713ee" providerId="ADAL" clId="{9706D415-2DA0-4D00-90B6-E46BF852F024}" dt="2023-03-28T13:53:02.557" v="2689" actId="14100"/>
        <pc:sldMkLst>
          <pc:docMk/>
          <pc:sldMk cId="1878470611" sldId="2147199723"/>
        </pc:sldMkLst>
        <pc:spChg chg="mod">
          <ac:chgData name="Schjold, Hanne Røvig" userId="72e82339-bab0-442f-8ca6-e6f386a713ee" providerId="ADAL" clId="{9706D415-2DA0-4D00-90B6-E46BF852F024}" dt="2023-03-28T13:51:40.684" v="2677" actId="14100"/>
          <ac:spMkLst>
            <pc:docMk/>
            <pc:sldMk cId="1878470611" sldId="2147199723"/>
            <ac:spMk id="2" creationId="{6693D1DD-25FD-EE86-4FF4-E40E116B87AC}"/>
          </ac:spMkLst>
        </pc:spChg>
        <pc:spChg chg="mod">
          <ac:chgData name="Schjold, Hanne Røvig" userId="72e82339-bab0-442f-8ca6-e6f386a713ee" providerId="ADAL" clId="{9706D415-2DA0-4D00-90B6-E46BF852F024}" dt="2023-03-28T13:53:02.557" v="2689" actId="14100"/>
          <ac:spMkLst>
            <pc:docMk/>
            <pc:sldMk cId="1878470611" sldId="2147199723"/>
            <ac:spMk id="3" creationId="{8D87042D-9266-072E-ED80-6088E7ECE13D}"/>
          </ac:spMkLst>
        </pc:spChg>
        <pc:picChg chg="add mod">
          <ac:chgData name="Schjold, Hanne Røvig" userId="72e82339-bab0-442f-8ca6-e6f386a713ee" providerId="ADAL" clId="{9706D415-2DA0-4D00-90B6-E46BF852F024}" dt="2023-03-28T13:52:49.846" v="2684" actId="1076"/>
          <ac:picMkLst>
            <pc:docMk/>
            <pc:sldMk cId="1878470611" sldId="2147199723"/>
            <ac:picMk id="5" creationId="{F74EAF56-FDB9-B7B1-AEC7-AE2668E14211}"/>
          </ac:picMkLst>
        </pc:picChg>
      </pc:sldChg>
      <pc:sldMasterChg chg="modSp delSldLayout modSldLayout">
        <pc:chgData name="Schjold, Hanne Røvig" userId="72e82339-bab0-442f-8ca6-e6f386a713ee" providerId="ADAL" clId="{9706D415-2DA0-4D00-90B6-E46BF852F024}" dt="2023-03-16T10:57:25.434" v="434"/>
        <pc:sldMasterMkLst>
          <pc:docMk/>
          <pc:sldMasterMk cId="2827523097" sldId="2147483648"/>
        </pc:sldMasterMkLst>
        <pc:spChg chg="mod">
          <ac:chgData name="Schjold, Hanne Røvig" userId="72e82339-bab0-442f-8ca6-e6f386a713ee" providerId="ADAL" clId="{9706D415-2DA0-4D00-90B6-E46BF852F024}" dt="2023-03-16T10:56:05.880" v="428" actId="207"/>
          <ac:spMkLst>
            <pc:docMk/>
            <pc:sldMasterMk cId="2827523097" sldId="2147483648"/>
            <ac:spMk id="2" creationId="{1FAD10EF-47D4-0240-947C-844B6DB7DA1B}"/>
          </ac:spMkLst>
        </pc:spChg>
        <pc:sldLayoutChg chg="setBg">
          <pc:chgData name="Schjold, Hanne Røvig" userId="72e82339-bab0-442f-8ca6-e6f386a713ee" providerId="ADAL" clId="{9706D415-2DA0-4D00-90B6-E46BF852F024}" dt="2023-03-16T10:57:25.434" v="434"/>
          <pc:sldLayoutMkLst>
            <pc:docMk/>
            <pc:sldMasterMk cId="2827523097" sldId="2147483648"/>
            <pc:sldLayoutMk cId="2839488307" sldId="2147483651"/>
          </pc:sldLayoutMkLst>
        </pc:sldLayoutChg>
        <pc:sldLayoutChg chg="modSp">
          <pc:chgData name="Schjold, Hanne Røvig" userId="72e82339-bab0-442f-8ca6-e6f386a713ee" providerId="ADAL" clId="{9706D415-2DA0-4D00-90B6-E46BF852F024}" dt="2023-03-16T10:55:49.682" v="426" actId="735"/>
          <pc:sldLayoutMkLst>
            <pc:docMk/>
            <pc:sldMasterMk cId="2827523097" sldId="2147483648"/>
            <pc:sldLayoutMk cId="33698367" sldId="2147483661"/>
          </pc:sldLayoutMkLst>
        </pc:sldLayoutChg>
        <pc:sldLayoutChg chg="del">
          <pc:chgData name="Schjold, Hanne Røvig" userId="72e82339-bab0-442f-8ca6-e6f386a713ee" providerId="ADAL" clId="{9706D415-2DA0-4D00-90B6-E46BF852F024}" dt="2023-03-16T10:57:01.788" v="431" actId="2696"/>
          <pc:sldLayoutMkLst>
            <pc:docMk/>
            <pc:sldMasterMk cId="2827523097" sldId="2147483648"/>
            <pc:sldLayoutMk cId="792200060" sldId="2147483675"/>
          </pc:sldLayoutMkLst>
        </pc:sldLayoutChg>
        <pc:sldLayoutChg chg="setBg">
          <pc:chgData name="Schjold, Hanne Røvig" userId="72e82339-bab0-442f-8ca6-e6f386a713ee" providerId="ADAL" clId="{9706D415-2DA0-4D00-90B6-E46BF852F024}" dt="2023-03-16T10:57:13.386" v="432"/>
          <pc:sldLayoutMkLst>
            <pc:docMk/>
            <pc:sldMasterMk cId="2827523097" sldId="2147483648"/>
            <pc:sldLayoutMk cId="3529424792" sldId="2147483763"/>
          </pc:sldLayoutMkLst>
        </pc:sldLayoutChg>
        <pc:sldLayoutChg chg="setBg">
          <pc:chgData name="Schjold, Hanne Røvig" userId="72e82339-bab0-442f-8ca6-e6f386a713ee" providerId="ADAL" clId="{9706D415-2DA0-4D00-90B6-E46BF852F024}" dt="2023-03-16T10:57:19.747" v="433"/>
          <pc:sldLayoutMkLst>
            <pc:docMk/>
            <pc:sldMasterMk cId="2827523097" sldId="2147483648"/>
            <pc:sldLayoutMk cId="3603299309" sldId="2147483764"/>
          </pc:sldLayoutMkLst>
        </pc:sldLayoutChg>
        <pc:sldLayoutChg chg="setBg">
          <pc:chgData name="Schjold, Hanne Røvig" userId="72e82339-bab0-442f-8ca6-e6f386a713ee" providerId="ADAL" clId="{9706D415-2DA0-4D00-90B6-E46BF852F024}" dt="2023-03-16T10:56:51.713" v="429"/>
          <pc:sldLayoutMkLst>
            <pc:docMk/>
            <pc:sldMasterMk cId="2827523097" sldId="2147483648"/>
            <pc:sldLayoutMk cId="986378115" sldId="2147483765"/>
          </pc:sldLayoutMkLst>
        </pc:sldLayoutChg>
        <pc:sldLayoutChg chg="setBg">
          <pc:chgData name="Schjold, Hanne Røvig" userId="72e82339-bab0-442f-8ca6-e6f386a713ee" providerId="ADAL" clId="{9706D415-2DA0-4D00-90B6-E46BF852F024}" dt="2023-03-16T10:56:56.681" v="430"/>
          <pc:sldLayoutMkLst>
            <pc:docMk/>
            <pc:sldMasterMk cId="2827523097" sldId="2147483648"/>
            <pc:sldLayoutMk cId="624144367" sldId="2147483766"/>
          </pc:sldLayoutMkLst>
        </pc:sldLayoutChg>
      </pc:sldMasterChg>
      <pc:sldMasterChg chg="modSp delSldLayout">
        <pc:chgData name="Schjold, Hanne Røvig" userId="72e82339-bab0-442f-8ca6-e6f386a713ee" providerId="ADAL" clId="{9706D415-2DA0-4D00-90B6-E46BF852F024}" dt="2023-03-16T10:57:44.958" v="436" actId="2696"/>
        <pc:sldMasterMkLst>
          <pc:docMk/>
          <pc:sldMasterMk cId="254627306" sldId="2147483691"/>
        </pc:sldMasterMkLst>
        <pc:sldLayoutChg chg="del">
          <pc:chgData name="Schjold, Hanne Røvig" userId="72e82339-bab0-442f-8ca6-e6f386a713ee" providerId="ADAL" clId="{9706D415-2DA0-4D00-90B6-E46BF852F024}" dt="2023-03-16T10:57:44.958" v="436" actId="2696"/>
          <pc:sldLayoutMkLst>
            <pc:docMk/>
            <pc:sldMasterMk cId="254627306" sldId="2147483691"/>
            <pc:sldLayoutMk cId="2254014633" sldId="2147483699"/>
          </pc:sldLayoutMkLst>
        </pc:sldLayoutChg>
      </pc:sldMasterChg>
    </pc:docChg>
  </pc:docChgLst>
  <pc:docChgLst>
    <pc:chgData name="Nyberg, Tor Erik" userId="S::tor.erik.nyberg@nav.no::86602162-afdc-4b7e-9f14-fe6ed5d484a5" providerId="AD" clId="Web-{76718AFA-D66D-B146-3882-21A36B9BB5A3}"/>
    <pc:docChg chg="mod">
      <pc:chgData name="Nyberg, Tor Erik" userId="S::tor.erik.nyberg@nav.no::86602162-afdc-4b7e-9f14-fe6ed5d484a5" providerId="AD" clId="Web-{76718AFA-D66D-B146-3882-21A36B9BB5A3}" dt="2023-03-29T10:49:24.914" v="1"/>
      <pc:docMkLst>
        <pc:docMk/>
      </pc:docMkLst>
      <pc:sldChg chg="modCm">
        <pc:chgData name="Nyberg, Tor Erik" userId="S::tor.erik.nyberg@nav.no::86602162-afdc-4b7e-9f14-fe6ed5d484a5" providerId="AD" clId="Web-{76718AFA-D66D-B146-3882-21A36B9BB5A3}" dt="2023-03-29T10:49:24.914" v="1"/>
        <pc:sldMkLst>
          <pc:docMk/>
          <pc:sldMk cId="3717460304" sldId="749"/>
        </pc:sldMkLst>
      </pc:sldChg>
    </pc:docChg>
  </pc:docChgLst>
  <pc:docChgLst>
    <pc:chgData name="Fredriksen, Kristin" userId="20520606-cfeb-454f-a67c-214531c41339" providerId="ADAL" clId="{027546DE-3634-4394-B950-137906503CBC}"/>
    <pc:docChg chg="modSld sldOrd">
      <pc:chgData name="Fredriksen, Kristin" userId="20520606-cfeb-454f-a67c-214531c41339" providerId="ADAL" clId="{027546DE-3634-4394-B950-137906503CBC}" dt="2023-04-03T12:30:42.281" v="1"/>
      <pc:docMkLst>
        <pc:docMk/>
      </pc:docMkLst>
      <pc:sldChg chg="ord">
        <pc:chgData name="Fredriksen, Kristin" userId="20520606-cfeb-454f-a67c-214531c41339" providerId="ADAL" clId="{027546DE-3634-4394-B950-137906503CBC}" dt="2023-04-03T12:30:42.281" v="1"/>
        <pc:sldMkLst>
          <pc:docMk/>
          <pc:sldMk cId="2931966506" sldId="74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Diagram%20i%20Microsoft%20PowerPoint"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6.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11.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9.xlsx"/></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3.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4.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3.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4.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99244345038868"/>
          <c:y val="2.4262473768479731E-2"/>
          <c:w val="0.5341560963922386"/>
          <c:h val="0.83661785631231589"/>
        </c:manualLayout>
      </c:layout>
      <c:barChart>
        <c:barDir val="bar"/>
        <c:grouping val="stacked"/>
        <c:varyColors val="0"/>
        <c:ser>
          <c:idx val="0"/>
          <c:order val="0"/>
          <c:tx>
            <c:strRef>
              <c:f>'figur 10.1'!$C$6</c:f>
              <c:strCache>
                <c:ptCount val="1"/>
                <c:pt idx="0">
                  <c:v>NAV som helhet</c:v>
                </c:pt>
              </c:strCache>
            </c:strRef>
          </c:tx>
          <c:spPr>
            <a:solidFill>
              <a:srgbClr val="337C9B"/>
            </a:solidFill>
            <a:ln>
              <a:noFill/>
            </a:ln>
            <a:effectLst/>
          </c:spPr>
          <c:invertIfNegative val="0"/>
          <c:dPt>
            <c:idx val="0"/>
            <c:invertIfNegative val="0"/>
            <c:bubble3D val="0"/>
            <c:spPr>
              <a:solidFill>
                <a:srgbClr val="CCDEE6"/>
              </a:solidFill>
              <a:ln>
                <a:noFill/>
              </a:ln>
              <a:effectLst/>
            </c:spPr>
            <c:extLst>
              <c:ext xmlns:c16="http://schemas.microsoft.com/office/drawing/2014/chart" uri="{C3380CC4-5D6E-409C-BE32-E72D297353CC}">
                <c16:uniqueId val="{00000001-7216-4B69-B591-1730FEFF3874}"/>
              </c:ext>
            </c:extLst>
          </c:dPt>
          <c:dPt>
            <c:idx val="1"/>
            <c:invertIfNegative val="0"/>
            <c:bubble3D val="0"/>
            <c:spPr>
              <a:solidFill>
                <a:srgbClr val="CCDEE6"/>
              </a:solidFill>
              <a:ln>
                <a:noFill/>
              </a:ln>
              <a:effectLst/>
            </c:spPr>
            <c:extLst>
              <c:ext xmlns:c16="http://schemas.microsoft.com/office/drawing/2014/chart" uri="{C3380CC4-5D6E-409C-BE32-E72D297353CC}">
                <c16:uniqueId val="{00000003-7216-4B69-B591-1730FEFF3874}"/>
              </c:ext>
            </c:extLst>
          </c:dPt>
          <c:dPt>
            <c:idx val="2"/>
            <c:invertIfNegative val="0"/>
            <c:bubble3D val="0"/>
            <c:spPr>
              <a:solidFill>
                <a:srgbClr val="CCDEE6"/>
              </a:solidFill>
              <a:ln>
                <a:noFill/>
              </a:ln>
              <a:effectLst/>
            </c:spPr>
            <c:extLst>
              <c:ext xmlns:c16="http://schemas.microsoft.com/office/drawing/2014/chart" uri="{C3380CC4-5D6E-409C-BE32-E72D297353CC}">
                <c16:uniqueId val="{00000005-7216-4B69-B591-1730FEFF3874}"/>
              </c:ext>
            </c:extLst>
          </c:dPt>
          <c:dPt>
            <c:idx val="3"/>
            <c:invertIfNegative val="0"/>
            <c:bubble3D val="0"/>
            <c:spPr>
              <a:solidFill>
                <a:srgbClr val="CCDEE6"/>
              </a:solidFill>
              <a:ln>
                <a:noFill/>
              </a:ln>
              <a:effectLst/>
            </c:spPr>
            <c:extLst>
              <c:ext xmlns:c16="http://schemas.microsoft.com/office/drawing/2014/chart" uri="{C3380CC4-5D6E-409C-BE32-E72D297353CC}">
                <c16:uniqueId val="{00000007-7216-4B69-B591-1730FEFF3874}"/>
              </c:ext>
            </c:extLst>
          </c:dPt>
          <c:dPt>
            <c:idx val="4"/>
            <c:invertIfNegative val="0"/>
            <c:bubble3D val="0"/>
            <c:spPr>
              <a:solidFill>
                <a:srgbClr val="CCDEE6"/>
              </a:solidFill>
              <a:ln>
                <a:noFill/>
              </a:ln>
              <a:effectLst/>
            </c:spPr>
            <c:extLst>
              <c:ext xmlns:c16="http://schemas.microsoft.com/office/drawing/2014/chart" uri="{C3380CC4-5D6E-409C-BE32-E72D297353CC}">
                <c16:uniqueId val="{00000009-7216-4B69-B591-1730FEFF3874}"/>
              </c:ext>
            </c:extLst>
          </c:dPt>
          <c:cat>
            <c:strRef>
              <c:f>'figur 10.1'!$B$7:$B$17</c:f>
              <c:strCache>
                <c:ptCount val="11"/>
                <c:pt idx="0">
                  <c:v>Lavere tillit til offentlig sektor</c:v>
                </c:pt>
                <c:pt idx="1">
                  <c:v>Økende politisk polarisering og konfliktnivå i Norge</c:v>
                </c:pt>
                <c:pt idx="2">
                  <c:v>Økt arbeidsinnvandring</c:v>
                </c:pt>
                <c:pt idx="3">
                  <c:v>Grønt skifte og klimautfordringer</c:v>
                </c:pt>
                <c:pt idx="4">
                  <c:v>Flere internasjonale konflikter/kriger</c:v>
                </c:pt>
                <c:pt idx="6">
                  <c:v>Flere unge i utenforskap</c:v>
                </c:pt>
                <c:pt idx="7">
                  <c:v>Innstramming/effektivisering av offentlig sektor</c:v>
                </c:pt>
                <c:pt idx="8">
                  <c:v>Flere med fysiske og psykiske lidelser</c:v>
                </c:pt>
                <c:pt idx="9">
                  <c:v>Aldring av befolkningen</c:v>
                </c:pt>
                <c:pt idx="10">
                  <c:v>Digitaliseringen av offentlige tjenester øker</c:v>
                </c:pt>
              </c:strCache>
            </c:strRef>
          </c:cat>
          <c:val>
            <c:numRef>
              <c:f>'figur 10.1'!$C$7:$C$17</c:f>
              <c:numCache>
                <c:formatCode>0.00</c:formatCode>
                <c:ptCount val="11"/>
                <c:pt idx="0">
                  <c:v>1.9151359999999999</c:v>
                </c:pt>
                <c:pt idx="1">
                  <c:v>1.9449080000000001</c:v>
                </c:pt>
                <c:pt idx="2">
                  <c:v>2</c:v>
                </c:pt>
                <c:pt idx="3">
                  <c:v>2.0559270000000001</c:v>
                </c:pt>
                <c:pt idx="4">
                  <c:v>2.0976629999999998</c:v>
                </c:pt>
                <c:pt idx="6">
                  <c:v>2.5333890000000001</c:v>
                </c:pt>
                <c:pt idx="7">
                  <c:v>2.5333890000000001</c:v>
                </c:pt>
                <c:pt idx="8">
                  <c:v>2.5417360000000002</c:v>
                </c:pt>
                <c:pt idx="9">
                  <c:v>2.5909849999999999</c:v>
                </c:pt>
                <c:pt idx="10">
                  <c:v>2.7084030000000001</c:v>
                </c:pt>
              </c:numCache>
            </c:numRef>
          </c:val>
          <c:extLst>
            <c:ext xmlns:c16="http://schemas.microsoft.com/office/drawing/2014/chart" uri="{C3380CC4-5D6E-409C-BE32-E72D297353CC}">
              <c16:uniqueId val="{0000000A-7216-4B69-B591-1730FEFF3874}"/>
            </c:ext>
          </c:extLst>
        </c:ser>
        <c:dLbls>
          <c:showLegendKey val="0"/>
          <c:showVal val="0"/>
          <c:showCatName val="0"/>
          <c:showSerName val="0"/>
          <c:showPercent val="0"/>
          <c:showBubbleSize val="0"/>
        </c:dLbls>
        <c:gapWidth val="86"/>
        <c:overlap val="100"/>
        <c:axId val="2079218208"/>
        <c:axId val="2079220704"/>
      </c:barChart>
      <c:catAx>
        <c:axId val="2079218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2079220704"/>
        <c:crosses val="autoZero"/>
        <c:auto val="1"/>
        <c:lblAlgn val="ctr"/>
        <c:lblOffset val="100"/>
        <c:noMultiLvlLbl val="0"/>
      </c:catAx>
      <c:valAx>
        <c:axId val="2079220704"/>
        <c:scaling>
          <c:orientation val="minMax"/>
          <c:max val="3"/>
          <c:min val="1"/>
        </c:scaling>
        <c:delete val="0"/>
        <c:axPos val="b"/>
        <c:majorGridlines>
          <c:spPr>
            <a:ln w="9525" cap="flat" cmpd="sng" algn="ctr">
              <a:solidFill>
                <a:schemeClr val="tx1">
                  <a:lumMod val="15000"/>
                  <a:lumOff val="85000"/>
                </a:schemeClr>
              </a:solidFill>
              <a:round/>
            </a:ln>
            <a:effectLst/>
          </c:spPr>
        </c:majorGridlines>
        <c:numFmt formatCode="@"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2079218208"/>
        <c:crosses val="autoZero"/>
        <c:crossBetween val="between"/>
        <c:majorUnit val="1"/>
        <c:minorUnit val="0.5"/>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nb-NO"/>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Diagram i Microsoft PowerPoint]fig.8.2'!$A$4</c:f>
              <c:strCache>
                <c:ptCount val="1"/>
                <c:pt idx="0">
                  <c:v>Alle aldre</c:v>
                </c:pt>
              </c:strCache>
            </c:strRef>
          </c:tx>
          <c:spPr>
            <a:ln w="28575" cap="rnd">
              <a:solidFill>
                <a:srgbClr val="C00000"/>
              </a:solidFill>
              <a:round/>
            </a:ln>
            <a:effectLst/>
          </c:spPr>
          <c:marker>
            <c:symbol val="none"/>
          </c:marker>
          <c:cat>
            <c:numRef>
              <c:f>'[Diagram i Microsoft PowerPoint]fig.8.2'!$B$3:$Q$3</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Diagram i Microsoft PowerPoint]fig.8.2'!$B$4:$Q$4</c:f>
              <c:numCache>
                <c:formatCode>General</c:formatCode>
                <c:ptCount val="16"/>
                <c:pt idx="0">
                  <c:v>7.9</c:v>
                </c:pt>
                <c:pt idx="1">
                  <c:v>8.1</c:v>
                </c:pt>
                <c:pt idx="2">
                  <c:v>8.1999999999999993</c:v>
                </c:pt>
                <c:pt idx="3">
                  <c:v>8.1</c:v>
                </c:pt>
                <c:pt idx="4">
                  <c:v>7.9</c:v>
                </c:pt>
                <c:pt idx="5">
                  <c:v>7.7</c:v>
                </c:pt>
                <c:pt idx="6">
                  <c:v>7.9</c:v>
                </c:pt>
                <c:pt idx="7">
                  <c:v>8.6</c:v>
                </c:pt>
                <c:pt idx="8">
                  <c:v>9</c:v>
                </c:pt>
                <c:pt idx="9">
                  <c:v>9.3000000000000007</c:v>
                </c:pt>
                <c:pt idx="10">
                  <c:v>9.4</c:v>
                </c:pt>
                <c:pt idx="11">
                  <c:v>9.6</c:v>
                </c:pt>
                <c:pt idx="12">
                  <c:v>9.8000000000000007</c:v>
                </c:pt>
                <c:pt idx="13">
                  <c:v>10.1</c:v>
                </c:pt>
                <c:pt idx="14">
                  <c:v>10.1</c:v>
                </c:pt>
                <c:pt idx="15" formatCode="0.0">
                  <c:v>9.9</c:v>
                </c:pt>
              </c:numCache>
            </c:numRef>
          </c:val>
          <c:smooth val="0"/>
          <c:extLst>
            <c:ext xmlns:c16="http://schemas.microsoft.com/office/drawing/2014/chart" uri="{C3380CC4-5D6E-409C-BE32-E72D297353CC}">
              <c16:uniqueId val="{00000000-6FB7-48C6-AFE8-A0B3B9C941DC}"/>
            </c:ext>
          </c:extLst>
        </c:ser>
        <c:dLbls>
          <c:showLegendKey val="0"/>
          <c:showVal val="0"/>
          <c:showCatName val="0"/>
          <c:showSerName val="0"/>
          <c:showPercent val="0"/>
          <c:showBubbleSize val="0"/>
        </c:dLbls>
        <c:smooth val="0"/>
        <c:axId val="724209232"/>
        <c:axId val="724205624"/>
      </c:lineChart>
      <c:catAx>
        <c:axId val="72420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nb-NO"/>
          </a:p>
        </c:txPr>
        <c:crossAx val="724205624"/>
        <c:crosses val="autoZero"/>
        <c:auto val="1"/>
        <c:lblAlgn val="ctr"/>
        <c:lblOffset val="100"/>
        <c:noMultiLvlLbl val="0"/>
      </c:catAx>
      <c:valAx>
        <c:axId val="724205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nb-NO"/>
          </a:p>
        </c:txPr>
        <c:crossAx val="724209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000000"/>
          </a:solidFill>
        </a:defRPr>
      </a:pPr>
      <a:endParaRPr lang="nb-NO"/>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fig.8.2'!$A$4</c:f>
              <c:strCache>
                <c:ptCount val="1"/>
                <c:pt idx="0">
                  <c:v>Alle aldre</c:v>
                </c:pt>
              </c:strCache>
            </c:strRef>
          </c:tx>
          <c:spPr>
            <a:ln w="28575" cap="rnd">
              <a:solidFill>
                <a:srgbClr val="C00000"/>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4:$Q$4</c:f>
              <c:numCache>
                <c:formatCode>General</c:formatCode>
                <c:ptCount val="16"/>
                <c:pt idx="0">
                  <c:v>7.9</c:v>
                </c:pt>
                <c:pt idx="1">
                  <c:v>8.1</c:v>
                </c:pt>
                <c:pt idx="2">
                  <c:v>8.1999999999999993</c:v>
                </c:pt>
                <c:pt idx="3">
                  <c:v>8.1</c:v>
                </c:pt>
                <c:pt idx="4">
                  <c:v>7.9</c:v>
                </c:pt>
                <c:pt idx="5">
                  <c:v>7.7</c:v>
                </c:pt>
                <c:pt idx="6">
                  <c:v>7.9</c:v>
                </c:pt>
                <c:pt idx="7">
                  <c:v>8.6</c:v>
                </c:pt>
                <c:pt idx="8">
                  <c:v>9</c:v>
                </c:pt>
                <c:pt idx="9">
                  <c:v>9.3000000000000007</c:v>
                </c:pt>
                <c:pt idx="10">
                  <c:v>9.4</c:v>
                </c:pt>
                <c:pt idx="11">
                  <c:v>9.6</c:v>
                </c:pt>
                <c:pt idx="12">
                  <c:v>9.8000000000000007</c:v>
                </c:pt>
                <c:pt idx="13">
                  <c:v>10.1</c:v>
                </c:pt>
                <c:pt idx="14">
                  <c:v>10.1</c:v>
                </c:pt>
                <c:pt idx="15" formatCode="0.0">
                  <c:v>9.9</c:v>
                </c:pt>
              </c:numCache>
            </c:numRef>
          </c:val>
          <c:smooth val="0"/>
          <c:extLst>
            <c:ext xmlns:c16="http://schemas.microsoft.com/office/drawing/2014/chart" uri="{C3380CC4-5D6E-409C-BE32-E72D297353CC}">
              <c16:uniqueId val="{00000000-F128-459B-B4E5-7DC04AF3EFFB}"/>
            </c:ext>
          </c:extLst>
        </c:ser>
        <c:ser>
          <c:idx val="1"/>
          <c:order val="1"/>
          <c:tx>
            <c:strRef>
              <c:f>'fig.8.2'!$A$5</c:f>
              <c:strCache>
                <c:ptCount val="1"/>
                <c:pt idx="0">
                  <c:v>0-17 år</c:v>
                </c:pt>
              </c:strCache>
            </c:strRef>
          </c:tx>
          <c:spPr>
            <a:ln w="28575" cap="rnd">
              <a:solidFill>
                <a:schemeClr val="accent2"/>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5:$Q$5</c:f>
              <c:numCache>
                <c:formatCode>General</c:formatCode>
                <c:ptCount val="16"/>
                <c:pt idx="0">
                  <c:v>7</c:v>
                </c:pt>
                <c:pt idx="1">
                  <c:v>7.3</c:v>
                </c:pt>
                <c:pt idx="2">
                  <c:v>7.6</c:v>
                </c:pt>
                <c:pt idx="3">
                  <c:v>7.7</c:v>
                </c:pt>
                <c:pt idx="4">
                  <c:v>7.7</c:v>
                </c:pt>
                <c:pt idx="5">
                  <c:v>7.6</c:v>
                </c:pt>
                <c:pt idx="6">
                  <c:v>8</c:v>
                </c:pt>
                <c:pt idx="7">
                  <c:v>8.6</c:v>
                </c:pt>
                <c:pt idx="8">
                  <c:v>9.4</c:v>
                </c:pt>
                <c:pt idx="9">
                  <c:v>10</c:v>
                </c:pt>
                <c:pt idx="10">
                  <c:v>10.3</c:v>
                </c:pt>
                <c:pt idx="11">
                  <c:v>10.7</c:v>
                </c:pt>
                <c:pt idx="12">
                  <c:v>11.3</c:v>
                </c:pt>
                <c:pt idx="13">
                  <c:v>11.7</c:v>
                </c:pt>
                <c:pt idx="14">
                  <c:v>11.7</c:v>
                </c:pt>
                <c:pt idx="15" formatCode="0.0">
                  <c:v>11.3</c:v>
                </c:pt>
              </c:numCache>
            </c:numRef>
          </c:val>
          <c:smooth val="0"/>
          <c:extLst>
            <c:ext xmlns:c16="http://schemas.microsoft.com/office/drawing/2014/chart" uri="{C3380CC4-5D6E-409C-BE32-E72D297353CC}">
              <c16:uniqueId val="{00000001-F128-459B-B4E5-7DC04AF3EFFB}"/>
            </c:ext>
          </c:extLst>
        </c:ser>
        <c:ser>
          <c:idx val="2"/>
          <c:order val="2"/>
          <c:tx>
            <c:strRef>
              <c:f>'fig.8.2'!$A$6</c:f>
              <c:strCache>
                <c:ptCount val="1"/>
                <c:pt idx="0">
                  <c:v>18-34 år</c:v>
                </c:pt>
              </c:strCache>
            </c:strRef>
          </c:tx>
          <c:spPr>
            <a:ln w="28575" cap="rnd">
              <a:solidFill>
                <a:srgbClr val="002060"/>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6:$Q$6</c:f>
              <c:numCache>
                <c:formatCode>General</c:formatCode>
                <c:ptCount val="16"/>
                <c:pt idx="0">
                  <c:v>9.6</c:v>
                </c:pt>
                <c:pt idx="1">
                  <c:v>9.9</c:v>
                </c:pt>
                <c:pt idx="2">
                  <c:v>10.3</c:v>
                </c:pt>
                <c:pt idx="3">
                  <c:v>10.7</c:v>
                </c:pt>
                <c:pt idx="4">
                  <c:v>11.1</c:v>
                </c:pt>
                <c:pt idx="5">
                  <c:v>11.4</c:v>
                </c:pt>
                <c:pt idx="6">
                  <c:v>12.2</c:v>
                </c:pt>
                <c:pt idx="7">
                  <c:v>13.8</c:v>
                </c:pt>
                <c:pt idx="8">
                  <c:v>14</c:v>
                </c:pt>
                <c:pt idx="9">
                  <c:v>14.1</c:v>
                </c:pt>
                <c:pt idx="10">
                  <c:v>14.3</c:v>
                </c:pt>
                <c:pt idx="11">
                  <c:v>14.4</c:v>
                </c:pt>
                <c:pt idx="12">
                  <c:v>14.7</c:v>
                </c:pt>
                <c:pt idx="13">
                  <c:v>14.8</c:v>
                </c:pt>
                <c:pt idx="14">
                  <c:v>14.5</c:v>
                </c:pt>
                <c:pt idx="15" formatCode="0.0">
                  <c:v>14.1</c:v>
                </c:pt>
              </c:numCache>
            </c:numRef>
          </c:val>
          <c:smooth val="0"/>
          <c:extLst>
            <c:ext xmlns:c16="http://schemas.microsoft.com/office/drawing/2014/chart" uri="{C3380CC4-5D6E-409C-BE32-E72D297353CC}">
              <c16:uniqueId val="{00000002-F128-459B-B4E5-7DC04AF3EFFB}"/>
            </c:ext>
          </c:extLst>
        </c:ser>
        <c:ser>
          <c:idx val="3"/>
          <c:order val="3"/>
          <c:tx>
            <c:strRef>
              <c:f>'fig.8.2'!$A$7</c:f>
              <c:strCache>
                <c:ptCount val="1"/>
                <c:pt idx="0">
                  <c:v>35-49 år</c:v>
                </c:pt>
              </c:strCache>
            </c:strRef>
          </c:tx>
          <c:spPr>
            <a:ln w="28575" cap="rnd">
              <a:solidFill>
                <a:schemeClr val="accent4"/>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7:$Q$7</c:f>
              <c:numCache>
                <c:formatCode>General</c:formatCode>
                <c:ptCount val="16"/>
                <c:pt idx="0">
                  <c:v>5.5</c:v>
                </c:pt>
                <c:pt idx="1">
                  <c:v>5.7</c:v>
                </c:pt>
                <c:pt idx="2">
                  <c:v>5.9</c:v>
                </c:pt>
                <c:pt idx="3">
                  <c:v>5.9</c:v>
                </c:pt>
                <c:pt idx="4">
                  <c:v>5.9</c:v>
                </c:pt>
                <c:pt idx="5">
                  <c:v>5.9</c:v>
                </c:pt>
                <c:pt idx="6">
                  <c:v>6.2</c:v>
                </c:pt>
                <c:pt idx="7">
                  <c:v>6.7</c:v>
                </c:pt>
                <c:pt idx="8">
                  <c:v>7.2</c:v>
                </c:pt>
                <c:pt idx="9">
                  <c:v>7.8</c:v>
                </c:pt>
                <c:pt idx="10">
                  <c:v>8</c:v>
                </c:pt>
                <c:pt idx="11">
                  <c:v>8.3000000000000007</c:v>
                </c:pt>
                <c:pt idx="12">
                  <c:v>8.6</c:v>
                </c:pt>
                <c:pt idx="13">
                  <c:v>9.1</c:v>
                </c:pt>
                <c:pt idx="14">
                  <c:v>9.1999999999999993</c:v>
                </c:pt>
                <c:pt idx="15" formatCode="0.0">
                  <c:v>9.1</c:v>
                </c:pt>
              </c:numCache>
            </c:numRef>
          </c:val>
          <c:smooth val="0"/>
          <c:extLst>
            <c:ext xmlns:c16="http://schemas.microsoft.com/office/drawing/2014/chart" uri="{C3380CC4-5D6E-409C-BE32-E72D297353CC}">
              <c16:uniqueId val="{00000003-F128-459B-B4E5-7DC04AF3EFFB}"/>
            </c:ext>
          </c:extLst>
        </c:ser>
        <c:ser>
          <c:idx val="4"/>
          <c:order val="4"/>
          <c:tx>
            <c:strRef>
              <c:f>'fig.8.2'!$A$8</c:f>
              <c:strCache>
                <c:ptCount val="1"/>
                <c:pt idx="0">
                  <c:v>50-66 år</c:v>
                </c:pt>
              </c:strCache>
            </c:strRef>
          </c:tx>
          <c:spPr>
            <a:ln w="28575" cap="rnd">
              <a:solidFill>
                <a:schemeClr val="accent5"/>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8:$Q$8</c:f>
              <c:numCache>
                <c:formatCode>General</c:formatCode>
                <c:ptCount val="16"/>
                <c:pt idx="0">
                  <c:v>4.5</c:v>
                </c:pt>
                <c:pt idx="1">
                  <c:v>4.5999999999999996</c:v>
                </c:pt>
                <c:pt idx="2">
                  <c:v>4.8</c:v>
                </c:pt>
                <c:pt idx="3">
                  <c:v>4.8</c:v>
                </c:pt>
                <c:pt idx="4">
                  <c:v>4.5999999999999996</c:v>
                </c:pt>
                <c:pt idx="5">
                  <c:v>4.4000000000000004</c:v>
                </c:pt>
                <c:pt idx="6">
                  <c:v>4.5</c:v>
                </c:pt>
                <c:pt idx="7">
                  <c:v>4.8</c:v>
                </c:pt>
                <c:pt idx="8">
                  <c:v>5.0999999999999996</c:v>
                </c:pt>
                <c:pt idx="9">
                  <c:v>5.3</c:v>
                </c:pt>
                <c:pt idx="10">
                  <c:v>5.4</c:v>
                </c:pt>
                <c:pt idx="11">
                  <c:v>5.5</c:v>
                </c:pt>
                <c:pt idx="12">
                  <c:v>5.8</c:v>
                </c:pt>
                <c:pt idx="13">
                  <c:v>6</c:v>
                </c:pt>
                <c:pt idx="14">
                  <c:v>6.3</c:v>
                </c:pt>
                <c:pt idx="15" formatCode="0.0">
                  <c:v>6.3</c:v>
                </c:pt>
              </c:numCache>
            </c:numRef>
          </c:val>
          <c:smooth val="0"/>
          <c:extLst>
            <c:ext xmlns:c16="http://schemas.microsoft.com/office/drawing/2014/chart" uri="{C3380CC4-5D6E-409C-BE32-E72D297353CC}">
              <c16:uniqueId val="{00000004-F128-459B-B4E5-7DC04AF3EFFB}"/>
            </c:ext>
          </c:extLst>
        </c:ser>
        <c:ser>
          <c:idx val="5"/>
          <c:order val="5"/>
          <c:tx>
            <c:strRef>
              <c:f>'fig.8.2'!$A$9</c:f>
              <c:strCache>
                <c:ptCount val="1"/>
                <c:pt idx="0">
                  <c:v>67 år eller eldre</c:v>
                </c:pt>
              </c:strCache>
            </c:strRef>
          </c:tx>
          <c:spPr>
            <a:ln w="28575" cap="rnd">
              <a:solidFill>
                <a:schemeClr val="accent6"/>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9:$Q$9</c:f>
              <c:numCache>
                <c:formatCode>General</c:formatCode>
                <c:ptCount val="16"/>
                <c:pt idx="0">
                  <c:v>16.899999999999999</c:v>
                </c:pt>
                <c:pt idx="1">
                  <c:v>16.5</c:v>
                </c:pt>
                <c:pt idx="2">
                  <c:v>15.8</c:v>
                </c:pt>
                <c:pt idx="3">
                  <c:v>14.6</c:v>
                </c:pt>
                <c:pt idx="4">
                  <c:v>12.8</c:v>
                </c:pt>
                <c:pt idx="5">
                  <c:v>11.1</c:v>
                </c:pt>
                <c:pt idx="6">
                  <c:v>10.1</c:v>
                </c:pt>
                <c:pt idx="7">
                  <c:v>9.9</c:v>
                </c:pt>
                <c:pt idx="8">
                  <c:v>9.6</c:v>
                </c:pt>
                <c:pt idx="9">
                  <c:v>9.3000000000000007</c:v>
                </c:pt>
                <c:pt idx="10">
                  <c:v>9.1</c:v>
                </c:pt>
                <c:pt idx="11">
                  <c:v>9</c:v>
                </c:pt>
                <c:pt idx="12">
                  <c:v>8.9</c:v>
                </c:pt>
                <c:pt idx="13">
                  <c:v>8.9</c:v>
                </c:pt>
                <c:pt idx="14">
                  <c:v>8.9</c:v>
                </c:pt>
                <c:pt idx="15" formatCode="0.0">
                  <c:v>8.9</c:v>
                </c:pt>
              </c:numCache>
            </c:numRef>
          </c:val>
          <c:smooth val="0"/>
          <c:extLst>
            <c:ext xmlns:c16="http://schemas.microsoft.com/office/drawing/2014/chart" uri="{C3380CC4-5D6E-409C-BE32-E72D297353CC}">
              <c16:uniqueId val="{00000005-F128-459B-B4E5-7DC04AF3EFFB}"/>
            </c:ext>
          </c:extLst>
        </c:ser>
        <c:dLbls>
          <c:showLegendKey val="0"/>
          <c:showVal val="0"/>
          <c:showCatName val="0"/>
          <c:showSerName val="0"/>
          <c:showPercent val="0"/>
          <c:showBubbleSize val="0"/>
        </c:dLbls>
        <c:smooth val="0"/>
        <c:axId val="724209232"/>
        <c:axId val="724205624"/>
      </c:lineChart>
      <c:catAx>
        <c:axId val="72420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724205624"/>
        <c:crosses val="autoZero"/>
        <c:auto val="1"/>
        <c:lblAlgn val="ctr"/>
        <c:lblOffset val="100"/>
        <c:noMultiLvlLbl val="0"/>
      </c:catAx>
      <c:valAx>
        <c:axId val="724205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7242092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nb-NO"/>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997133749479298E-2"/>
          <c:y val="3.7417083658125676E-2"/>
          <c:w val="0.80628000304309788"/>
          <c:h val="0.82240497060904028"/>
        </c:manualLayout>
      </c:layout>
      <c:lineChart>
        <c:grouping val="standard"/>
        <c:varyColors val="0"/>
        <c:ser>
          <c:idx val="4"/>
          <c:order val="0"/>
          <c:tx>
            <c:strRef>
              <c:f>'Figur 9.2'!$B$2</c:f>
              <c:strCache>
                <c:ptCount val="1"/>
                <c:pt idx="0">
                  <c:v>Norge</c:v>
                </c:pt>
              </c:strCache>
            </c:strRef>
          </c:tx>
          <c:spPr>
            <a:ln w="28575" cap="rnd">
              <a:solidFill>
                <a:srgbClr val="0067C5"/>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B$3:$B$24</c:f>
              <c:numCache>
                <c:formatCode>0.00</c:formatCode>
                <c:ptCount val="22"/>
                <c:pt idx="0">
                  <c:v>78.69</c:v>
                </c:pt>
                <c:pt idx="1">
                  <c:v>78.89</c:v>
                </c:pt>
                <c:pt idx="2">
                  <c:v>78.959999999999994</c:v>
                </c:pt>
                <c:pt idx="3">
                  <c:v>79.53</c:v>
                </c:pt>
                <c:pt idx="4">
                  <c:v>79.97</c:v>
                </c:pt>
                <c:pt idx="5">
                  <c:v>80.17</c:v>
                </c:pt>
                <c:pt idx="6">
                  <c:v>80.44</c:v>
                </c:pt>
                <c:pt idx="7">
                  <c:v>80.5</c:v>
                </c:pt>
                <c:pt idx="8">
                  <c:v>80.680000000000007</c:v>
                </c:pt>
                <c:pt idx="9">
                  <c:v>80.86</c:v>
                </c:pt>
                <c:pt idx="10">
                  <c:v>81.040000000000006</c:v>
                </c:pt>
                <c:pt idx="11">
                  <c:v>81.239999999999995</c:v>
                </c:pt>
                <c:pt idx="12">
                  <c:v>81.45</c:v>
                </c:pt>
                <c:pt idx="13">
                  <c:v>81.66</c:v>
                </c:pt>
                <c:pt idx="14">
                  <c:v>82.09</c:v>
                </c:pt>
                <c:pt idx="15">
                  <c:v>82.28</c:v>
                </c:pt>
                <c:pt idx="16">
                  <c:v>82.42</c:v>
                </c:pt>
                <c:pt idx="17">
                  <c:v>82.63</c:v>
                </c:pt>
                <c:pt idx="18">
                  <c:v>82.77</c:v>
                </c:pt>
                <c:pt idx="19">
                  <c:v>82.96</c:v>
                </c:pt>
                <c:pt idx="20">
                  <c:v>83.2</c:v>
                </c:pt>
                <c:pt idx="21">
                  <c:v>83.17</c:v>
                </c:pt>
              </c:numCache>
            </c:numRef>
          </c:val>
          <c:smooth val="0"/>
          <c:extLst>
            <c:ext xmlns:c16="http://schemas.microsoft.com/office/drawing/2014/chart" uri="{C3380CC4-5D6E-409C-BE32-E72D297353CC}">
              <c16:uniqueId val="{00000000-112B-4D6A-865E-93F52E3FD547}"/>
            </c:ext>
          </c:extLst>
        </c:ser>
        <c:ser>
          <c:idx val="2"/>
          <c:order val="1"/>
          <c:tx>
            <c:strRef>
              <c:f>'Figur 9.2'!$F$2</c:f>
              <c:strCache>
                <c:ptCount val="1"/>
                <c:pt idx="0">
                  <c:v>Island</c:v>
                </c:pt>
              </c:strCache>
            </c:strRef>
          </c:tx>
          <c:spPr>
            <a:ln w="28575" cap="rnd">
              <a:solidFill>
                <a:srgbClr val="0067C5">
                  <a:lumMod val="50000"/>
                </a:srgbClr>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F$3:$F$24</c:f>
              <c:numCache>
                <c:formatCode>0.00</c:formatCode>
                <c:ptCount val="22"/>
                <c:pt idx="0">
                  <c:v>79.7</c:v>
                </c:pt>
                <c:pt idx="1">
                  <c:v>80.569999999999993</c:v>
                </c:pt>
                <c:pt idx="2">
                  <c:v>80.430000000000007</c:v>
                </c:pt>
                <c:pt idx="3">
                  <c:v>81.010000000000005</c:v>
                </c:pt>
                <c:pt idx="4">
                  <c:v>80.900000000000006</c:v>
                </c:pt>
                <c:pt idx="5">
                  <c:v>81.37</c:v>
                </c:pt>
                <c:pt idx="6">
                  <c:v>81.08</c:v>
                </c:pt>
                <c:pt idx="7">
                  <c:v>81.25</c:v>
                </c:pt>
                <c:pt idx="8">
                  <c:v>81.42</c:v>
                </c:pt>
                <c:pt idx="9">
                  <c:v>81.62</c:v>
                </c:pt>
                <c:pt idx="10">
                  <c:v>81.77</c:v>
                </c:pt>
                <c:pt idx="11">
                  <c:v>82.18</c:v>
                </c:pt>
                <c:pt idx="12">
                  <c:v>82.63</c:v>
                </c:pt>
                <c:pt idx="13">
                  <c:v>81.94</c:v>
                </c:pt>
                <c:pt idx="14">
                  <c:v>82.65</c:v>
                </c:pt>
                <c:pt idx="15">
                  <c:v>82.37</c:v>
                </c:pt>
                <c:pt idx="16">
                  <c:v>82.06</c:v>
                </c:pt>
                <c:pt idx="17">
                  <c:v>82.4</c:v>
                </c:pt>
                <c:pt idx="18">
                  <c:v>82.65</c:v>
                </c:pt>
                <c:pt idx="19">
                  <c:v>83.01</c:v>
                </c:pt>
                <c:pt idx="20">
                  <c:v>82.88</c:v>
                </c:pt>
              </c:numCache>
            </c:numRef>
          </c:val>
          <c:smooth val="0"/>
          <c:extLst>
            <c:ext xmlns:c16="http://schemas.microsoft.com/office/drawing/2014/chart" uri="{C3380CC4-5D6E-409C-BE32-E72D297353CC}">
              <c16:uniqueId val="{00000001-112B-4D6A-865E-93F52E3FD547}"/>
            </c:ext>
          </c:extLst>
        </c:ser>
        <c:ser>
          <c:idx val="0"/>
          <c:order val="2"/>
          <c:tx>
            <c:strRef>
              <c:f>'Figur 9.2'!$C$2</c:f>
              <c:strCache>
                <c:ptCount val="1"/>
                <c:pt idx="0">
                  <c:v>Sverige</c:v>
                </c:pt>
              </c:strCache>
            </c:strRef>
          </c:tx>
          <c:spPr>
            <a:ln w="28575" cap="rnd">
              <a:solidFill>
                <a:srgbClr val="FFFF00"/>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C$3:$C$24</c:f>
              <c:numCache>
                <c:formatCode>0.00</c:formatCode>
                <c:ptCount val="22"/>
                <c:pt idx="0">
                  <c:v>79.739999999999995</c:v>
                </c:pt>
                <c:pt idx="1">
                  <c:v>79.84</c:v>
                </c:pt>
                <c:pt idx="2">
                  <c:v>79.94</c:v>
                </c:pt>
                <c:pt idx="3">
                  <c:v>80.19</c:v>
                </c:pt>
                <c:pt idx="4">
                  <c:v>80.55</c:v>
                </c:pt>
                <c:pt idx="5">
                  <c:v>80.62</c:v>
                </c:pt>
                <c:pt idx="6">
                  <c:v>80.83</c:v>
                </c:pt>
                <c:pt idx="7">
                  <c:v>80.97</c:v>
                </c:pt>
                <c:pt idx="8">
                  <c:v>81.14</c:v>
                </c:pt>
                <c:pt idx="9">
                  <c:v>81.37</c:v>
                </c:pt>
                <c:pt idx="10">
                  <c:v>81.52</c:v>
                </c:pt>
                <c:pt idx="11">
                  <c:v>81.760000000000005</c:v>
                </c:pt>
                <c:pt idx="12">
                  <c:v>81.73</c:v>
                </c:pt>
                <c:pt idx="13">
                  <c:v>81.94</c:v>
                </c:pt>
                <c:pt idx="14">
                  <c:v>82.22</c:v>
                </c:pt>
                <c:pt idx="15">
                  <c:v>82.19</c:v>
                </c:pt>
                <c:pt idx="16">
                  <c:v>82.34</c:v>
                </c:pt>
                <c:pt idx="17">
                  <c:v>82.44</c:v>
                </c:pt>
                <c:pt idx="18">
                  <c:v>82.53</c:v>
                </c:pt>
                <c:pt idx="19">
                  <c:v>83.05</c:v>
                </c:pt>
                <c:pt idx="20">
                  <c:v>82.43</c:v>
                </c:pt>
                <c:pt idx="21">
                  <c:v>83.02</c:v>
                </c:pt>
              </c:numCache>
            </c:numRef>
          </c:val>
          <c:smooth val="0"/>
          <c:extLst>
            <c:ext xmlns:c16="http://schemas.microsoft.com/office/drawing/2014/chart" uri="{C3380CC4-5D6E-409C-BE32-E72D297353CC}">
              <c16:uniqueId val="{00000002-112B-4D6A-865E-93F52E3FD547}"/>
            </c:ext>
          </c:extLst>
        </c:ser>
        <c:ser>
          <c:idx val="3"/>
          <c:order val="3"/>
          <c:tx>
            <c:strRef>
              <c:f>'Figur 9.2'!$E$2</c:f>
              <c:strCache>
                <c:ptCount val="1"/>
                <c:pt idx="0">
                  <c:v>Finland</c:v>
                </c:pt>
              </c:strCache>
            </c:strRef>
          </c:tx>
          <c:spPr>
            <a:ln w="28575" cap="rnd">
              <a:solidFill>
                <a:srgbClr val="FFFFFF"/>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E$3:$E$24</c:f>
              <c:numCache>
                <c:formatCode>0.00</c:formatCode>
                <c:ptCount val="22"/>
                <c:pt idx="0">
                  <c:v>77.67</c:v>
                </c:pt>
                <c:pt idx="1">
                  <c:v>78.14</c:v>
                </c:pt>
                <c:pt idx="2">
                  <c:v>78.27</c:v>
                </c:pt>
                <c:pt idx="3">
                  <c:v>78.53</c:v>
                </c:pt>
                <c:pt idx="4">
                  <c:v>78.849999999999994</c:v>
                </c:pt>
                <c:pt idx="5">
                  <c:v>78.97</c:v>
                </c:pt>
                <c:pt idx="6">
                  <c:v>79.37</c:v>
                </c:pt>
                <c:pt idx="7">
                  <c:v>79.39</c:v>
                </c:pt>
                <c:pt idx="8">
                  <c:v>79.7</c:v>
                </c:pt>
                <c:pt idx="9">
                  <c:v>79.83</c:v>
                </c:pt>
                <c:pt idx="10">
                  <c:v>80.010000000000005</c:v>
                </c:pt>
                <c:pt idx="11">
                  <c:v>80.400000000000006</c:v>
                </c:pt>
                <c:pt idx="12">
                  <c:v>80.5</c:v>
                </c:pt>
                <c:pt idx="13">
                  <c:v>80.87</c:v>
                </c:pt>
                <c:pt idx="14">
                  <c:v>81.06</c:v>
                </c:pt>
                <c:pt idx="15">
                  <c:v>81.37</c:v>
                </c:pt>
                <c:pt idx="16">
                  <c:v>81.3</c:v>
                </c:pt>
                <c:pt idx="17">
                  <c:v>81.489999999999995</c:v>
                </c:pt>
                <c:pt idx="18">
                  <c:v>81.63</c:v>
                </c:pt>
                <c:pt idx="19">
                  <c:v>81.88</c:v>
                </c:pt>
                <c:pt idx="20">
                  <c:v>81.84</c:v>
                </c:pt>
                <c:pt idx="21">
                  <c:v>81.81</c:v>
                </c:pt>
              </c:numCache>
            </c:numRef>
          </c:val>
          <c:smooth val="0"/>
          <c:extLst>
            <c:ext xmlns:c16="http://schemas.microsoft.com/office/drawing/2014/chart" uri="{C3380CC4-5D6E-409C-BE32-E72D297353CC}">
              <c16:uniqueId val="{00000003-112B-4D6A-865E-93F52E3FD547}"/>
            </c:ext>
          </c:extLst>
        </c:ser>
        <c:ser>
          <c:idx val="1"/>
          <c:order val="4"/>
          <c:tx>
            <c:strRef>
              <c:f>'Figur 9.2'!$D$2</c:f>
              <c:strCache>
                <c:ptCount val="1"/>
                <c:pt idx="0">
                  <c:v>Danmark</c:v>
                </c:pt>
              </c:strCache>
            </c:strRef>
          </c:tx>
          <c:spPr>
            <a:ln w="28575" cap="rnd">
              <a:solidFill>
                <a:srgbClr val="C30000"/>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D$3:$D$24</c:f>
              <c:numCache>
                <c:formatCode>0.00</c:formatCode>
                <c:ptCount val="22"/>
                <c:pt idx="0">
                  <c:v>76.819999999999993</c:v>
                </c:pt>
                <c:pt idx="1">
                  <c:v>76.98</c:v>
                </c:pt>
                <c:pt idx="2">
                  <c:v>77.099999999999994</c:v>
                </c:pt>
                <c:pt idx="3">
                  <c:v>77.400000000000006</c:v>
                </c:pt>
                <c:pt idx="4">
                  <c:v>77.790000000000006</c:v>
                </c:pt>
                <c:pt idx="5">
                  <c:v>78.23</c:v>
                </c:pt>
                <c:pt idx="6">
                  <c:v>78.22</c:v>
                </c:pt>
                <c:pt idx="7">
                  <c:v>78.349999999999994</c:v>
                </c:pt>
                <c:pt idx="8">
                  <c:v>78.72</c:v>
                </c:pt>
                <c:pt idx="9">
                  <c:v>78.959999999999994</c:v>
                </c:pt>
                <c:pt idx="10">
                  <c:v>79.239999999999995</c:v>
                </c:pt>
                <c:pt idx="11">
                  <c:v>79.790000000000006</c:v>
                </c:pt>
                <c:pt idx="12">
                  <c:v>80.09</c:v>
                </c:pt>
                <c:pt idx="13">
                  <c:v>80.31</c:v>
                </c:pt>
                <c:pt idx="14">
                  <c:v>80.64</c:v>
                </c:pt>
                <c:pt idx="15">
                  <c:v>80.75</c:v>
                </c:pt>
                <c:pt idx="16">
                  <c:v>80.88</c:v>
                </c:pt>
                <c:pt idx="17">
                  <c:v>81.11</c:v>
                </c:pt>
                <c:pt idx="18">
                  <c:v>80.989999999999995</c:v>
                </c:pt>
                <c:pt idx="19">
                  <c:v>81.430000000000007</c:v>
                </c:pt>
                <c:pt idx="20">
                  <c:v>81.55</c:v>
                </c:pt>
                <c:pt idx="21">
                  <c:v>81.44</c:v>
                </c:pt>
              </c:numCache>
            </c:numRef>
          </c:val>
          <c:smooth val="0"/>
          <c:extLst>
            <c:ext xmlns:c16="http://schemas.microsoft.com/office/drawing/2014/chart" uri="{C3380CC4-5D6E-409C-BE32-E72D297353CC}">
              <c16:uniqueId val="{00000004-112B-4D6A-865E-93F52E3FD547}"/>
            </c:ext>
          </c:extLst>
        </c:ser>
        <c:dLbls>
          <c:showLegendKey val="0"/>
          <c:showVal val="0"/>
          <c:showCatName val="0"/>
          <c:showSerName val="0"/>
          <c:showPercent val="0"/>
          <c:showBubbleSize val="0"/>
        </c:dLbls>
        <c:smooth val="0"/>
        <c:axId val="319744008"/>
        <c:axId val="319745648"/>
      </c:lineChart>
      <c:catAx>
        <c:axId val="319744008"/>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319745648"/>
        <c:crosses val="autoZero"/>
        <c:auto val="1"/>
        <c:lblAlgn val="ctr"/>
        <c:lblOffset val="100"/>
        <c:noMultiLvlLbl val="0"/>
      </c:catAx>
      <c:valAx>
        <c:axId val="319745648"/>
        <c:scaling>
          <c:orientation val="minMax"/>
          <c:min val="76"/>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solidFill>
              <a:srgbClr val="000000"/>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319744008"/>
        <c:crosses val="autoZero"/>
        <c:crossBetween val="between"/>
      </c:valAx>
      <c:spPr>
        <a:noFill/>
        <a:ln>
          <a:noFill/>
        </a:ln>
        <a:effectLst/>
      </c:spPr>
    </c:plotArea>
    <c:legend>
      <c:legendPos val="r"/>
      <c:layout>
        <c:manualLayout>
          <c:xMode val="edge"/>
          <c:yMode val="edge"/>
          <c:x val="0.51795315757746296"/>
          <c:y val="0.44812165254343833"/>
          <c:w val="0.31680031570610706"/>
          <c:h val="0.369202026829979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CCDEE6"/>
    </a:solidFill>
    <a:ln w="9525" cap="flat" cmpd="sng" algn="ctr">
      <a:noFill/>
      <a:round/>
    </a:ln>
    <a:effectLst/>
  </c:spPr>
  <c:txPr>
    <a:bodyPr/>
    <a:lstStyle/>
    <a:p>
      <a:pPr>
        <a:defRPr/>
      </a:pPr>
      <a:endParaRPr lang="nb-NO"/>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448544714387746E-2"/>
          <c:y val="3.0428769017980636E-2"/>
          <c:w val="0.93359425616772052"/>
          <c:h val="0.87337014408468649"/>
        </c:manualLayout>
      </c:layout>
      <c:lineChart>
        <c:grouping val="standard"/>
        <c:varyColors val="0"/>
        <c:ser>
          <c:idx val="1"/>
          <c:order val="0"/>
          <c:tx>
            <c:strRef>
              <c:f>'figur 9.1'!$B$30</c:f>
              <c:strCache>
                <c:ptCount val="1"/>
                <c:pt idx="0">
                  <c:v>Forventet levealder</c:v>
                </c:pt>
              </c:strCache>
            </c:strRef>
          </c:tx>
          <c:spPr>
            <a:ln>
              <a:solidFill>
                <a:schemeClr val="accent1"/>
              </a:solidFill>
            </a:ln>
          </c:spPr>
          <c:marker>
            <c:spPr>
              <a:noFill/>
              <a:ln>
                <a:noFill/>
              </a:ln>
            </c:spPr>
          </c:marker>
          <c:cat>
            <c:numRef>
              <c:f>'figur 9.1'!$A$31:$A$66</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1'!$B$31:$B$66</c:f>
              <c:numCache>
                <c:formatCode>0.00</c:formatCode>
                <c:ptCount val="36"/>
                <c:pt idx="0">
                  <c:v>78.69</c:v>
                </c:pt>
                <c:pt idx="1">
                  <c:v>78.89</c:v>
                </c:pt>
                <c:pt idx="2">
                  <c:v>78.97</c:v>
                </c:pt>
                <c:pt idx="3">
                  <c:v>79.540000000000006</c:v>
                </c:pt>
                <c:pt idx="4">
                  <c:v>79.97</c:v>
                </c:pt>
                <c:pt idx="5">
                  <c:v>80.180000000000007</c:v>
                </c:pt>
                <c:pt idx="6">
                  <c:v>80.45</c:v>
                </c:pt>
                <c:pt idx="7">
                  <c:v>80.5</c:v>
                </c:pt>
                <c:pt idx="8">
                  <c:v>80.680000000000007</c:v>
                </c:pt>
                <c:pt idx="9">
                  <c:v>80.86</c:v>
                </c:pt>
                <c:pt idx="10">
                  <c:v>81.040000000000006</c:v>
                </c:pt>
                <c:pt idx="11">
                  <c:v>81.25</c:v>
                </c:pt>
                <c:pt idx="12">
                  <c:v>81.45</c:v>
                </c:pt>
                <c:pt idx="13">
                  <c:v>81.66</c:v>
                </c:pt>
                <c:pt idx="14">
                  <c:v>82.09</c:v>
                </c:pt>
                <c:pt idx="15">
                  <c:v>82.28</c:v>
                </c:pt>
                <c:pt idx="16">
                  <c:v>82.42</c:v>
                </c:pt>
                <c:pt idx="17">
                  <c:v>82.63</c:v>
                </c:pt>
                <c:pt idx="18">
                  <c:v>82.76</c:v>
                </c:pt>
                <c:pt idx="19">
                  <c:v>82.96</c:v>
                </c:pt>
                <c:pt idx="20">
                  <c:v>83.2</c:v>
                </c:pt>
                <c:pt idx="21">
                  <c:v>83.17</c:v>
                </c:pt>
                <c:pt idx="22">
                  <c:v>82.63</c:v>
                </c:pt>
              </c:numCache>
            </c:numRef>
          </c:val>
          <c:smooth val="0"/>
          <c:extLst>
            <c:ext xmlns:c16="http://schemas.microsoft.com/office/drawing/2014/chart" uri="{C3380CC4-5D6E-409C-BE32-E72D297353CC}">
              <c16:uniqueId val="{00000000-6C1E-4E36-BEFD-F292BA9A336F}"/>
            </c:ext>
          </c:extLst>
        </c:ser>
        <c:ser>
          <c:idx val="0"/>
          <c:order val="1"/>
          <c:tx>
            <c:strRef>
              <c:f>'figur 9.1'!$D$30</c:f>
              <c:strCache>
                <c:ptCount val="1"/>
                <c:pt idx="0">
                  <c:v>Forventet antall friske leveår</c:v>
                </c:pt>
              </c:strCache>
            </c:strRef>
          </c:tx>
          <c:spPr>
            <a:ln>
              <a:noFill/>
            </a:ln>
          </c:spPr>
          <c:marker>
            <c:spPr>
              <a:solidFill>
                <a:schemeClr val="accent3"/>
              </a:solidFill>
              <a:ln>
                <a:solidFill>
                  <a:schemeClr val="accent3"/>
                </a:solidFill>
              </a:ln>
            </c:spPr>
          </c:marker>
          <c:trendline>
            <c:spPr>
              <a:ln>
                <a:solidFill>
                  <a:schemeClr val="accent3"/>
                </a:solidFill>
                <a:prstDash val="sysDash"/>
              </a:ln>
            </c:spPr>
            <c:trendlineType val="log"/>
            <c:dispRSqr val="0"/>
            <c:dispEq val="0"/>
          </c:trendline>
          <c:cat>
            <c:numRef>
              <c:f>'figur 9.1'!$A$31:$A$66</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1'!$D$31:$D$66</c:f>
              <c:numCache>
                <c:formatCode>0.00</c:formatCode>
                <c:ptCount val="36"/>
                <c:pt idx="0">
                  <c:v>67.999553317416499</c:v>
                </c:pt>
                <c:pt idx="1">
                  <c:v>68.191581595777805</c:v>
                </c:pt>
                <c:pt idx="2">
                  <c:v>68.352799635516803</c:v>
                </c:pt>
                <c:pt idx="3">
                  <c:v>68.653321828632102</c:v>
                </c:pt>
                <c:pt idx="4">
                  <c:v>68.921962930001499</c:v>
                </c:pt>
                <c:pt idx="5">
                  <c:v>69.141413473981103</c:v>
                </c:pt>
                <c:pt idx="6">
                  <c:v>69.269679118238201</c:v>
                </c:pt>
                <c:pt idx="7">
                  <c:v>69.340526807333603</c:v>
                </c:pt>
                <c:pt idx="8">
                  <c:v>69.4505010566415</c:v>
                </c:pt>
                <c:pt idx="9">
                  <c:v>69.571179110328401</c:v>
                </c:pt>
                <c:pt idx="10">
                  <c:v>69.747542554639196</c:v>
                </c:pt>
                <c:pt idx="11">
                  <c:v>69.770586250397898</c:v>
                </c:pt>
                <c:pt idx="12">
                  <c:v>70.076301612400997</c:v>
                </c:pt>
                <c:pt idx="13">
                  <c:v>70.268559432909498</c:v>
                </c:pt>
                <c:pt idx="14">
                  <c:v>70.567091903364698</c:v>
                </c:pt>
                <c:pt idx="15">
                  <c:v>70.780620983299499</c:v>
                </c:pt>
                <c:pt idx="16">
                  <c:v>70.8240519243558</c:v>
                </c:pt>
                <c:pt idx="17">
                  <c:v>70.970066808951103</c:v>
                </c:pt>
                <c:pt idx="18">
                  <c:v>70.917623763010596</c:v>
                </c:pt>
                <c:pt idx="19">
                  <c:v>70.837303151244498</c:v>
                </c:pt>
              </c:numCache>
            </c:numRef>
          </c:val>
          <c:smooth val="0"/>
          <c:extLst>
            <c:ext xmlns:c16="http://schemas.microsoft.com/office/drawing/2014/chart" uri="{C3380CC4-5D6E-409C-BE32-E72D297353CC}">
              <c16:uniqueId val="{00000002-6C1E-4E36-BEFD-F292BA9A336F}"/>
            </c:ext>
          </c:extLst>
        </c:ser>
        <c:ser>
          <c:idx val="2"/>
          <c:order val="2"/>
          <c:tx>
            <c:strRef>
              <c:f>'figur 9.1'!$C$30</c:f>
              <c:strCache>
                <c:ptCount val="1"/>
                <c:pt idx="0">
                  <c:v>Forventet levealder, framskriving</c:v>
                </c:pt>
              </c:strCache>
            </c:strRef>
          </c:tx>
          <c:spPr>
            <a:ln>
              <a:solidFill>
                <a:schemeClr val="accent1"/>
              </a:solidFill>
              <a:prstDash val="sysDash"/>
            </a:ln>
          </c:spPr>
          <c:marker>
            <c:spPr>
              <a:noFill/>
              <a:ln>
                <a:noFill/>
              </a:ln>
            </c:spPr>
          </c:marker>
          <c:cat>
            <c:numRef>
              <c:f>'figur 9.1'!$A$31:$A$66</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1'!$C$31:$C$66</c:f>
              <c:numCache>
                <c:formatCode>General</c:formatCode>
                <c:ptCount val="36"/>
                <c:pt idx="21" formatCode="0.0">
                  <c:v>83.1</c:v>
                </c:pt>
                <c:pt idx="22" formatCode="0.0">
                  <c:v>83.4</c:v>
                </c:pt>
                <c:pt idx="23" formatCode="0.0">
                  <c:v>83.6</c:v>
                </c:pt>
                <c:pt idx="24" formatCode="0.0">
                  <c:v>83.8</c:v>
                </c:pt>
                <c:pt idx="25" formatCode="0.0">
                  <c:v>84.1</c:v>
                </c:pt>
                <c:pt idx="26" formatCode="0.0">
                  <c:v>84.3</c:v>
                </c:pt>
                <c:pt idx="27" formatCode="0.0">
                  <c:v>84.5</c:v>
                </c:pt>
                <c:pt idx="28" formatCode="0.0">
                  <c:v>84.7</c:v>
                </c:pt>
                <c:pt idx="29" formatCode="0.0">
                  <c:v>84.9</c:v>
                </c:pt>
                <c:pt idx="30" formatCode="0.0">
                  <c:v>85.1</c:v>
                </c:pt>
                <c:pt idx="31" formatCode="0.0">
                  <c:v>85.3</c:v>
                </c:pt>
                <c:pt idx="32" formatCode="0.0">
                  <c:v>85.5</c:v>
                </c:pt>
                <c:pt idx="33" formatCode="0.0">
                  <c:v>85.7</c:v>
                </c:pt>
                <c:pt idx="34" formatCode="0.0">
                  <c:v>85.8</c:v>
                </c:pt>
                <c:pt idx="35" formatCode="0.0">
                  <c:v>86</c:v>
                </c:pt>
              </c:numCache>
            </c:numRef>
          </c:val>
          <c:smooth val="0"/>
          <c:extLst>
            <c:ext xmlns:c16="http://schemas.microsoft.com/office/drawing/2014/chart" uri="{C3380CC4-5D6E-409C-BE32-E72D297353CC}">
              <c16:uniqueId val="{00000003-6C1E-4E36-BEFD-F292BA9A336F}"/>
            </c:ext>
          </c:extLst>
        </c:ser>
        <c:dLbls>
          <c:showLegendKey val="0"/>
          <c:showVal val="0"/>
          <c:showCatName val="0"/>
          <c:showSerName val="0"/>
          <c:showPercent val="0"/>
          <c:showBubbleSize val="0"/>
        </c:dLbls>
        <c:marker val="1"/>
        <c:smooth val="0"/>
        <c:axId val="180177536"/>
        <c:axId val="180179328"/>
      </c:lineChart>
      <c:catAx>
        <c:axId val="180177536"/>
        <c:scaling>
          <c:orientation val="minMax"/>
        </c:scaling>
        <c:delete val="0"/>
        <c:axPos val="b"/>
        <c:numFmt formatCode="General" sourceLinked="1"/>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80179328"/>
        <c:crosses val="autoZero"/>
        <c:auto val="1"/>
        <c:lblAlgn val="ctr"/>
        <c:lblOffset val="100"/>
        <c:noMultiLvlLbl val="0"/>
      </c:catAx>
      <c:valAx>
        <c:axId val="180179328"/>
        <c:scaling>
          <c:orientation val="minMax"/>
          <c:min val="60"/>
        </c:scaling>
        <c:delete val="0"/>
        <c:axPos val="l"/>
        <c:majorGridlines>
          <c:spPr>
            <a:ln>
              <a:solidFill>
                <a:schemeClr val="bg1">
                  <a:lumMod val="85000"/>
                </a:schemeClr>
              </a:solidFill>
            </a:ln>
          </c:spPr>
        </c:majorGridlines>
        <c:numFmt formatCode="0" sourceLinked="0"/>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80177536"/>
        <c:crosses val="autoZero"/>
        <c:crossBetween val="between"/>
      </c:valAx>
    </c:plotArea>
    <c:legend>
      <c:legendPos val="r"/>
      <c:legendEntry>
        <c:idx val="2"/>
        <c:delete val="1"/>
      </c:legendEntry>
      <c:legendEntry>
        <c:idx val="3"/>
        <c:delete val="1"/>
      </c:legendEntry>
      <c:layout>
        <c:manualLayout>
          <c:xMode val="edge"/>
          <c:yMode val="edge"/>
          <c:x val="0.63925499266556585"/>
          <c:y val="0.19479106682054853"/>
          <c:w val="0.35038272719543334"/>
          <c:h val="0.39714218250421052"/>
        </c:manualLayout>
      </c:layout>
      <c:overlay val="0"/>
      <c:txPr>
        <a:bodyPr/>
        <a:lstStyle/>
        <a:p>
          <a:pPr>
            <a:defRPr sz="1400">
              <a:latin typeface="Arial" panose="020B0604020202020204" pitchFamily="34" charset="0"/>
              <a:cs typeface="Arial" panose="020B0604020202020204" pitchFamily="34" charset="0"/>
            </a:defRPr>
          </a:pPr>
          <a:endParaRPr lang="nb-NO"/>
        </a:p>
      </c:txPr>
    </c:legend>
    <c:plotVisOnly val="1"/>
    <c:dispBlanksAs val="gap"/>
    <c:showDLblsOverMax val="0"/>
  </c:chart>
  <c:spPr>
    <a:ln>
      <a:noFill/>
    </a:ln>
  </c:sp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1"/>
          <c:order val="0"/>
          <c:tx>
            <c:strRef>
              <c:f>'figur 9.4'!$B$5</c:f>
              <c:strCache>
                <c:ptCount val="1"/>
                <c:pt idx="0">
                  <c:v>Kvinner alle aldre</c:v>
                </c:pt>
              </c:strCache>
            </c:strRef>
          </c:tx>
          <c:spPr>
            <a:ln w="28575" cap="rnd">
              <a:solidFill>
                <a:schemeClr val="accent1"/>
              </a:solidFill>
              <a:prstDash val="solid"/>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B$6:$B$41</c:f>
              <c:numCache>
                <c:formatCode>#,##0</c:formatCode>
                <c:ptCount val="36"/>
                <c:pt idx="0">
                  <c:v>28868.684311460602</c:v>
                </c:pt>
                <c:pt idx="1">
                  <c:v>28639.1170863185</c:v>
                </c:pt>
                <c:pt idx="2">
                  <c:v>28468.0664556431</c:v>
                </c:pt>
                <c:pt idx="3">
                  <c:v>28010.1902251723</c:v>
                </c:pt>
                <c:pt idx="4">
                  <c:v>27613.647076678499</c:v>
                </c:pt>
                <c:pt idx="5">
                  <c:v>27303.408664158</c:v>
                </c:pt>
                <c:pt idx="6">
                  <c:v>27182.532318066998</c:v>
                </c:pt>
                <c:pt idx="7">
                  <c:v>27206.0565533638</c:v>
                </c:pt>
                <c:pt idx="8">
                  <c:v>26979.902408676</c:v>
                </c:pt>
                <c:pt idx="9">
                  <c:v>26866.524642779201</c:v>
                </c:pt>
                <c:pt idx="10">
                  <c:v>26636.337697763902</c:v>
                </c:pt>
                <c:pt idx="11">
                  <c:v>26612.831578656202</c:v>
                </c:pt>
                <c:pt idx="12">
                  <c:v>26264.473073578101</c:v>
                </c:pt>
                <c:pt idx="13">
                  <c:v>26033.535244797898</c:v>
                </c:pt>
                <c:pt idx="14">
                  <c:v>25569.300760596201</c:v>
                </c:pt>
                <c:pt idx="15">
                  <c:v>25371.2775016286</c:v>
                </c:pt>
                <c:pt idx="16">
                  <c:v>25496.038898249099</c:v>
                </c:pt>
                <c:pt idx="17">
                  <c:v>25479.4825286132</c:v>
                </c:pt>
                <c:pt idx="18">
                  <c:v>25720.855993049001</c:v>
                </c:pt>
                <c:pt idx="19">
                  <c:v>25947.172546383201</c:v>
                </c:pt>
              </c:numCache>
            </c:numRef>
          </c:val>
          <c:smooth val="0"/>
          <c:extLst>
            <c:ext xmlns:c16="http://schemas.microsoft.com/office/drawing/2014/chart" uri="{C3380CC4-5D6E-409C-BE32-E72D297353CC}">
              <c16:uniqueId val="{00000000-E8F8-4D8B-823D-023344EFBF92}"/>
            </c:ext>
          </c:extLst>
        </c:ser>
        <c:ser>
          <c:idx val="5"/>
          <c:order val="1"/>
          <c:tx>
            <c:strRef>
              <c:f>'figur 9.4'!$C$5</c:f>
              <c:strCache>
                <c:ptCount val="1"/>
                <c:pt idx="0">
                  <c:v>Framskrevet</c:v>
                </c:pt>
              </c:strCache>
            </c:strRef>
          </c:tx>
          <c:spPr>
            <a:ln w="28575" cap="rnd">
              <a:solidFill>
                <a:schemeClr val="accent1"/>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C$6:$C$41</c:f>
              <c:numCache>
                <c:formatCode>General</c:formatCode>
                <c:ptCount val="36"/>
                <c:pt idx="20" formatCode="#,##0">
                  <c:v>26098.179943239604</c:v>
                </c:pt>
                <c:pt idx="21" formatCode="#,##0">
                  <c:v>26060.143021357802</c:v>
                </c:pt>
                <c:pt idx="22" formatCode="#,##0">
                  <c:v>25969.625398673303</c:v>
                </c:pt>
                <c:pt idx="23" formatCode="#,##0">
                  <c:v>25901.913695930703</c:v>
                </c:pt>
                <c:pt idx="24" formatCode="#,##0">
                  <c:v>25901.7711764987</c:v>
                </c:pt>
                <c:pt idx="25" formatCode="#,##0">
                  <c:v>25894.8730058851</c:v>
                </c:pt>
                <c:pt idx="26" formatCode="#,##0">
                  <c:v>25908.970933579101</c:v>
                </c:pt>
                <c:pt idx="27" formatCode="#,##0">
                  <c:v>25945.002306199</c:v>
                </c:pt>
                <c:pt idx="28" formatCode="#,##0">
                  <c:v>25977.509879265399</c:v>
                </c:pt>
                <c:pt idx="29" formatCode="#,##0">
                  <c:v>26013.812091029598</c:v>
                </c:pt>
                <c:pt idx="30" formatCode="#,##0">
                  <c:v>26054.719998433702</c:v>
                </c:pt>
                <c:pt idx="31" formatCode="#,##0">
                  <c:v>26112.141655475301</c:v>
                </c:pt>
                <c:pt idx="32" formatCode="#,##0">
                  <c:v>26165.903005330896</c:v>
                </c:pt>
                <c:pt idx="33" formatCode="#,##0">
                  <c:v>26235.151486833904</c:v>
                </c:pt>
                <c:pt idx="34" formatCode="#,##0">
                  <c:v>26281.740438258301</c:v>
                </c:pt>
                <c:pt idx="35" formatCode="#,##0">
                  <c:v>26332.462739009999</c:v>
                </c:pt>
              </c:numCache>
            </c:numRef>
          </c:val>
          <c:smooth val="0"/>
          <c:extLst>
            <c:ext xmlns:c16="http://schemas.microsoft.com/office/drawing/2014/chart" uri="{C3380CC4-5D6E-409C-BE32-E72D297353CC}">
              <c16:uniqueId val="{00000001-E8F8-4D8B-823D-023344EFBF92}"/>
            </c:ext>
          </c:extLst>
        </c:ser>
        <c:ser>
          <c:idx val="0"/>
          <c:order val="2"/>
          <c:tx>
            <c:strRef>
              <c:f>'figur 9.4'!$D$5</c:f>
              <c:strCache>
                <c:ptCount val="1"/>
                <c:pt idx="0">
                  <c:v>Menn alle aldre</c:v>
                </c:pt>
              </c:strCache>
            </c:strRef>
          </c:tx>
          <c:spPr>
            <a:ln w="28575" cap="rnd">
              <a:solidFill>
                <a:schemeClr val="accent2"/>
              </a:solidFill>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D$6:$D$41</c:f>
              <c:numCache>
                <c:formatCode>#,##0</c:formatCode>
                <c:ptCount val="36"/>
                <c:pt idx="0">
                  <c:v>30337.489106621299</c:v>
                </c:pt>
                <c:pt idx="1">
                  <c:v>29860.6478210487</c:v>
                </c:pt>
                <c:pt idx="2">
                  <c:v>29475.917694609601</c:v>
                </c:pt>
                <c:pt idx="3">
                  <c:v>28836.408817221902</c:v>
                </c:pt>
                <c:pt idx="4">
                  <c:v>28325.840541930302</c:v>
                </c:pt>
                <c:pt idx="5">
                  <c:v>27936.927206229801</c:v>
                </c:pt>
                <c:pt idx="6">
                  <c:v>27709.1027054595</c:v>
                </c:pt>
                <c:pt idx="7">
                  <c:v>27500.150221605199</c:v>
                </c:pt>
                <c:pt idx="8">
                  <c:v>27347.101478197801</c:v>
                </c:pt>
                <c:pt idx="9">
                  <c:v>27032.629425578802</c:v>
                </c:pt>
                <c:pt idx="10">
                  <c:v>26658.8454721903</c:v>
                </c:pt>
                <c:pt idx="11">
                  <c:v>26718.6998478682</c:v>
                </c:pt>
                <c:pt idx="12">
                  <c:v>26093.760744588799</c:v>
                </c:pt>
                <c:pt idx="13">
                  <c:v>25808.571231881298</c:v>
                </c:pt>
                <c:pt idx="14">
                  <c:v>25393.437336060801</c:v>
                </c:pt>
                <c:pt idx="15">
                  <c:v>25051.600513785299</c:v>
                </c:pt>
                <c:pt idx="16">
                  <c:v>24955.962145082602</c:v>
                </c:pt>
                <c:pt idx="17">
                  <c:v>24656.232619619899</c:v>
                </c:pt>
                <c:pt idx="18">
                  <c:v>24865.431856622999</c:v>
                </c:pt>
                <c:pt idx="19">
                  <c:v>25159.2385876398</c:v>
                </c:pt>
              </c:numCache>
            </c:numRef>
          </c:val>
          <c:smooth val="0"/>
          <c:extLst>
            <c:ext xmlns:c16="http://schemas.microsoft.com/office/drawing/2014/chart" uri="{C3380CC4-5D6E-409C-BE32-E72D297353CC}">
              <c16:uniqueId val="{00000002-E8F8-4D8B-823D-023344EFBF92}"/>
            </c:ext>
          </c:extLst>
        </c:ser>
        <c:ser>
          <c:idx val="2"/>
          <c:order val="3"/>
          <c:tx>
            <c:strRef>
              <c:f>'figur 9.4'!$E$5</c:f>
              <c:strCache>
                <c:ptCount val="1"/>
                <c:pt idx="0">
                  <c:v>Framskrevet</c:v>
                </c:pt>
              </c:strCache>
            </c:strRef>
          </c:tx>
          <c:spPr>
            <a:ln w="28575" cap="rnd">
              <a:solidFill>
                <a:schemeClr val="accent2"/>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E$6:$E$41</c:f>
              <c:numCache>
                <c:formatCode>General</c:formatCode>
                <c:ptCount val="36"/>
                <c:pt idx="20" formatCode="#,##0">
                  <c:v>25282.947248385201</c:v>
                </c:pt>
                <c:pt idx="21" formatCode="#,##0">
                  <c:v>25210.0702150777</c:v>
                </c:pt>
                <c:pt idx="22" formatCode="#,##0">
                  <c:v>25047.432289700999</c:v>
                </c:pt>
                <c:pt idx="23" formatCode="#,##0">
                  <c:v>24946.155651241599</c:v>
                </c:pt>
                <c:pt idx="24" formatCode="#,##0">
                  <c:v>24928.4299883366</c:v>
                </c:pt>
                <c:pt idx="25" formatCode="#,##0">
                  <c:v>24909.527060651097</c:v>
                </c:pt>
                <c:pt idx="26" formatCode="#,##0">
                  <c:v>24925.085407749702</c:v>
                </c:pt>
                <c:pt idx="27" formatCode="#,##0">
                  <c:v>24963.338018615101</c:v>
                </c:pt>
                <c:pt idx="28" formatCode="#,##0">
                  <c:v>25002.382312912501</c:v>
                </c:pt>
                <c:pt idx="29" formatCode="#,##0">
                  <c:v>25030.178164780096</c:v>
                </c:pt>
                <c:pt idx="30" formatCode="#,##0">
                  <c:v>25055.059681373397</c:v>
                </c:pt>
                <c:pt idx="31" formatCode="#,##0">
                  <c:v>25094.9204457331</c:v>
                </c:pt>
                <c:pt idx="32" formatCode="#,##0">
                  <c:v>25129.971267725399</c:v>
                </c:pt>
                <c:pt idx="33" formatCode="#,##0">
                  <c:v>25177.417696218301</c:v>
                </c:pt>
                <c:pt idx="34" formatCode="#,##0">
                  <c:v>25201.594801886204</c:v>
                </c:pt>
                <c:pt idx="35" formatCode="#,##0">
                  <c:v>25225.0224619287</c:v>
                </c:pt>
              </c:numCache>
            </c:numRef>
          </c:val>
          <c:smooth val="0"/>
          <c:extLst>
            <c:ext xmlns:c16="http://schemas.microsoft.com/office/drawing/2014/chart" uri="{C3380CC4-5D6E-409C-BE32-E72D297353CC}">
              <c16:uniqueId val="{00000003-E8F8-4D8B-823D-023344EFBF92}"/>
            </c:ext>
          </c:extLst>
        </c:ser>
        <c:ser>
          <c:idx val="3"/>
          <c:order val="4"/>
          <c:tx>
            <c:strRef>
              <c:f>'figur 9.4'!$F$5</c:f>
              <c:strCache>
                <c:ptCount val="1"/>
                <c:pt idx="0">
                  <c:v>Kvinner 20-69 år</c:v>
                </c:pt>
              </c:strCache>
            </c:strRef>
          </c:tx>
          <c:spPr>
            <a:ln w="28575" cap="rnd">
              <a:solidFill>
                <a:schemeClr val="accent3"/>
              </a:solidFill>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F$6:$F$41</c:f>
              <c:numCache>
                <c:formatCode>#,##0</c:formatCode>
                <c:ptCount val="36"/>
                <c:pt idx="0">
                  <c:v>22927.738495161979</c:v>
                </c:pt>
                <c:pt idx="1">
                  <c:v>22792.559930625921</c:v>
                </c:pt>
                <c:pt idx="2">
                  <c:v>22683.028535084697</c:v>
                </c:pt>
                <c:pt idx="3">
                  <c:v>22464.093595153787</c:v>
                </c:pt>
                <c:pt idx="4">
                  <c:v>22370.351543374753</c:v>
                </c:pt>
                <c:pt idx="5">
                  <c:v>22260.820415274862</c:v>
                </c:pt>
                <c:pt idx="6">
                  <c:v>22169.498611585084</c:v>
                </c:pt>
                <c:pt idx="7">
                  <c:v>22247.205056153813</c:v>
                </c:pt>
                <c:pt idx="8">
                  <c:v>22192.629341154177</c:v>
                </c:pt>
                <c:pt idx="9">
                  <c:v>22195.177553943733</c:v>
                </c:pt>
                <c:pt idx="10">
                  <c:v>22140.439348776323</c:v>
                </c:pt>
                <c:pt idx="11">
                  <c:v>22089.962037739071</c:v>
                </c:pt>
                <c:pt idx="12">
                  <c:v>21837.139507992772</c:v>
                </c:pt>
                <c:pt idx="13">
                  <c:v>21724.254729857184</c:v>
                </c:pt>
                <c:pt idx="14">
                  <c:v>21428.569125018501</c:v>
                </c:pt>
                <c:pt idx="15">
                  <c:v>21224.299440294562</c:v>
                </c:pt>
                <c:pt idx="16">
                  <c:v>21275.614112932941</c:v>
                </c:pt>
                <c:pt idx="17">
                  <c:v>21125.852842984998</c:v>
                </c:pt>
                <c:pt idx="18">
                  <c:v>21282.137332126327</c:v>
                </c:pt>
                <c:pt idx="19">
                  <c:v>21679.549455825338</c:v>
                </c:pt>
              </c:numCache>
            </c:numRef>
          </c:val>
          <c:smooth val="0"/>
          <c:extLst>
            <c:ext xmlns:c16="http://schemas.microsoft.com/office/drawing/2014/chart" uri="{C3380CC4-5D6E-409C-BE32-E72D297353CC}">
              <c16:uniqueId val="{00000004-E8F8-4D8B-823D-023344EFBF92}"/>
            </c:ext>
          </c:extLst>
        </c:ser>
        <c:ser>
          <c:idx val="4"/>
          <c:order val="5"/>
          <c:tx>
            <c:strRef>
              <c:f>'figur 9.4'!$G$5</c:f>
              <c:strCache>
                <c:ptCount val="1"/>
                <c:pt idx="0">
                  <c:v>Framskrevet</c:v>
                </c:pt>
              </c:strCache>
            </c:strRef>
          </c:tx>
          <c:spPr>
            <a:ln w="28575" cap="rnd">
              <a:solidFill>
                <a:schemeClr val="accent3"/>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G$6:$G$41</c:f>
              <c:numCache>
                <c:formatCode>General</c:formatCode>
                <c:ptCount val="36"/>
                <c:pt idx="20" formatCode="#,##0">
                  <c:v>21750.543347210252</c:v>
                </c:pt>
                <c:pt idx="21" formatCode="#,##0">
                  <c:v>21615.485905280158</c:v>
                </c:pt>
                <c:pt idx="22" formatCode="#,##0">
                  <c:v>21406.514025038465</c:v>
                </c:pt>
                <c:pt idx="23" formatCode="#,##0">
                  <c:v>21243.33381372198</c:v>
                </c:pt>
                <c:pt idx="24" formatCode="#,##0">
                  <c:v>21163.103969647495</c:v>
                </c:pt>
                <c:pt idx="25" formatCode="#,##0">
                  <c:v>21062.163718521893</c:v>
                </c:pt>
                <c:pt idx="26" formatCode="#,##0">
                  <c:v>20971.413100652328</c:v>
                </c:pt>
                <c:pt idx="27" formatCode="#,##0">
                  <c:v>20889.360210130097</c:v>
                </c:pt>
                <c:pt idx="28" formatCode="#,##0">
                  <c:v>20804.654081688015</c:v>
                </c:pt>
                <c:pt idx="29" formatCode="#,##0">
                  <c:v>20729.897717196363</c:v>
                </c:pt>
                <c:pt idx="30" formatCode="#,##0">
                  <c:v>20657.679639957038</c:v>
                </c:pt>
                <c:pt idx="31" formatCode="#,##0">
                  <c:v>20590.058441133697</c:v>
                </c:pt>
                <c:pt idx="32" formatCode="#,##0">
                  <c:v>20506.75980196106</c:v>
                </c:pt>
                <c:pt idx="33" formatCode="#,##0">
                  <c:v>20445.132441047972</c:v>
                </c:pt>
                <c:pt idx="34" formatCode="#,##0">
                  <c:v>20375.367180085705</c:v>
                </c:pt>
                <c:pt idx="35" formatCode="#,##0">
                  <c:v>20306.642203164611</c:v>
                </c:pt>
              </c:numCache>
            </c:numRef>
          </c:val>
          <c:smooth val="0"/>
          <c:extLst>
            <c:ext xmlns:c16="http://schemas.microsoft.com/office/drawing/2014/chart" uri="{C3380CC4-5D6E-409C-BE32-E72D297353CC}">
              <c16:uniqueId val="{00000005-E8F8-4D8B-823D-023344EFBF92}"/>
            </c:ext>
          </c:extLst>
        </c:ser>
        <c:ser>
          <c:idx val="6"/>
          <c:order val="6"/>
          <c:tx>
            <c:strRef>
              <c:f>'figur 9.4'!$H$5</c:f>
              <c:strCache>
                <c:ptCount val="1"/>
                <c:pt idx="0">
                  <c:v>Menn 20-69 år</c:v>
                </c:pt>
              </c:strCache>
            </c:strRef>
          </c:tx>
          <c:spPr>
            <a:ln w="28575" cap="rnd">
              <a:solidFill>
                <a:schemeClr val="accent4"/>
              </a:solidFill>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H$6:$H$41</c:f>
              <c:numCache>
                <c:formatCode>#,##0</c:formatCode>
                <c:ptCount val="36"/>
                <c:pt idx="0">
                  <c:v>26294.073351880666</c:v>
                </c:pt>
                <c:pt idx="1">
                  <c:v>25912.859667062843</c:v>
                </c:pt>
                <c:pt idx="2">
                  <c:v>25715.874499169258</c:v>
                </c:pt>
                <c:pt idx="3">
                  <c:v>25376.060963756845</c:v>
                </c:pt>
                <c:pt idx="4">
                  <c:v>25074.202652631666</c:v>
                </c:pt>
                <c:pt idx="5">
                  <c:v>24771.664847625205</c:v>
                </c:pt>
                <c:pt idx="6">
                  <c:v>24701.8459005726</c:v>
                </c:pt>
                <c:pt idx="7">
                  <c:v>24483.731327758313</c:v>
                </c:pt>
                <c:pt idx="8">
                  <c:v>24442.620804139351</c:v>
                </c:pt>
                <c:pt idx="9">
                  <c:v>24312.227974182246</c:v>
                </c:pt>
                <c:pt idx="10">
                  <c:v>24028.525134521435</c:v>
                </c:pt>
                <c:pt idx="11">
                  <c:v>23994.645701544236</c:v>
                </c:pt>
                <c:pt idx="12">
                  <c:v>23466.052600044331</c:v>
                </c:pt>
                <c:pt idx="13">
                  <c:v>23174.8206426381</c:v>
                </c:pt>
                <c:pt idx="14">
                  <c:v>22652.891175017467</c:v>
                </c:pt>
                <c:pt idx="15">
                  <c:v>22139.848895903961</c:v>
                </c:pt>
                <c:pt idx="16">
                  <c:v>21940.216501002931</c:v>
                </c:pt>
                <c:pt idx="17">
                  <c:v>21508.967381009978</c:v>
                </c:pt>
                <c:pt idx="18">
                  <c:v>21497.821828949473</c:v>
                </c:pt>
                <c:pt idx="19">
                  <c:v>21569.413519131747</c:v>
                </c:pt>
              </c:numCache>
            </c:numRef>
          </c:val>
          <c:smooth val="0"/>
          <c:extLst>
            <c:ext xmlns:c16="http://schemas.microsoft.com/office/drawing/2014/chart" uri="{C3380CC4-5D6E-409C-BE32-E72D297353CC}">
              <c16:uniqueId val="{00000006-E8F8-4D8B-823D-023344EFBF92}"/>
            </c:ext>
          </c:extLst>
        </c:ser>
        <c:ser>
          <c:idx val="7"/>
          <c:order val="7"/>
          <c:tx>
            <c:strRef>
              <c:f>'figur 9.4'!$I$5</c:f>
              <c:strCache>
                <c:ptCount val="1"/>
                <c:pt idx="0">
                  <c:v>Framskrevet</c:v>
                </c:pt>
              </c:strCache>
            </c:strRef>
          </c:tx>
          <c:spPr>
            <a:ln w="28575" cap="rnd">
              <a:solidFill>
                <a:schemeClr val="accent4"/>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I$6:$I$41</c:f>
              <c:numCache>
                <c:formatCode>General</c:formatCode>
                <c:ptCount val="36"/>
                <c:pt idx="20" formatCode="#,##0">
                  <c:v>21533.283849554042</c:v>
                </c:pt>
                <c:pt idx="21" formatCode="#,##0">
                  <c:v>21292.153953259687</c:v>
                </c:pt>
                <c:pt idx="22" formatCode="#,##0">
                  <c:v>20938.07955175767</c:v>
                </c:pt>
                <c:pt idx="23" formatCode="#,##0">
                  <c:v>20668.818695979578</c:v>
                </c:pt>
                <c:pt idx="24" formatCode="#,##0">
                  <c:v>20501.305702162277</c:v>
                </c:pt>
                <c:pt idx="25" formatCode="#,##0">
                  <c:v>20325.66857569831</c:v>
                </c:pt>
                <c:pt idx="26" formatCode="#,##0">
                  <c:v>20166.675231798228</c:v>
                </c:pt>
                <c:pt idx="27" formatCode="#,##0">
                  <c:v>20020.861687475324</c:v>
                </c:pt>
                <c:pt idx="28" formatCode="#,##0">
                  <c:v>19888.801547278727</c:v>
                </c:pt>
                <c:pt idx="29" formatCode="#,##0">
                  <c:v>19763.132740858495</c:v>
                </c:pt>
                <c:pt idx="30" formatCode="#,##0">
                  <c:v>19635.508219471507</c:v>
                </c:pt>
                <c:pt idx="31" formatCode="#,##0">
                  <c:v>19520.458540037169</c:v>
                </c:pt>
                <c:pt idx="32" formatCode="#,##0">
                  <c:v>19406.889307924615</c:v>
                </c:pt>
                <c:pt idx="33" formatCode="#,##0">
                  <c:v>19311.901921385834</c:v>
                </c:pt>
                <c:pt idx="34" formatCode="#,##0">
                  <c:v>19208.457492654841</c:v>
                </c:pt>
                <c:pt idx="35" formatCode="#,##0">
                  <c:v>19096.566139142244</c:v>
                </c:pt>
              </c:numCache>
            </c:numRef>
          </c:val>
          <c:smooth val="0"/>
          <c:extLst>
            <c:ext xmlns:c16="http://schemas.microsoft.com/office/drawing/2014/chart" uri="{C3380CC4-5D6E-409C-BE32-E72D297353CC}">
              <c16:uniqueId val="{00000007-E8F8-4D8B-823D-023344EFBF92}"/>
            </c:ext>
          </c:extLst>
        </c:ser>
        <c:dLbls>
          <c:showLegendKey val="0"/>
          <c:showVal val="0"/>
          <c:showCatName val="0"/>
          <c:showSerName val="0"/>
          <c:showPercent val="0"/>
          <c:showBubbleSize val="0"/>
        </c:dLbls>
        <c:smooth val="0"/>
        <c:axId val="791895024"/>
        <c:axId val="103658624"/>
      </c:lineChart>
      <c:catAx>
        <c:axId val="79189502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103658624"/>
        <c:crosses val="autoZero"/>
        <c:auto val="1"/>
        <c:lblAlgn val="ctr"/>
        <c:lblOffset val="100"/>
        <c:noMultiLvlLbl val="0"/>
      </c:catAx>
      <c:valAx>
        <c:axId val="103658624"/>
        <c:scaling>
          <c:orientation val="minMax"/>
          <c:max val="32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791895024"/>
        <c:crosses val="autoZero"/>
        <c:crossBetween val="between"/>
        <c:majorUnit val="4000"/>
      </c:valAx>
      <c:spPr>
        <a:noFill/>
        <a:ln>
          <a:noFill/>
        </a:ln>
        <a:effectLst/>
      </c:spPr>
    </c:plotArea>
    <c:legend>
      <c:legendPos val="r"/>
      <c:legendEntry>
        <c:idx val="1"/>
        <c:delete val="1"/>
      </c:legendEntry>
      <c:legendEntry>
        <c:idx val="3"/>
        <c:delete val="1"/>
      </c:legendEntry>
      <c:legendEntry>
        <c:idx val="5"/>
        <c:delete val="1"/>
      </c:legendEntry>
      <c:legendEntry>
        <c:idx val="7"/>
        <c:delete val="1"/>
      </c:legendEntry>
      <c:layout>
        <c:manualLayout>
          <c:xMode val="edge"/>
          <c:yMode val="edge"/>
          <c:x val="0.68294722560717602"/>
          <c:y val="2.9293018781957166E-2"/>
          <c:w val="0.31368529627733716"/>
          <c:h val="0.4411304611957676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a:latin typeface="Arial" panose="020B0604020202020204" pitchFamily="34" charset="0"/>
                <a:cs typeface="Arial" panose="020B0604020202020204" pitchFamily="34" charset="0"/>
              </a:defRPr>
            </a:pPr>
            <a:r>
              <a:rPr lang="nb-NO" sz="1200" b="1" noProof="0">
                <a:latin typeface="Arial" panose="020B0604020202020204" pitchFamily="34" charset="0"/>
                <a:cs typeface="Arial" panose="020B0604020202020204" pitchFamily="34" charset="0"/>
              </a:rPr>
              <a:t>Helserelaterte ytelser som</a:t>
            </a:r>
            <a:r>
              <a:rPr lang="nb-NO" sz="1200" b="1" baseline="0" noProof="0">
                <a:latin typeface="Arial" panose="020B0604020202020204" pitchFamily="34" charset="0"/>
                <a:cs typeface="Arial" panose="020B0604020202020204" pitchFamily="34" charset="0"/>
              </a:rPr>
              <a:t> prosentandel av befolkningen 18-66 år</a:t>
            </a:r>
          </a:p>
          <a:p>
            <a:pPr>
              <a:defRPr sz="1200" b="1">
                <a:latin typeface="Arial" panose="020B0604020202020204" pitchFamily="34" charset="0"/>
                <a:cs typeface="Arial" panose="020B0604020202020204" pitchFamily="34" charset="0"/>
              </a:defRPr>
            </a:pPr>
            <a:r>
              <a:rPr lang="nb-NO" sz="1200" b="1" baseline="0" noProof="0">
                <a:latin typeface="Arial" panose="020B0604020202020204" pitchFamily="34" charset="0"/>
                <a:cs typeface="Arial" panose="020B0604020202020204" pitchFamily="34" charset="0"/>
              </a:rPr>
              <a:t>(summen av sykepenger, AAP og uføretrygd)</a:t>
            </a:r>
            <a:endParaRPr lang="nb-NO" sz="1200" b="1" noProof="0">
              <a:latin typeface="Arial" panose="020B0604020202020204" pitchFamily="34" charset="0"/>
              <a:cs typeface="Arial" panose="020B0604020202020204" pitchFamily="34" charset="0"/>
            </a:endParaRPr>
          </a:p>
        </c:rich>
      </c:tx>
      <c:layout>
        <c:manualLayout>
          <c:xMode val="edge"/>
          <c:yMode val="edge"/>
          <c:x val="0.10383728118695906"/>
          <c:y val="2.3907519314851911E-2"/>
        </c:manualLayout>
      </c:layout>
      <c:overlay val="0"/>
    </c:title>
    <c:autoTitleDeleted val="0"/>
    <c:plotArea>
      <c:layout>
        <c:manualLayout>
          <c:layoutTarget val="inner"/>
          <c:xMode val="edge"/>
          <c:yMode val="edge"/>
          <c:x val="7.4321974776478353E-2"/>
          <c:y val="0.18076228857109566"/>
          <c:w val="0.88335323259930942"/>
          <c:h val="0.65867877994426904"/>
        </c:manualLayout>
      </c:layout>
      <c:lineChart>
        <c:grouping val="standard"/>
        <c:varyColors val="0"/>
        <c:ser>
          <c:idx val="3"/>
          <c:order val="0"/>
          <c:tx>
            <c:strRef>
              <c:f>'figur 9.4'!$N$2</c:f>
              <c:strCache>
                <c:ptCount val="1"/>
                <c:pt idx="0">
                  <c:v>Helserelaterte ytelser i alt</c:v>
                </c:pt>
              </c:strCache>
            </c:strRef>
          </c:tx>
          <c:spPr>
            <a:ln>
              <a:solidFill>
                <a:srgbClr val="C30000"/>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BD4-42A3-85ED-92100F4D9DBF}"/>
                </c:ext>
              </c:extLst>
            </c:dLbl>
            <c:dLbl>
              <c:idx val="1"/>
              <c:delete val="1"/>
              <c:extLst>
                <c:ext xmlns:c15="http://schemas.microsoft.com/office/drawing/2012/chart" uri="{CE6537A1-D6FC-4f65-9D91-7224C49458BB}"/>
                <c:ext xmlns:c16="http://schemas.microsoft.com/office/drawing/2014/chart" uri="{C3380CC4-5D6E-409C-BE32-E72D297353CC}">
                  <c16:uniqueId val="{00000001-FBD4-42A3-85ED-92100F4D9DBF}"/>
                </c:ext>
              </c:extLst>
            </c:dLbl>
            <c:dLbl>
              <c:idx val="2"/>
              <c:delete val="1"/>
              <c:extLst>
                <c:ext xmlns:c15="http://schemas.microsoft.com/office/drawing/2012/chart" uri="{CE6537A1-D6FC-4f65-9D91-7224C49458BB}"/>
                <c:ext xmlns:c16="http://schemas.microsoft.com/office/drawing/2014/chart" uri="{C3380CC4-5D6E-409C-BE32-E72D297353CC}">
                  <c16:uniqueId val="{00000002-FBD4-42A3-85ED-92100F4D9DBF}"/>
                </c:ext>
              </c:extLst>
            </c:dLbl>
            <c:dLbl>
              <c:idx val="3"/>
              <c:layout>
                <c:manualLayout>
                  <c:x val="-1.455912019262055E-2"/>
                  <c:y val="-6.08484016199697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BD4-42A3-85ED-92100F4D9DBF}"/>
                </c:ext>
              </c:extLst>
            </c:dLbl>
            <c:dLbl>
              <c:idx val="4"/>
              <c:delete val="1"/>
              <c:extLst>
                <c:ext xmlns:c15="http://schemas.microsoft.com/office/drawing/2012/chart" uri="{CE6537A1-D6FC-4f65-9D91-7224C49458BB}"/>
                <c:ext xmlns:c16="http://schemas.microsoft.com/office/drawing/2014/chart" uri="{C3380CC4-5D6E-409C-BE32-E72D297353CC}">
                  <c16:uniqueId val="{00000004-FBD4-42A3-85ED-92100F4D9DBF}"/>
                </c:ext>
              </c:extLst>
            </c:dLbl>
            <c:dLbl>
              <c:idx val="5"/>
              <c:delete val="1"/>
              <c:extLst>
                <c:ext xmlns:c15="http://schemas.microsoft.com/office/drawing/2012/chart" uri="{CE6537A1-D6FC-4f65-9D91-7224C49458BB}"/>
                <c:ext xmlns:c16="http://schemas.microsoft.com/office/drawing/2014/chart" uri="{C3380CC4-5D6E-409C-BE32-E72D297353CC}">
                  <c16:uniqueId val="{00000005-FBD4-42A3-85ED-92100F4D9DBF}"/>
                </c:ext>
              </c:extLst>
            </c:dLbl>
            <c:dLbl>
              <c:idx val="6"/>
              <c:delete val="1"/>
              <c:extLst>
                <c:ext xmlns:c15="http://schemas.microsoft.com/office/drawing/2012/chart" uri="{CE6537A1-D6FC-4f65-9D91-7224C49458BB}"/>
                <c:ext xmlns:c16="http://schemas.microsoft.com/office/drawing/2014/chart" uri="{C3380CC4-5D6E-409C-BE32-E72D297353CC}">
                  <c16:uniqueId val="{00000006-FBD4-42A3-85ED-92100F4D9DBF}"/>
                </c:ext>
              </c:extLst>
            </c:dLbl>
            <c:dLbl>
              <c:idx val="7"/>
              <c:delete val="1"/>
              <c:extLst>
                <c:ext xmlns:c15="http://schemas.microsoft.com/office/drawing/2012/chart" uri="{CE6537A1-D6FC-4f65-9D91-7224C49458BB}"/>
                <c:ext xmlns:c16="http://schemas.microsoft.com/office/drawing/2014/chart" uri="{C3380CC4-5D6E-409C-BE32-E72D297353CC}">
                  <c16:uniqueId val="{00000007-FBD4-42A3-85ED-92100F4D9DBF}"/>
                </c:ext>
              </c:extLst>
            </c:dLbl>
            <c:dLbl>
              <c:idx val="8"/>
              <c:delete val="1"/>
              <c:extLst>
                <c:ext xmlns:c15="http://schemas.microsoft.com/office/drawing/2012/chart" uri="{CE6537A1-D6FC-4f65-9D91-7224C49458BB}"/>
                <c:ext xmlns:c16="http://schemas.microsoft.com/office/drawing/2014/chart" uri="{C3380CC4-5D6E-409C-BE32-E72D297353CC}">
                  <c16:uniqueId val="{00000008-FBD4-42A3-85ED-92100F4D9DBF}"/>
                </c:ext>
              </c:extLst>
            </c:dLbl>
            <c:dLbl>
              <c:idx val="9"/>
              <c:delete val="1"/>
              <c:extLst>
                <c:ext xmlns:c15="http://schemas.microsoft.com/office/drawing/2012/chart" uri="{CE6537A1-D6FC-4f65-9D91-7224C49458BB}"/>
                <c:ext xmlns:c16="http://schemas.microsoft.com/office/drawing/2014/chart" uri="{C3380CC4-5D6E-409C-BE32-E72D297353CC}">
                  <c16:uniqueId val="{00000009-FBD4-42A3-85ED-92100F4D9DBF}"/>
                </c:ext>
              </c:extLst>
            </c:dLbl>
            <c:dLbl>
              <c:idx val="10"/>
              <c:layout>
                <c:manualLayout>
                  <c:x val="-2.6955814407496583E-2"/>
                  <c:y val="-6.59085127946407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BD4-42A3-85ED-92100F4D9DBF}"/>
                </c:ext>
              </c:extLst>
            </c:dLbl>
            <c:dLbl>
              <c:idx val="11"/>
              <c:delete val="1"/>
              <c:extLst>
                <c:ext xmlns:c15="http://schemas.microsoft.com/office/drawing/2012/chart" uri="{CE6537A1-D6FC-4f65-9D91-7224C49458BB}"/>
                <c:ext xmlns:c16="http://schemas.microsoft.com/office/drawing/2014/chart" uri="{C3380CC4-5D6E-409C-BE32-E72D297353CC}">
                  <c16:uniqueId val="{0000000B-FBD4-42A3-85ED-92100F4D9DBF}"/>
                </c:ext>
              </c:extLst>
            </c:dLbl>
            <c:dLbl>
              <c:idx val="12"/>
              <c:delete val="1"/>
              <c:extLst>
                <c:ext xmlns:c15="http://schemas.microsoft.com/office/drawing/2012/chart" uri="{CE6537A1-D6FC-4f65-9D91-7224C49458BB}"/>
                <c:ext xmlns:c16="http://schemas.microsoft.com/office/drawing/2014/chart" uri="{C3380CC4-5D6E-409C-BE32-E72D297353CC}">
                  <c16:uniqueId val="{0000000C-FBD4-42A3-85ED-92100F4D9DBF}"/>
                </c:ext>
              </c:extLst>
            </c:dLbl>
            <c:dLbl>
              <c:idx val="13"/>
              <c:delete val="1"/>
              <c:extLst>
                <c:ext xmlns:c15="http://schemas.microsoft.com/office/drawing/2012/chart" uri="{CE6537A1-D6FC-4f65-9D91-7224C49458BB}"/>
                <c:ext xmlns:c16="http://schemas.microsoft.com/office/drawing/2014/chart" uri="{C3380CC4-5D6E-409C-BE32-E72D297353CC}">
                  <c16:uniqueId val="{0000000D-FBD4-42A3-85ED-92100F4D9DBF}"/>
                </c:ext>
              </c:extLst>
            </c:dLbl>
            <c:dLbl>
              <c:idx val="14"/>
              <c:delete val="1"/>
              <c:extLst>
                <c:ext xmlns:c15="http://schemas.microsoft.com/office/drawing/2012/chart" uri="{CE6537A1-D6FC-4f65-9D91-7224C49458BB}"/>
                <c:ext xmlns:c16="http://schemas.microsoft.com/office/drawing/2014/chart" uri="{C3380CC4-5D6E-409C-BE32-E72D297353CC}">
                  <c16:uniqueId val="{0000000E-FBD4-42A3-85ED-92100F4D9DBF}"/>
                </c:ext>
              </c:extLst>
            </c:dLbl>
            <c:dLbl>
              <c:idx val="15"/>
              <c:delete val="1"/>
              <c:extLst>
                <c:ext xmlns:c15="http://schemas.microsoft.com/office/drawing/2012/chart" uri="{CE6537A1-D6FC-4f65-9D91-7224C49458BB}"/>
                <c:ext xmlns:c16="http://schemas.microsoft.com/office/drawing/2014/chart" uri="{C3380CC4-5D6E-409C-BE32-E72D297353CC}">
                  <c16:uniqueId val="{0000000F-FBD4-42A3-85ED-92100F4D9DBF}"/>
                </c:ext>
              </c:extLst>
            </c:dLbl>
            <c:dLbl>
              <c:idx val="16"/>
              <c:delete val="1"/>
              <c:extLst>
                <c:ext xmlns:c15="http://schemas.microsoft.com/office/drawing/2012/chart" uri="{CE6537A1-D6FC-4f65-9D91-7224C49458BB}"/>
                <c:ext xmlns:c16="http://schemas.microsoft.com/office/drawing/2014/chart" uri="{C3380CC4-5D6E-409C-BE32-E72D297353CC}">
                  <c16:uniqueId val="{00000010-FBD4-42A3-85ED-92100F4D9DBF}"/>
                </c:ext>
              </c:extLst>
            </c:dLbl>
            <c:dLbl>
              <c:idx val="17"/>
              <c:delete val="1"/>
              <c:extLst>
                <c:ext xmlns:c15="http://schemas.microsoft.com/office/drawing/2012/chart" uri="{CE6537A1-D6FC-4f65-9D91-7224C49458BB}"/>
                <c:ext xmlns:c16="http://schemas.microsoft.com/office/drawing/2014/chart" uri="{C3380CC4-5D6E-409C-BE32-E72D297353CC}">
                  <c16:uniqueId val="{00000011-FBD4-42A3-85ED-92100F4D9DBF}"/>
                </c:ext>
              </c:extLst>
            </c:dLbl>
            <c:dLbl>
              <c:idx val="18"/>
              <c:delete val="1"/>
              <c:extLst>
                <c:ext xmlns:c15="http://schemas.microsoft.com/office/drawing/2012/chart" uri="{CE6537A1-D6FC-4f65-9D91-7224C49458BB}"/>
                <c:ext xmlns:c16="http://schemas.microsoft.com/office/drawing/2014/chart" uri="{C3380CC4-5D6E-409C-BE32-E72D297353CC}">
                  <c16:uniqueId val="{00000012-FBD4-42A3-85ED-92100F4D9DBF}"/>
                </c:ext>
              </c:extLst>
            </c:dLbl>
            <c:dLbl>
              <c:idx val="19"/>
              <c:layout>
                <c:manualLayout>
                  <c:x val="-4.5069141667208955E-2"/>
                  <c:y val="-7.78127952033868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BD4-42A3-85ED-92100F4D9DBF}"/>
                </c:ext>
              </c:extLst>
            </c:dLbl>
            <c:dLbl>
              <c:idx val="20"/>
              <c:delete val="1"/>
              <c:extLst>
                <c:ext xmlns:c15="http://schemas.microsoft.com/office/drawing/2012/chart" uri="{CE6537A1-D6FC-4f65-9D91-7224C49458BB}"/>
                <c:ext xmlns:c16="http://schemas.microsoft.com/office/drawing/2014/chart" uri="{C3380CC4-5D6E-409C-BE32-E72D297353CC}">
                  <c16:uniqueId val="{00000014-FBD4-42A3-85ED-92100F4D9DBF}"/>
                </c:ext>
              </c:extLst>
            </c:dLbl>
            <c:dLbl>
              <c:idx val="21"/>
              <c:layout>
                <c:manualLayout>
                  <c:x val="-8.2644628099173556E-3"/>
                  <c:y val="-4.7428848939880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FBD4-42A3-85ED-92100F4D9DBF}"/>
                </c:ext>
              </c:extLst>
            </c:dLbl>
            <c:spPr>
              <a:noFill/>
              <a:ln>
                <a:noFill/>
              </a:ln>
              <a:effectLst/>
            </c:spPr>
            <c:txPr>
              <a:bodyPr wrap="square" lIns="38100" tIns="19050" rIns="38100" bIns="19050" anchor="ctr">
                <a:spAutoFit/>
              </a:bodyPr>
              <a:lstStyle/>
              <a:p>
                <a:pPr>
                  <a:defRPr sz="1400">
                    <a:latin typeface="Arial" panose="020B0604020202020204" pitchFamily="34" charset="0"/>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figur 9.4'!$J$3:$J$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4'!$N$3:$N$24</c:f>
              <c:numCache>
                <c:formatCode>0.0</c:formatCode>
                <c:ptCount val="22"/>
                <c:pt idx="0">
                  <c:v>16.3</c:v>
                </c:pt>
                <c:pt idx="1">
                  <c:v>17.059999999999999</c:v>
                </c:pt>
                <c:pt idx="2">
                  <c:v>17.71</c:v>
                </c:pt>
                <c:pt idx="3">
                  <c:v>18.54</c:v>
                </c:pt>
                <c:pt idx="4">
                  <c:v>17.920000000000002</c:v>
                </c:pt>
                <c:pt idx="5">
                  <c:v>18.23</c:v>
                </c:pt>
                <c:pt idx="6">
                  <c:v>18.079999999999998</c:v>
                </c:pt>
                <c:pt idx="7">
                  <c:v>17.920000000000002</c:v>
                </c:pt>
                <c:pt idx="8">
                  <c:v>17.940000000000001</c:v>
                </c:pt>
                <c:pt idx="9">
                  <c:v>18.149999999999999</c:v>
                </c:pt>
                <c:pt idx="10">
                  <c:v>18.37</c:v>
                </c:pt>
                <c:pt idx="11">
                  <c:v>18.05</c:v>
                </c:pt>
                <c:pt idx="12">
                  <c:v>17.78</c:v>
                </c:pt>
                <c:pt idx="13">
                  <c:v>17.45</c:v>
                </c:pt>
                <c:pt idx="14">
                  <c:v>17.13</c:v>
                </c:pt>
                <c:pt idx="15">
                  <c:v>17.05</c:v>
                </c:pt>
                <c:pt idx="16">
                  <c:v>17.02</c:v>
                </c:pt>
                <c:pt idx="17">
                  <c:v>16.86</c:v>
                </c:pt>
                <c:pt idx="18">
                  <c:v>16.59</c:v>
                </c:pt>
                <c:pt idx="19">
                  <c:v>16.55</c:v>
                </c:pt>
                <c:pt idx="20">
                  <c:v>17.36</c:v>
                </c:pt>
                <c:pt idx="21">
                  <c:v>17.57</c:v>
                </c:pt>
              </c:numCache>
            </c:numRef>
          </c:val>
          <c:smooth val="1"/>
          <c:extLst>
            <c:ext xmlns:c16="http://schemas.microsoft.com/office/drawing/2014/chart" uri="{C3380CC4-5D6E-409C-BE32-E72D297353CC}">
              <c16:uniqueId val="{00000016-FBD4-42A3-85ED-92100F4D9DBF}"/>
            </c:ext>
          </c:extLst>
        </c:ser>
        <c:dLbls>
          <c:showLegendKey val="0"/>
          <c:showVal val="0"/>
          <c:showCatName val="0"/>
          <c:showSerName val="0"/>
          <c:showPercent val="0"/>
          <c:showBubbleSize val="0"/>
        </c:dLbls>
        <c:smooth val="0"/>
        <c:axId val="103560704"/>
        <c:axId val="103562240"/>
      </c:lineChart>
      <c:catAx>
        <c:axId val="103560704"/>
        <c:scaling>
          <c:orientation val="minMax"/>
        </c:scaling>
        <c:delete val="0"/>
        <c:axPos val="b"/>
        <c:numFmt formatCode="General" sourceLinked="1"/>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03562240"/>
        <c:crosses val="autoZero"/>
        <c:auto val="1"/>
        <c:lblAlgn val="ctr"/>
        <c:lblOffset val="100"/>
        <c:noMultiLvlLbl val="0"/>
      </c:catAx>
      <c:valAx>
        <c:axId val="103562240"/>
        <c:scaling>
          <c:orientation val="minMax"/>
          <c:max val="20"/>
          <c:min val="10"/>
        </c:scaling>
        <c:delete val="0"/>
        <c:axPos val="l"/>
        <c:majorGridlines>
          <c:spPr>
            <a:ln>
              <a:solidFill>
                <a:schemeClr val="bg1">
                  <a:lumMod val="85000"/>
                </a:schemeClr>
              </a:solidFill>
            </a:ln>
          </c:spPr>
        </c:majorGridlines>
        <c:numFmt formatCode="0" sourceLinked="0"/>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03560704"/>
        <c:crosses val="autoZero"/>
        <c:crossBetween val="between"/>
      </c:valAx>
    </c:plotArea>
    <c:plotVisOnly val="1"/>
    <c:dispBlanksAs val="gap"/>
    <c:showDLblsOverMax val="0"/>
  </c:chart>
  <c:spPr>
    <a:ln>
      <a:noFill/>
    </a:ln>
  </c:spPr>
  <c:txPr>
    <a:bodyPr/>
    <a:lstStyle/>
    <a:p>
      <a:pPr>
        <a:defRPr sz="1000">
          <a:latin typeface="+mj-lt"/>
          <a:cs typeface="Times New Roman" panose="02020603050405020304" pitchFamily="18" charset="0"/>
        </a:defRPr>
      </a:pPr>
      <a:endParaRPr lang="nb-NO"/>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8563865476619209E-2"/>
          <c:y val="3.5947712418300651E-2"/>
          <c:w val="0.89517181457420381"/>
          <c:h val="0.79917932917990586"/>
        </c:manualLayout>
      </c:layout>
      <c:barChart>
        <c:barDir val="col"/>
        <c:grouping val="stacked"/>
        <c:varyColors val="0"/>
        <c:ser>
          <c:idx val="0"/>
          <c:order val="0"/>
          <c:tx>
            <c:strRef>
              <c:f>'figur 9.8'!$K$2</c:f>
              <c:strCache>
                <c:ptCount val="1"/>
                <c:pt idx="0">
                  <c:v>Uføretrygd</c:v>
                </c:pt>
              </c:strCache>
            </c:strRef>
          </c:tx>
          <c:invertIfNegative val="0"/>
          <c:cat>
            <c:numRef>
              <c:f>'figur 9.8'!$J$3:$J$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8'!$K$3:$K$24</c:f>
              <c:numCache>
                <c:formatCode>0.0</c:formatCode>
                <c:ptCount val="22"/>
                <c:pt idx="0">
                  <c:v>1.1576346342619233</c:v>
                </c:pt>
                <c:pt idx="1">
                  <c:v>1.1410158666225527</c:v>
                </c:pt>
                <c:pt idx="2">
                  <c:v>1.147577772985072</c:v>
                </c:pt>
                <c:pt idx="3">
                  <c:v>1.1687544820416464</c:v>
                </c:pt>
                <c:pt idx="4">
                  <c:v>1.1210908551949015</c:v>
                </c:pt>
                <c:pt idx="5">
                  <c:v>1.0934437780132984</c:v>
                </c:pt>
                <c:pt idx="6">
                  <c:v>1.0719227970608523</c:v>
                </c:pt>
                <c:pt idx="7">
                  <c:v>1.050663266682474</c:v>
                </c:pt>
                <c:pt idx="8">
                  <c:v>1.0510297138710261</c:v>
                </c:pt>
                <c:pt idx="9">
                  <c:v>1.0658183183486276</c:v>
                </c:pt>
                <c:pt idx="10">
                  <c:v>1.1106088301001722</c:v>
                </c:pt>
                <c:pt idx="11">
                  <c:v>1.1749498995436356</c:v>
                </c:pt>
                <c:pt idx="12">
                  <c:v>1.2393047711174212</c:v>
                </c:pt>
                <c:pt idx="13">
                  <c:v>1.2785466597109276</c:v>
                </c:pt>
                <c:pt idx="14">
                  <c:v>1.4137266122013261</c:v>
                </c:pt>
                <c:pt idx="15">
                  <c:v>1.5503894444815192</c:v>
                </c:pt>
                <c:pt idx="16">
                  <c:v>1.6941553774370384</c:v>
                </c:pt>
                <c:pt idx="17">
                  <c:v>1.8642997075608301</c:v>
                </c:pt>
                <c:pt idx="18">
                  <c:v>2.1270052305734231</c:v>
                </c:pt>
                <c:pt idx="19">
                  <c:v>2.3743398992386977</c:v>
                </c:pt>
                <c:pt idx="20">
                  <c:v>2.5008662258539545</c:v>
                </c:pt>
                <c:pt idx="21">
                  <c:v>2.5821766477632577</c:v>
                </c:pt>
              </c:numCache>
            </c:numRef>
          </c:val>
          <c:extLst>
            <c:ext xmlns:c16="http://schemas.microsoft.com/office/drawing/2014/chart" uri="{C3380CC4-5D6E-409C-BE32-E72D297353CC}">
              <c16:uniqueId val="{00000000-7AA4-48B5-9E94-EE292C25633F}"/>
            </c:ext>
          </c:extLst>
        </c:ser>
        <c:ser>
          <c:idx val="1"/>
          <c:order val="1"/>
          <c:tx>
            <c:strRef>
              <c:f>'figur 9.8'!$L$2</c:f>
              <c:strCache>
                <c:ptCount val="1"/>
                <c:pt idx="0">
                  <c:v>Arbeidsavklaringspenger</c:v>
                </c:pt>
              </c:strCache>
            </c:strRef>
          </c:tx>
          <c:spPr>
            <a:ln>
              <a:solidFill>
                <a:schemeClr val="accent2"/>
              </a:solidFill>
            </a:ln>
          </c:spPr>
          <c:invertIfNegative val="0"/>
          <c:cat>
            <c:numRef>
              <c:f>'figur 9.8'!$J$3:$J$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8'!$L$3:$L$24</c:f>
              <c:numCache>
                <c:formatCode>0.0</c:formatCode>
                <c:ptCount val="22"/>
                <c:pt idx="0">
                  <c:v>2.2415067303027225</c:v>
                </c:pt>
                <c:pt idx="1">
                  <c:v>2.397543047024469</c:v>
                </c:pt>
                <c:pt idx="2">
                  <c:v>2.692545334786689</c:v>
                </c:pt>
                <c:pt idx="3">
                  <c:v>3.1141262172378403</c:v>
                </c:pt>
                <c:pt idx="4">
                  <c:v>3.1981621461390248</c:v>
                </c:pt>
                <c:pt idx="5">
                  <c:v>3.2194939991592308</c:v>
                </c:pt>
                <c:pt idx="6">
                  <c:v>3.1224435931797072</c:v>
                </c:pt>
                <c:pt idx="7">
                  <c:v>2.9681237283779889</c:v>
                </c:pt>
                <c:pt idx="8">
                  <c:v>2.9588321401520115</c:v>
                </c:pt>
                <c:pt idx="9">
                  <c:v>3.2477852645234568</c:v>
                </c:pt>
                <c:pt idx="10">
                  <c:v>3.6405327672844723</c:v>
                </c:pt>
                <c:pt idx="11">
                  <c:v>3.6418465578527757</c:v>
                </c:pt>
                <c:pt idx="12">
                  <c:v>3.494492464193216</c:v>
                </c:pt>
                <c:pt idx="13">
                  <c:v>3.3542210083775741</c:v>
                </c:pt>
                <c:pt idx="14">
                  <c:v>3.2798216973374816</c:v>
                </c:pt>
                <c:pt idx="15">
                  <c:v>3.3792769774913483</c:v>
                </c:pt>
                <c:pt idx="16">
                  <c:v>3.4027805781761855</c:v>
                </c:pt>
                <c:pt idx="17">
                  <c:v>3.3040184359709643</c:v>
                </c:pt>
                <c:pt idx="18">
                  <c:v>2.9442379709822641</c:v>
                </c:pt>
                <c:pt idx="19">
                  <c:v>2.888974562173817</c:v>
                </c:pt>
                <c:pt idx="20">
                  <c:v>3.1374219193639976</c:v>
                </c:pt>
                <c:pt idx="21">
                  <c:v>3.2273582123466817</c:v>
                </c:pt>
              </c:numCache>
            </c:numRef>
          </c:val>
          <c:extLst>
            <c:ext xmlns:c16="http://schemas.microsoft.com/office/drawing/2014/chart" uri="{C3380CC4-5D6E-409C-BE32-E72D297353CC}">
              <c16:uniqueId val="{00000001-7AA4-48B5-9E94-EE292C25633F}"/>
            </c:ext>
          </c:extLst>
        </c:ser>
        <c:ser>
          <c:idx val="2"/>
          <c:order val="2"/>
          <c:tx>
            <c:strRef>
              <c:f>'figur 9.8'!$M$2</c:f>
              <c:strCache>
                <c:ptCount val="1"/>
                <c:pt idx="0">
                  <c:v>Sykepenger</c:v>
                </c:pt>
              </c:strCache>
            </c:strRef>
          </c:tx>
          <c:invertIfNegative val="0"/>
          <c:cat>
            <c:numRef>
              <c:f>'figur 9.8'!$J$3:$J$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8'!$M$3:$M$24</c:f>
              <c:numCache>
                <c:formatCode>0.0</c:formatCode>
                <c:ptCount val="22"/>
                <c:pt idx="0">
                  <c:v>2.7024168161662661</c:v>
                </c:pt>
                <c:pt idx="1">
                  <c:v>2.8568551577312022</c:v>
                </c:pt>
                <c:pt idx="2">
                  <c:v>2.989531176227143</c:v>
                </c:pt>
                <c:pt idx="3">
                  <c:v>2.9701118688144144</c:v>
                </c:pt>
                <c:pt idx="4">
                  <c:v>2.4145546168667558</c:v>
                </c:pt>
                <c:pt idx="5">
                  <c:v>2.4702030279526093</c:v>
                </c:pt>
                <c:pt idx="6">
                  <c:v>2.458525147387562</c:v>
                </c:pt>
                <c:pt idx="7">
                  <c:v>2.6409983004811752</c:v>
                </c:pt>
                <c:pt idx="8">
                  <c:v>2.8185200872500906</c:v>
                </c:pt>
                <c:pt idx="9">
                  <c:v>2.604526228954462</c:v>
                </c:pt>
                <c:pt idx="10">
                  <c:v>2.3758328583502033</c:v>
                </c:pt>
                <c:pt idx="11">
                  <c:v>2.1673795896680024</c:v>
                </c:pt>
                <c:pt idx="12">
                  <c:v>2.102412082254189</c:v>
                </c:pt>
                <c:pt idx="13">
                  <c:v>2.0852487188142512</c:v>
                </c:pt>
                <c:pt idx="14">
                  <c:v>2.0517068104115674</c:v>
                </c:pt>
                <c:pt idx="15">
                  <c:v>1.9789213770222989</c:v>
                </c:pt>
                <c:pt idx="16">
                  <c:v>1.9746564603016838</c:v>
                </c:pt>
                <c:pt idx="17">
                  <c:v>1.8926918599699043</c:v>
                </c:pt>
                <c:pt idx="18">
                  <c:v>1.8951661552801349</c:v>
                </c:pt>
                <c:pt idx="19">
                  <c:v>1.597687773232334</c:v>
                </c:pt>
                <c:pt idx="20">
                  <c:v>1.8262928420870268</c:v>
                </c:pt>
                <c:pt idx="21">
                  <c:v>1.8526307646936535</c:v>
                </c:pt>
              </c:numCache>
            </c:numRef>
          </c:val>
          <c:extLst>
            <c:ext xmlns:c16="http://schemas.microsoft.com/office/drawing/2014/chart" uri="{C3380CC4-5D6E-409C-BE32-E72D297353CC}">
              <c16:uniqueId val="{00000002-7AA4-48B5-9E94-EE292C25633F}"/>
            </c:ext>
          </c:extLst>
        </c:ser>
        <c:dLbls>
          <c:showLegendKey val="0"/>
          <c:showVal val="0"/>
          <c:showCatName val="0"/>
          <c:showSerName val="0"/>
          <c:showPercent val="0"/>
          <c:showBubbleSize val="0"/>
        </c:dLbls>
        <c:gapWidth val="150"/>
        <c:overlap val="100"/>
        <c:axId val="103560704"/>
        <c:axId val="103562240"/>
      </c:barChart>
      <c:lineChart>
        <c:grouping val="standard"/>
        <c:varyColors val="0"/>
        <c:ser>
          <c:idx val="3"/>
          <c:order val="3"/>
          <c:tx>
            <c:strRef>
              <c:f>'figur 9.8'!$N$2</c:f>
              <c:strCache>
                <c:ptCount val="1"/>
                <c:pt idx="0">
                  <c:v>Helserelaterte ytelser i alt</c:v>
                </c:pt>
              </c:strCache>
            </c:strRef>
          </c:tx>
          <c:spPr>
            <a:ln>
              <a:solidFill>
                <a:schemeClr val="accent4"/>
              </a:solidFill>
            </a:ln>
          </c:spPr>
          <c:marker>
            <c:symbol val="none"/>
          </c:marker>
          <c:cat>
            <c:numRef>
              <c:f>'figur 9.8'!$J$3:$J$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8'!$N$3:$N$24</c:f>
              <c:numCache>
                <c:formatCode>0.0</c:formatCode>
                <c:ptCount val="22"/>
                <c:pt idx="0">
                  <c:v>6.05</c:v>
                </c:pt>
                <c:pt idx="1">
                  <c:v>6.36</c:v>
                </c:pt>
                <c:pt idx="2">
                  <c:v>6.78</c:v>
                </c:pt>
                <c:pt idx="3">
                  <c:v>7.2</c:v>
                </c:pt>
                <c:pt idx="4">
                  <c:v>6.7</c:v>
                </c:pt>
                <c:pt idx="5">
                  <c:v>6.75</c:v>
                </c:pt>
                <c:pt idx="6">
                  <c:v>6.63</c:v>
                </c:pt>
                <c:pt idx="7">
                  <c:v>6.64</c:v>
                </c:pt>
                <c:pt idx="8">
                  <c:v>6.8</c:v>
                </c:pt>
                <c:pt idx="9">
                  <c:v>6.9</c:v>
                </c:pt>
                <c:pt idx="10">
                  <c:v>7.11</c:v>
                </c:pt>
                <c:pt idx="11">
                  <c:v>6.96</c:v>
                </c:pt>
                <c:pt idx="12">
                  <c:v>6.81</c:v>
                </c:pt>
                <c:pt idx="13">
                  <c:v>6.69</c:v>
                </c:pt>
                <c:pt idx="14">
                  <c:v>6.71</c:v>
                </c:pt>
                <c:pt idx="15">
                  <c:v>6.87</c:v>
                </c:pt>
                <c:pt idx="16">
                  <c:v>7.03</c:v>
                </c:pt>
                <c:pt idx="17">
                  <c:v>7.01</c:v>
                </c:pt>
                <c:pt idx="18">
                  <c:v>6.9</c:v>
                </c:pt>
                <c:pt idx="19">
                  <c:v>6.8</c:v>
                </c:pt>
                <c:pt idx="20">
                  <c:v>7.41</c:v>
                </c:pt>
                <c:pt idx="21">
                  <c:v>7.6</c:v>
                </c:pt>
              </c:numCache>
            </c:numRef>
          </c:val>
          <c:smooth val="0"/>
          <c:extLst>
            <c:ext xmlns:c16="http://schemas.microsoft.com/office/drawing/2014/chart" uri="{C3380CC4-5D6E-409C-BE32-E72D297353CC}">
              <c16:uniqueId val="{00000003-7AA4-48B5-9E94-EE292C25633F}"/>
            </c:ext>
          </c:extLst>
        </c:ser>
        <c:dLbls>
          <c:showLegendKey val="0"/>
          <c:showVal val="0"/>
          <c:showCatName val="0"/>
          <c:showSerName val="0"/>
          <c:showPercent val="0"/>
          <c:showBubbleSize val="0"/>
        </c:dLbls>
        <c:marker val="1"/>
        <c:smooth val="0"/>
        <c:axId val="103560704"/>
        <c:axId val="103562240"/>
      </c:lineChart>
      <c:catAx>
        <c:axId val="103560704"/>
        <c:scaling>
          <c:orientation val="minMax"/>
        </c:scaling>
        <c:delete val="0"/>
        <c:axPos val="b"/>
        <c:numFmt formatCode="General" sourceLinked="1"/>
        <c:majorTickMark val="out"/>
        <c:minorTickMark val="none"/>
        <c:tickLblPos val="nextTo"/>
        <c:crossAx val="103562240"/>
        <c:crosses val="autoZero"/>
        <c:auto val="1"/>
        <c:lblAlgn val="ctr"/>
        <c:lblOffset val="100"/>
        <c:noMultiLvlLbl val="0"/>
      </c:catAx>
      <c:valAx>
        <c:axId val="103562240"/>
        <c:scaling>
          <c:orientation val="minMax"/>
          <c:max val="8"/>
        </c:scaling>
        <c:delete val="0"/>
        <c:axPos val="l"/>
        <c:majorGridlines>
          <c:spPr>
            <a:ln>
              <a:solidFill>
                <a:schemeClr val="bg1">
                  <a:lumMod val="85000"/>
                </a:schemeClr>
              </a:solidFill>
            </a:ln>
          </c:spPr>
        </c:majorGridlines>
        <c:numFmt formatCode="0" sourceLinked="0"/>
        <c:majorTickMark val="out"/>
        <c:minorTickMark val="none"/>
        <c:tickLblPos val="nextTo"/>
        <c:crossAx val="103560704"/>
        <c:crosses val="autoZero"/>
        <c:crossBetween val="between"/>
      </c:valAx>
    </c:plotArea>
    <c:legend>
      <c:legendPos val="b"/>
      <c:overlay val="0"/>
    </c:legend>
    <c:plotVisOnly val="1"/>
    <c:dispBlanksAs val="gap"/>
    <c:showDLblsOverMax val="0"/>
  </c:chart>
  <c:spPr>
    <a:ln>
      <a:noFill/>
    </a:ln>
  </c:spPr>
  <c:txPr>
    <a:bodyPr/>
    <a:lstStyle/>
    <a:p>
      <a:pPr>
        <a:defRPr sz="1400">
          <a:latin typeface="+mn-lt"/>
          <a:cs typeface="Times New Roman" panose="02020603050405020304" pitchFamily="18" charset="0"/>
        </a:defRPr>
      </a:pPr>
      <a:endParaRPr lang="nb-NO"/>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4</c:f>
              <c:strCache>
                <c:ptCount val="1"/>
                <c:pt idx="0">
                  <c:v>2018</c:v>
                </c:pt>
              </c:strCache>
            </c:strRef>
          </c:tx>
          <c:spPr>
            <a:solidFill>
              <a:srgbClr val="323F42"/>
            </a:solidFill>
            <a:ln>
              <a:noFill/>
            </a:ln>
            <a:effectLst/>
          </c:spPr>
          <c:invertIfNegative val="0"/>
          <c:cat>
            <c:strRef>
              <c:f>Sheet1!$B$3:$C$3</c:f>
              <c:strCache>
                <c:ptCount val="2"/>
                <c:pt idx="0">
                  <c:v>I hvor stor grad mener du
omverdensanalysen er nyttig
for ditt arbeidssted?</c:v>
                </c:pt>
                <c:pt idx="1">
                  <c:v>I hvor stor grad mener du
omverdensanalysen påvirker
NAVs prioriteringer?</c:v>
                </c:pt>
              </c:strCache>
            </c:strRef>
          </c:cat>
          <c:val>
            <c:numRef>
              <c:f>Sheet1!$D$4:$E$4</c:f>
              <c:numCache>
                <c:formatCode>0%</c:formatCode>
                <c:ptCount val="2"/>
                <c:pt idx="0">
                  <c:v>0.52</c:v>
                </c:pt>
                <c:pt idx="1">
                  <c:v>0.43</c:v>
                </c:pt>
              </c:numCache>
            </c:numRef>
          </c:val>
          <c:extLst>
            <c:ext xmlns:c16="http://schemas.microsoft.com/office/drawing/2014/chart" uri="{C3380CC4-5D6E-409C-BE32-E72D297353CC}">
              <c16:uniqueId val="{00000000-7A65-45EA-B923-E9223A51620C}"/>
            </c:ext>
          </c:extLst>
        </c:ser>
        <c:ser>
          <c:idx val="1"/>
          <c:order val="1"/>
          <c:tx>
            <c:strRef>
              <c:f>Sheet1!$A$5</c:f>
              <c:strCache>
                <c:ptCount val="1"/>
                <c:pt idx="0">
                  <c:v>2020</c:v>
                </c:pt>
              </c:strCache>
            </c:strRef>
          </c:tx>
          <c:spPr>
            <a:solidFill>
              <a:srgbClr val="337C9B"/>
            </a:solidFill>
            <a:ln>
              <a:noFill/>
            </a:ln>
            <a:effectLst/>
          </c:spPr>
          <c:invertIfNegative val="0"/>
          <c:cat>
            <c:strRef>
              <c:f>Sheet1!$B$3:$C$3</c:f>
              <c:strCache>
                <c:ptCount val="2"/>
                <c:pt idx="0">
                  <c:v>I hvor stor grad mener du
omverdensanalysen er nyttig
for ditt arbeidssted?</c:v>
                </c:pt>
                <c:pt idx="1">
                  <c:v>I hvor stor grad mener du
omverdensanalysen påvirker
NAVs prioriteringer?</c:v>
                </c:pt>
              </c:strCache>
            </c:strRef>
          </c:cat>
          <c:val>
            <c:numRef>
              <c:f>Sheet1!$D$5:$E$5</c:f>
              <c:numCache>
                <c:formatCode>0%</c:formatCode>
                <c:ptCount val="2"/>
                <c:pt idx="0">
                  <c:v>0.54</c:v>
                </c:pt>
                <c:pt idx="1">
                  <c:v>0.46</c:v>
                </c:pt>
              </c:numCache>
            </c:numRef>
          </c:val>
          <c:extLst>
            <c:ext xmlns:c16="http://schemas.microsoft.com/office/drawing/2014/chart" uri="{C3380CC4-5D6E-409C-BE32-E72D297353CC}">
              <c16:uniqueId val="{00000001-7A65-45EA-B923-E9223A51620C}"/>
            </c:ext>
          </c:extLst>
        </c:ser>
        <c:ser>
          <c:idx val="2"/>
          <c:order val="2"/>
          <c:tx>
            <c:strRef>
              <c:f>Sheet1!$A$6</c:f>
              <c:strCache>
                <c:ptCount val="1"/>
                <c:pt idx="0">
                  <c:v>2022</c:v>
                </c:pt>
              </c:strCache>
            </c:strRef>
          </c:tx>
          <c:spPr>
            <a:solidFill>
              <a:srgbClr val="CCDEE6"/>
            </a:solidFill>
            <a:ln>
              <a:noFill/>
            </a:ln>
            <a:effectLst/>
          </c:spPr>
          <c:invertIfNegative val="0"/>
          <c:cat>
            <c:strRef>
              <c:f>Sheet1!$B$3:$C$3</c:f>
              <c:strCache>
                <c:ptCount val="2"/>
                <c:pt idx="0">
                  <c:v>I hvor stor grad mener du
omverdensanalysen er nyttig
for ditt arbeidssted?</c:v>
                </c:pt>
                <c:pt idx="1">
                  <c:v>I hvor stor grad mener du
omverdensanalysen påvirker
NAVs prioriteringer?</c:v>
                </c:pt>
              </c:strCache>
            </c:strRef>
          </c:cat>
          <c:val>
            <c:numRef>
              <c:f>Sheet1!$D$6:$E$6</c:f>
              <c:numCache>
                <c:formatCode>0%</c:formatCode>
                <c:ptCount val="2"/>
                <c:pt idx="0">
                  <c:v>0.65</c:v>
                </c:pt>
                <c:pt idx="1">
                  <c:v>0.61</c:v>
                </c:pt>
              </c:numCache>
            </c:numRef>
          </c:val>
          <c:extLst>
            <c:ext xmlns:c16="http://schemas.microsoft.com/office/drawing/2014/chart" uri="{C3380CC4-5D6E-409C-BE32-E72D297353CC}">
              <c16:uniqueId val="{00000002-7A65-45EA-B923-E9223A51620C}"/>
            </c:ext>
          </c:extLst>
        </c:ser>
        <c:dLbls>
          <c:showLegendKey val="0"/>
          <c:showVal val="0"/>
          <c:showCatName val="0"/>
          <c:showSerName val="0"/>
          <c:showPercent val="0"/>
          <c:showBubbleSize val="0"/>
        </c:dLbls>
        <c:gapWidth val="219"/>
        <c:overlap val="-27"/>
        <c:axId val="570389936"/>
        <c:axId val="570390768"/>
      </c:barChart>
      <c:catAx>
        <c:axId val="57038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570390768"/>
        <c:crosses val="autoZero"/>
        <c:auto val="1"/>
        <c:lblAlgn val="ctr"/>
        <c:lblOffset val="100"/>
        <c:noMultiLvlLbl val="0"/>
      </c:catAx>
      <c:valAx>
        <c:axId val="570390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570389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sz="1400">
          <a:latin typeface="Arial" panose="020B0604020202020204" pitchFamily="34" charset="0"/>
          <a:cs typeface="Arial" panose="020B0604020202020204" pitchFamily="34" charset="0"/>
        </a:defRPr>
      </a:pPr>
      <a:endParaRPr lang="nb-NO"/>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gur 7.5'!$B$6</c:f>
              <c:strCache>
                <c:ptCount val="1"/>
                <c:pt idx="0">
                  <c:v>2021*</c:v>
                </c:pt>
              </c:strCache>
            </c:strRef>
          </c:tx>
          <c:spPr>
            <a:solidFill>
              <a:srgbClr val="337C9B"/>
            </a:solidFill>
            <a:ln>
              <a:noFill/>
            </a:ln>
            <a:effectLst/>
          </c:spPr>
          <c:invertIfNegative val="0"/>
          <c:cat>
            <c:strRef>
              <c:f>'figur 7.5'!$C$5:$H$5</c:f>
              <c:strCache>
                <c:ptCount val="6"/>
                <c:pt idx="0">
                  <c:v>Offentlige tjenester unntatt forsvar</c:v>
                </c:pt>
                <c:pt idx="1">
                  <c:v>Private tjenester</c:v>
                </c:pt>
                <c:pt idx="2">
                  <c:v>Olje- og gassutvinning</c:v>
                </c:pt>
                <c:pt idx="3">
                  <c:v>Industri</c:v>
                </c:pt>
                <c:pt idx="4">
                  <c:v>Varehandel</c:v>
                </c:pt>
                <c:pt idx="5">
                  <c:v>Bygg og anlegg</c:v>
                </c:pt>
              </c:strCache>
            </c:strRef>
          </c:cat>
          <c:val>
            <c:numRef>
              <c:f>'figur 7.5'!$C$6:$H$6</c:f>
              <c:numCache>
                <c:formatCode>0</c:formatCode>
                <c:ptCount val="6"/>
                <c:pt idx="0">
                  <c:v>843.4</c:v>
                </c:pt>
                <c:pt idx="1">
                  <c:v>737.9</c:v>
                </c:pt>
                <c:pt idx="2">
                  <c:v>24.3</c:v>
                </c:pt>
                <c:pt idx="3">
                  <c:v>215.8</c:v>
                </c:pt>
                <c:pt idx="4">
                  <c:v>356.5</c:v>
                </c:pt>
                <c:pt idx="5">
                  <c:v>246.6</c:v>
                </c:pt>
              </c:numCache>
            </c:numRef>
          </c:val>
          <c:extLst>
            <c:ext xmlns:c16="http://schemas.microsoft.com/office/drawing/2014/chart" uri="{C3380CC4-5D6E-409C-BE32-E72D297353CC}">
              <c16:uniqueId val="{00000000-FC8D-40A5-89B8-58725279C3E6}"/>
            </c:ext>
          </c:extLst>
        </c:ser>
        <c:ser>
          <c:idx val="1"/>
          <c:order val="1"/>
          <c:tx>
            <c:strRef>
              <c:f>'figur 7.5'!$B$7</c:f>
              <c:strCache>
                <c:ptCount val="1"/>
                <c:pt idx="0">
                  <c:v>2040</c:v>
                </c:pt>
              </c:strCache>
            </c:strRef>
          </c:tx>
          <c:spPr>
            <a:solidFill>
              <a:srgbClr val="CCDEE6"/>
            </a:solidFill>
            <a:ln>
              <a:noFill/>
            </a:ln>
            <a:effectLst/>
          </c:spPr>
          <c:invertIfNegative val="0"/>
          <c:cat>
            <c:strRef>
              <c:f>'figur 7.5'!$C$5:$H$5</c:f>
              <c:strCache>
                <c:ptCount val="6"/>
                <c:pt idx="0">
                  <c:v>Offentlige tjenester unntatt forsvar</c:v>
                </c:pt>
                <c:pt idx="1">
                  <c:v>Private tjenester</c:v>
                </c:pt>
                <c:pt idx="2">
                  <c:v>Olje- og gassutvinning</c:v>
                </c:pt>
                <c:pt idx="3">
                  <c:v>Industri</c:v>
                </c:pt>
                <c:pt idx="4">
                  <c:v>Varehandel</c:v>
                </c:pt>
                <c:pt idx="5">
                  <c:v>Bygg og anlegg</c:v>
                </c:pt>
              </c:strCache>
            </c:strRef>
          </c:cat>
          <c:val>
            <c:numRef>
              <c:f>'figur 7.5'!$C$7:$H$7</c:f>
              <c:numCache>
                <c:formatCode>0</c:formatCode>
                <c:ptCount val="6"/>
                <c:pt idx="0">
                  <c:v>914.47723014831547</c:v>
                </c:pt>
                <c:pt idx="1">
                  <c:v>830.373836074829</c:v>
                </c:pt>
                <c:pt idx="2">
                  <c:v>17.878205642700195</c:v>
                </c:pt>
                <c:pt idx="3">
                  <c:v>193.955043548584</c:v>
                </c:pt>
                <c:pt idx="4">
                  <c:v>305.07381697082519</c:v>
                </c:pt>
                <c:pt idx="5">
                  <c:v>265.15691741943357</c:v>
                </c:pt>
              </c:numCache>
            </c:numRef>
          </c:val>
          <c:extLst>
            <c:ext xmlns:c16="http://schemas.microsoft.com/office/drawing/2014/chart" uri="{C3380CC4-5D6E-409C-BE32-E72D297353CC}">
              <c16:uniqueId val="{00000001-FC8D-40A5-89B8-58725279C3E6}"/>
            </c:ext>
          </c:extLst>
        </c:ser>
        <c:dLbls>
          <c:showLegendKey val="0"/>
          <c:showVal val="0"/>
          <c:showCatName val="0"/>
          <c:showSerName val="0"/>
          <c:showPercent val="0"/>
          <c:showBubbleSize val="0"/>
        </c:dLbls>
        <c:gapWidth val="219"/>
        <c:overlap val="-27"/>
        <c:axId val="1538470880"/>
        <c:axId val="1538463808"/>
      </c:barChart>
      <c:catAx>
        <c:axId val="1538470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1538463808"/>
        <c:crosses val="autoZero"/>
        <c:auto val="1"/>
        <c:lblAlgn val="ctr"/>
        <c:lblOffset val="100"/>
        <c:noMultiLvlLbl val="0"/>
      </c:catAx>
      <c:valAx>
        <c:axId val="15384638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1538470880"/>
        <c:crosses val="autoZero"/>
        <c:crossBetween val="between"/>
      </c:valAx>
      <c:spPr>
        <a:noFill/>
        <a:ln>
          <a:noFill/>
        </a:ln>
        <a:effectLst/>
      </c:spPr>
    </c:plotArea>
    <c:legend>
      <c:legendPos val="b"/>
      <c:layout>
        <c:manualLayout>
          <c:xMode val="edge"/>
          <c:yMode val="edge"/>
          <c:x val="0.46879634759760674"/>
          <c:y val="4.6243692250463292E-2"/>
          <c:w val="0.35650861549022039"/>
          <c:h val="5.108662679600643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sz="1100"/>
      </a:pPr>
      <a:endParaRPr lang="nb-NO"/>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1"/>
          <c:order val="0"/>
          <c:tx>
            <c:strRef>
              <c:f>'figur 7.6'!$D$91</c:f>
              <c:strCache>
                <c:ptCount val="1"/>
                <c:pt idx="0">
                  <c:v>Grunnskolenivå</c:v>
                </c:pt>
              </c:strCache>
            </c:strRef>
          </c:tx>
          <c:spPr>
            <a:ln w="28575" cap="rnd">
              <a:solidFill>
                <a:schemeClr val="accent2"/>
              </a:solidFill>
              <a:round/>
            </a:ln>
            <a:effectLst/>
          </c:spPr>
          <c:marker>
            <c:symbol val="none"/>
          </c:marker>
          <c:cat>
            <c:strRef>
              <c:f>'figur 7.6'!$Q$95:$Q$107</c:f>
              <c:strCache>
                <c:ptCount val="13"/>
                <c:pt idx="0">
                  <c:v>2010K4</c:v>
                </c:pt>
                <c:pt idx="1">
                  <c:v>2011K4</c:v>
                </c:pt>
                <c:pt idx="2">
                  <c:v>2012K4</c:v>
                </c:pt>
                <c:pt idx="3">
                  <c:v>2013K4</c:v>
                </c:pt>
                <c:pt idx="4">
                  <c:v>2014K4</c:v>
                </c:pt>
                <c:pt idx="5">
                  <c:v>2015K4</c:v>
                </c:pt>
                <c:pt idx="6">
                  <c:v>2016K4</c:v>
                </c:pt>
                <c:pt idx="7">
                  <c:v>2017K4</c:v>
                </c:pt>
                <c:pt idx="8">
                  <c:v>2018K4</c:v>
                </c:pt>
                <c:pt idx="9">
                  <c:v>2019K4</c:v>
                </c:pt>
                <c:pt idx="10">
                  <c:v>2020K4</c:v>
                </c:pt>
                <c:pt idx="11">
                  <c:v>2021K4</c:v>
                </c:pt>
                <c:pt idx="12">
                  <c:v>2022K3</c:v>
                </c:pt>
              </c:strCache>
            </c:strRef>
          </c:cat>
          <c:val>
            <c:numRef>
              <c:f>'figur 7.6'!$S$95:$S$107</c:f>
              <c:numCache>
                <c:formatCode>0.0</c:formatCode>
                <c:ptCount val="13"/>
                <c:pt idx="0">
                  <c:v>6.3</c:v>
                </c:pt>
                <c:pt idx="1">
                  <c:v>6</c:v>
                </c:pt>
                <c:pt idx="2">
                  <c:v>6.6</c:v>
                </c:pt>
                <c:pt idx="3">
                  <c:v>7.3</c:v>
                </c:pt>
                <c:pt idx="4">
                  <c:v>7.2</c:v>
                </c:pt>
                <c:pt idx="5">
                  <c:v>8.9</c:v>
                </c:pt>
                <c:pt idx="6">
                  <c:v>8.9</c:v>
                </c:pt>
                <c:pt idx="7">
                  <c:v>8.5</c:v>
                </c:pt>
                <c:pt idx="8">
                  <c:v>7.9</c:v>
                </c:pt>
                <c:pt idx="9">
                  <c:v>8.1</c:v>
                </c:pt>
                <c:pt idx="10">
                  <c:v>9</c:v>
                </c:pt>
                <c:pt idx="11" formatCode="General">
                  <c:v>8.3000000000000007</c:v>
                </c:pt>
                <c:pt idx="12">
                  <c:v>7</c:v>
                </c:pt>
              </c:numCache>
            </c:numRef>
          </c:val>
          <c:smooth val="0"/>
          <c:extLst>
            <c:ext xmlns:c16="http://schemas.microsoft.com/office/drawing/2014/chart" uri="{C3380CC4-5D6E-409C-BE32-E72D297353CC}">
              <c16:uniqueId val="{00000000-505D-41EB-96DB-A98CAAAB1B99}"/>
            </c:ext>
          </c:extLst>
        </c:ser>
        <c:ser>
          <c:idx val="0"/>
          <c:order val="1"/>
          <c:tx>
            <c:strRef>
              <c:f>'figur 7.6'!$C$91</c:f>
              <c:strCache>
                <c:ptCount val="1"/>
                <c:pt idx="0">
                  <c:v>I alt</c:v>
                </c:pt>
              </c:strCache>
            </c:strRef>
          </c:tx>
          <c:spPr>
            <a:ln w="28575" cap="rnd">
              <a:solidFill>
                <a:schemeClr val="accent1"/>
              </a:solidFill>
              <a:round/>
            </a:ln>
            <a:effectLst/>
          </c:spPr>
          <c:marker>
            <c:symbol val="none"/>
          </c:marker>
          <c:cat>
            <c:strRef>
              <c:f>'figur 7.6'!$Q$95:$Q$107</c:f>
              <c:strCache>
                <c:ptCount val="13"/>
                <c:pt idx="0">
                  <c:v>2010K4</c:v>
                </c:pt>
                <c:pt idx="1">
                  <c:v>2011K4</c:v>
                </c:pt>
                <c:pt idx="2">
                  <c:v>2012K4</c:v>
                </c:pt>
                <c:pt idx="3">
                  <c:v>2013K4</c:v>
                </c:pt>
                <c:pt idx="4">
                  <c:v>2014K4</c:v>
                </c:pt>
                <c:pt idx="5">
                  <c:v>2015K4</c:v>
                </c:pt>
                <c:pt idx="6">
                  <c:v>2016K4</c:v>
                </c:pt>
                <c:pt idx="7">
                  <c:v>2017K4</c:v>
                </c:pt>
                <c:pt idx="8">
                  <c:v>2018K4</c:v>
                </c:pt>
                <c:pt idx="9">
                  <c:v>2019K4</c:v>
                </c:pt>
                <c:pt idx="10">
                  <c:v>2020K4</c:v>
                </c:pt>
                <c:pt idx="11">
                  <c:v>2021K4</c:v>
                </c:pt>
                <c:pt idx="12">
                  <c:v>2022K3</c:v>
                </c:pt>
              </c:strCache>
            </c:strRef>
          </c:cat>
          <c:val>
            <c:numRef>
              <c:f>'figur 7.6'!$R$95:$R$107</c:f>
              <c:numCache>
                <c:formatCode>0.0</c:formatCode>
                <c:ptCount val="13"/>
                <c:pt idx="0">
                  <c:v>3.2</c:v>
                </c:pt>
                <c:pt idx="1">
                  <c:v>3</c:v>
                </c:pt>
                <c:pt idx="2">
                  <c:v>3.1</c:v>
                </c:pt>
                <c:pt idx="3">
                  <c:v>3.2</c:v>
                </c:pt>
                <c:pt idx="4">
                  <c:v>3.4</c:v>
                </c:pt>
                <c:pt idx="5">
                  <c:v>4.2</c:v>
                </c:pt>
                <c:pt idx="6">
                  <c:v>4.3</c:v>
                </c:pt>
                <c:pt idx="7">
                  <c:v>3.7</c:v>
                </c:pt>
                <c:pt idx="8">
                  <c:v>3.5</c:v>
                </c:pt>
                <c:pt idx="9">
                  <c:v>3.7</c:v>
                </c:pt>
                <c:pt idx="10">
                  <c:v>4.5999999999999996</c:v>
                </c:pt>
                <c:pt idx="11" formatCode="General">
                  <c:v>3.4</c:v>
                </c:pt>
                <c:pt idx="12" formatCode="General">
                  <c:v>3.2</c:v>
                </c:pt>
              </c:numCache>
            </c:numRef>
          </c:val>
          <c:smooth val="0"/>
          <c:extLst>
            <c:ext xmlns:c16="http://schemas.microsoft.com/office/drawing/2014/chart" uri="{C3380CC4-5D6E-409C-BE32-E72D297353CC}">
              <c16:uniqueId val="{00000001-505D-41EB-96DB-A98CAAAB1B99}"/>
            </c:ext>
          </c:extLst>
        </c:ser>
        <c:ser>
          <c:idx val="2"/>
          <c:order val="2"/>
          <c:tx>
            <c:strRef>
              <c:f>'figur 7.6'!$E$91</c:f>
              <c:strCache>
                <c:ptCount val="1"/>
                <c:pt idx="0">
                  <c:v>Videregående skolenivå</c:v>
                </c:pt>
              </c:strCache>
            </c:strRef>
          </c:tx>
          <c:spPr>
            <a:ln w="28575" cap="rnd">
              <a:solidFill>
                <a:schemeClr val="accent3"/>
              </a:solidFill>
              <a:round/>
            </a:ln>
            <a:effectLst/>
          </c:spPr>
          <c:marker>
            <c:symbol val="none"/>
          </c:marker>
          <c:cat>
            <c:strRef>
              <c:f>'figur 7.6'!$Q$95:$Q$107</c:f>
              <c:strCache>
                <c:ptCount val="13"/>
                <c:pt idx="0">
                  <c:v>2010K4</c:v>
                </c:pt>
                <c:pt idx="1">
                  <c:v>2011K4</c:v>
                </c:pt>
                <c:pt idx="2">
                  <c:v>2012K4</c:v>
                </c:pt>
                <c:pt idx="3">
                  <c:v>2013K4</c:v>
                </c:pt>
                <c:pt idx="4">
                  <c:v>2014K4</c:v>
                </c:pt>
                <c:pt idx="5">
                  <c:v>2015K4</c:v>
                </c:pt>
                <c:pt idx="6">
                  <c:v>2016K4</c:v>
                </c:pt>
                <c:pt idx="7">
                  <c:v>2017K4</c:v>
                </c:pt>
                <c:pt idx="8">
                  <c:v>2018K4</c:v>
                </c:pt>
                <c:pt idx="9">
                  <c:v>2019K4</c:v>
                </c:pt>
                <c:pt idx="10">
                  <c:v>2020K4</c:v>
                </c:pt>
                <c:pt idx="11">
                  <c:v>2021K4</c:v>
                </c:pt>
                <c:pt idx="12">
                  <c:v>2022K3</c:v>
                </c:pt>
              </c:strCache>
            </c:strRef>
          </c:cat>
          <c:val>
            <c:numRef>
              <c:f>'figur 7.6'!$T$95:$T$107</c:f>
              <c:numCache>
                <c:formatCode>0.0</c:formatCode>
                <c:ptCount val="13"/>
                <c:pt idx="0">
                  <c:v>2.7</c:v>
                </c:pt>
                <c:pt idx="1">
                  <c:v>2.6</c:v>
                </c:pt>
                <c:pt idx="2">
                  <c:v>2.5</c:v>
                </c:pt>
                <c:pt idx="3">
                  <c:v>2.6</c:v>
                </c:pt>
                <c:pt idx="4">
                  <c:v>3.1</c:v>
                </c:pt>
                <c:pt idx="5">
                  <c:v>3.8</c:v>
                </c:pt>
                <c:pt idx="6">
                  <c:v>3.7</c:v>
                </c:pt>
                <c:pt idx="7">
                  <c:v>3.5</c:v>
                </c:pt>
                <c:pt idx="8">
                  <c:v>3.1</c:v>
                </c:pt>
                <c:pt idx="9">
                  <c:v>4</c:v>
                </c:pt>
                <c:pt idx="10">
                  <c:v>4.7</c:v>
                </c:pt>
                <c:pt idx="11" formatCode="General">
                  <c:v>2.8</c:v>
                </c:pt>
                <c:pt idx="12" formatCode="General">
                  <c:v>2.6</c:v>
                </c:pt>
              </c:numCache>
            </c:numRef>
          </c:val>
          <c:smooth val="0"/>
          <c:extLst>
            <c:ext xmlns:c16="http://schemas.microsoft.com/office/drawing/2014/chart" uri="{C3380CC4-5D6E-409C-BE32-E72D297353CC}">
              <c16:uniqueId val="{00000002-505D-41EB-96DB-A98CAAAB1B99}"/>
            </c:ext>
          </c:extLst>
        </c:ser>
        <c:ser>
          <c:idx val="3"/>
          <c:order val="3"/>
          <c:tx>
            <c:strRef>
              <c:f>'figur 7.6'!$F$91</c:f>
              <c:strCache>
                <c:ptCount val="1"/>
                <c:pt idx="0">
                  <c:v>Universitets- og høgskolenivå</c:v>
                </c:pt>
              </c:strCache>
            </c:strRef>
          </c:tx>
          <c:spPr>
            <a:ln w="28575" cap="rnd">
              <a:solidFill>
                <a:schemeClr val="accent4"/>
              </a:solidFill>
              <a:round/>
            </a:ln>
            <a:effectLst/>
          </c:spPr>
          <c:marker>
            <c:symbol val="none"/>
          </c:marker>
          <c:cat>
            <c:strRef>
              <c:f>'figur 7.6'!$Q$95:$Q$107</c:f>
              <c:strCache>
                <c:ptCount val="13"/>
                <c:pt idx="0">
                  <c:v>2010K4</c:v>
                </c:pt>
                <c:pt idx="1">
                  <c:v>2011K4</c:v>
                </c:pt>
                <c:pt idx="2">
                  <c:v>2012K4</c:v>
                </c:pt>
                <c:pt idx="3">
                  <c:v>2013K4</c:v>
                </c:pt>
                <c:pt idx="4">
                  <c:v>2014K4</c:v>
                </c:pt>
                <c:pt idx="5">
                  <c:v>2015K4</c:v>
                </c:pt>
                <c:pt idx="6">
                  <c:v>2016K4</c:v>
                </c:pt>
                <c:pt idx="7">
                  <c:v>2017K4</c:v>
                </c:pt>
                <c:pt idx="8">
                  <c:v>2018K4</c:v>
                </c:pt>
                <c:pt idx="9">
                  <c:v>2019K4</c:v>
                </c:pt>
                <c:pt idx="10">
                  <c:v>2020K4</c:v>
                </c:pt>
                <c:pt idx="11">
                  <c:v>2021K4</c:v>
                </c:pt>
                <c:pt idx="12">
                  <c:v>2022K3</c:v>
                </c:pt>
              </c:strCache>
            </c:strRef>
          </c:cat>
          <c:val>
            <c:numRef>
              <c:f>'figur 7.6'!$U$95:$U$107</c:f>
              <c:numCache>
                <c:formatCode>0.0</c:formatCode>
                <c:ptCount val="13"/>
                <c:pt idx="0">
                  <c:v>2</c:v>
                </c:pt>
                <c:pt idx="1">
                  <c:v>1.7</c:v>
                </c:pt>
                <c:pt idx="2">
                  <c:v>1.9</c:v>
                </c:pt>
                <c:pt idx="3">
                  <c:v>1.8</c:v>
                </c:pt>
                <c:pt idx="4">
                  <c:v>2.2000000000000002</c:v>
                </c:pt>
                <c:pt idx="5">
                  <c:v>2.6</c:v>
                </c:pt>
                <c:pt idx="6">
                  <c:v>2.9</c:v>
                </c:pt>
                <c:pt idx="7">
                  <c:v>2.1</c:v>
                </c:pt>
                <c:pt idx="8">
                  <c:v>2.1</c:v>
                </c:pt>
                <c:pt idx="9">
                  <c:v>1.9</c:v>
                </c:pt>
                <c:pt idx="10">
                  <c:v>3</c:v>
                </c:pt>
                <c:pt idx="11">
                  <c:v>1.9</c:v>
                </c:pt>
                <c:pt idx="12">
                  <c:v>2.2999999999999998</c:v>
                </c:pt>
              </c:numCache>
            </c:numRef>
          </c:val>
          <c:smooth val="0"/>
          <c:extLst>
            <c:ext xmlns:c16="http://schemas.microsoft.com/office/drawing/2014/chart" uri="{C3380CC4-5D6E-409C-BE32-E72D297353CC}">
              <c16:uniqueId val="{00000003-505D-41EB-96DB-A98CAAAB1B99}"/>
            </c:ext>
          </c:extLst>
        </c:ser>
        <c:dLbls>
          <c:showLegendKey val="0"/>
          <c:showVal val="0"/>
          <c:showCatName val="0"/>
          <c:showSerName val="0"/>
          <c:showPercent val="0"/>
          <c:showBubbleSize val="0"/>
        </c:dLbls>
        <c:smooth val="0"/>
        <c:axId val="920438928"/>
        <c:axId val="920439256"/>
      </c:lineChart>
      <c:catAx>
        <c:axId val="920438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nb-NO"/>
          </a:p>
        </c:txPr>
        <c:crossAx val="920439256"/>
        <c:crosses val="autoZero"/>
        <c:auto val="1"/>
        <c:lblAlgn val="ctr"/>
        <c:lblOffset val="100"/>
        <c:noMultiLvlLbl val="0"/>
      </c:catAx>
      <c:valAx>
        <c:axId val="920439256"/>
        <c:scaling>
          <c:orientation val="minMax"/>
          <c:max val="10.1"/>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nb-NO"/>
          </a:p>
        </c:txPr>
        <c:crossAx val="92043892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baseline="0">
          <a:solidFill>
            <a:schemeClr val="tx1"/>
          </a:solidFill>
        </a:defRPr>
      </a:pPr>
      <a:endParaRPr lang="nb-NO"/>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Figur 4.2'!$B$25</c:f>
              <c:strCache>
                <c:ptCount val="1"/>
                <c:pt idx="0">
                  <c:v>2023</c:v>
                </c:pt>
              </c:strCache>
            </c:strRef>
          </c:tx>
          <c:spPr>
            <a:solidFill>
              <a:srgbClr val="CCDEE6"/>
            </a:solidFill>
            <a:ln>
              <a:noFill/>
            </a:ln>
            <a:effectLst/>
          </c:spPr>
          <c:invertIfNegative val="0"/>
          <c:cat>
            <c:strRef>
              <c:f>'Figur 4.2'!$B$26:$G$26</c:f>
              <c:strCache>
                <c:ptCount val="6"/>
                <c:pt idx="0">
                  <c:v>0–18 år</c:v>
                </c:pt>
                <c:pt idx="1">
                  <c:v>19–34 år</c:v>
                </c:pt>
                <c:pt idx="2">
                  <c:v>35–49 år</c:v>
                </c:pt>
                <c:pt idx="3">
                  <c:v>50–66 år</c:v>
                </c:pt>
                <c:pt idx="4">
                  <c:v>67–74 år</c:v>
                </c:pt>
                <c:pt idx="5">
                  <c:v>75 år og eldre</c:v>
                </c:pt>
              </c:strCache>
            </c:strRef>
          </c:cat>
          <c:val>
            <c:numRef>
              <c:f>'Figur 4.2'!$B$27:$G$27</c:f>
              <c:numCache>
                <c:formatCode>[&gt;=10]#\ ##0;[&lt;10]#0.0</c:formatCode>
                <c:ptCount val="6"/>
                <c:pt idx="0">
                  <c:v>1177.098</c:v>
                </c:pt>
                <c:pt idx="1">
                  <c:v>1160.838</c:v>
                </c:pt>
                <c:pt idx="2">
                  <c:v>1086.8019999999999</c:v>
                </c:pt>
                <c:pt idx="3">
                  <c:v>1172.403</c:v>
                </c:pt>
                <c:pt idx="4">
                  <c:v>424.64</c:v>
                </c:pt>
                <c:pt idx="5">
                  <c:v>467.20299999999997</c:v>
                </c:pt>
              </c:numCache>
            </c:numRef>
          </c:val>
          <c:extLst>
            <c:ext xmlns:c16="http://schemas.microsoft.com/office/drawing/2014/chart" uri="{C3380CC4-5D6E-409C-BE32-E72D297353CC}">
              <c16:uniqueId val="{00000000-4731-4FF1-930B-669F42AFF570}"/>
            </c:ext>
          </c:extLst>
        </c:ser>
        <c:ser>
          <c:idx val="1"/>
          <c:order val="1"/>
          <c:tx>
            <c:strRef>
              <c:f>'Figur 4.2'!$H$25</c:f>
              <c:strCache>
                <c:ptCount val="1"/>
                <c:pt idx="0">
                  <c:v>2035</c:v>
                </c:pt>
              </c:strCache>
            </c:strRef>
          </c:tx>
          <c:spPr>
            <a:solidFill>
              <a:srgbClr val="337C9B"/>
            </a:solidFill>
            <a:ln>
              <a:noFill/>
            </a:ln>
            <a:effectLst/>
          </c:spPr>
          <c:invertIfNegative val="0"/>
          <c:dLbls>
            <c:dLbl>
              <c:idx val="0"/>
              <c:layout>
                <c:manualLayout>
                  <c:x val="1.0645083689636278E-2"/>
                  <c:y val="-5.9238749418690631E-2"/>
                </c:manualLayout>
              </c:layout>
              <c:tx>
                <c:rich>
                  <a:bodyPr/>
                  <a:lstStyle/>
                  <a:p>
                    <a:r>
                      <a:rPr lang="en-US"/>
                      <a:t>-6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731-4FF1-930B-669F42AFF570}"/>
                </c:ext>
              </c:extLst>
            </c:dLbl>
            <c:dLbl>
              <c:idx val="1"/>
              <c:tx>
                <c:rich>
                  <a:bodyPr/>
                  <a:lstStyle/>
                  <a:p>
                    <a:r>
                      <a:rPr lang="en-US"/>
                      <a:t>-3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731-4FF1-930B-669F42AFF570}"/>
                </c:ext>
              </c:extLst>
            </c:dLbl>
            <c:dLbl>
              <c:idx val="2"/>
              <c:tx>
                <c:rich>
                  <a:bodyPr/>
                  <a:lstStyle/>
                  <a:p>
                    <a:r>
                      <a:rPr lang="en-US"/>
                      <a:t>+8</a:t>
                    </a:r>
                    <a:r>
                      <a:rPr lang="en-US" baseline="0"/>
                      <a:t> %</a:t>
                    </a:r>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731-4FF1-930B-669F42AFF570}"/>
                </c:ext>
              </c:extLst>
            </c:dLbl>
            <c:dLbl>
              <c:idx val="3"/>
              <c:tx>
                <c:rich>
                  <a:bodyPr/>
                  <a:lstStyle/>
                  <a:p>
                    <a:r>
                      <a:rPr lang="en-US"/>
                      <a:t>+2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731-4FF1-930B-669F42AFF570}"/>
                </c:ext>
              </c:extLst>
            </c:dLbl>
            <c:dLbl>
              <c:idx val="4"/>
              <c:tx>
                <c:rich>
                  <a:bodyPr/>
                  <a:lstStyle/>
                  <a:p>
                    <a:r>
                      <a:rPr lang="en-US"/>
                      <a:t>+17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731-4FF1-930B-669F42AFF570}"/>
                </c:ext>
              </c:extLst>
            </c:dLbl>
            <c:dLbl>
              <c:idx val="5"/>
              <c:tx>
                <c:rich>
                  <a:bodyPr/>
                  <a:lstStyle/>
                  <a:p>
                    <a:r>
                      <a:rPr lang="en-US"/>
                      <a:t>+45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731-4FF1-930B-669F42AFF570}"/>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igur 4.2'!$B$26:$G$26</c:f>
              <c:strCache>
                <c:ptCount val="6"/>
                <c:pt idx="0">
                  <c:v>0–18 år</c:v>
                </c:pt>
                <c:pt idx="1">
                  <c:v>19–34 år</c:v>
                </c:pt>
                <c:pt idx="2">
                  <c:v>35–49 år</c:v>
                </c:pt>
                <c:pt idx="3">
                  <c:v>50–66 år</c:v>
                </c:pt>
                <c:pt idx="4">
                  <c:v>67–74 år</c:v>
                </c:pt>
                <c:pt idx="5">
                  <c:v>75 år og eldre</c:v>
                </c:pt>
              </c:strCache>
            </c:strRef>
          </c:cat>
          <c:val>
            <c:numRef>
              <c:f>'Figur 4.2'!$H$27:$M$27</c:f>
              <c:numCache>
                <c:formatCode>[&gt;=10]#\ ##0;[&lt;10]#0.0</c:formatCode>
                <c:ptCount val="6"/>
                <c:pt idx="0">
                  <c:v>1109.8320000000001</c:v>
                </c:pt>
                <c:pt idx="1">
                  <c:v>1122.0640000000001</c:v>
                </c:pt>
                <c:pt idx="2">
                  <c:v>1170.521</c:v>
                </c:pt>
                <c:pt idx="3">
                  <c:v>1200.8789999999999</c:v>
                </c:pt>
                <c:pt idx="4">
                  <c:v>498.28699999999998</c:v>
                </c:pt>
                <c:pt idx="5">
                  <c:v>679.10699999999997</c:v>
                </c:pt>
              </c:numCache>
            </c:numRef>
          </c:val>
          <c:extLst>
            <c:ext xmlns:c15="http://schemas.microsoft.com/office/drawing/2012/chart" uri="{02D57815-91ED-43cb-92C2-25804820EDAC}">
              <c15:datalabelsRange>
                <c15:f>'Figur 4.2'!$T$27:$Y$27</c15:f>
                <c15:dlblRangeCache>
                  <c:ptCount val="6"/>
                  <c:pt idx="0">
                    <c:v>1 110 (-6 %)</c:v>
                  </c:pt>
                  <c:pt idx="1">
                    <c:v>1 122 (-3 %)</c:v>
                  </c:pt>
                  <c:pt idx="2">
                    <c:v>1 171 (8 %)</c:v>
                  </c:pt>
                  <c:pt idx="3">
                    <c:v>1 201 (2 %)</c:v>
                  </c:pt>
                  <c:pt idx="4">
                    <c:v>498 (17 %)</c:v>
                  </c:pt>
                  <c:pt idx="5">
                    <c:v>679 (45 %)</c:v>
                  </c:pt>
                </c15:dlblRangeCache>
              </c15:datalabelsRange>
            </c:ext>
            <c:ext xmlns:c16="http://schemas.microsoft.com/office/drawing/2014/chart" uri="{C3380CC4-5D6E-409C-BE32-E72D297353CC}">
              <c16:uniqueId val="{00000007-4731-4FF1-930B-669F42AFF570}"/>
            </c:ext>
          </c:extLst>
        </c:ser>
        <c:dLbls>
          <c:showLegendKey val="0"/>
          <c:showVal val="0"/>
          <c:showCatName val="0"/>
          <c:showSerName val="0"/>
          <c:showPercent val="0"/>
          <c:showBubbleSize val="0"/>
        </c:dLbls>
        <c:gapWidth val="219"/>
        <c:overlap val="-27"/>
        <c:axId val="140172288"/>
        <c:axId val="140173120"/>
      </c:barChart>
      <c:catAx>
        <c:axId val="14017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140173120"/>
        <c:crosses val="autoZero"/>
        <c:auto val="1"/>
        <c:lblAlgn val="ctr"/>
        <c:lblOffset val="100"/>
        <c:noMultiLvlLbl val="0"/>
      </c:catAx>
      <c:valAx>
        <c:axId val="1401731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140172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1"/>
          <c:order val="0"/>
          <c:tx>
            <c:strRef>
              <c:f>'Figur 3'!$A$37</c:f>
              <c:strCache>
                <c:ptCount val="1"/>
                <c:pt idx="0">
                  <c:v>2022</c:v>
                </c:pt>
              </c:strCache>
            </c:strRef>
          </c:tx>
          <c:spPr>
            <a:solidFill>
              <a:srgbClr val="CCDE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ur 3'!$B$35:$I$35</c:f>
              <c:strCache>
                <c:ptCount val="8"/>
                <c:pt idx="0">
                  <c:v>Alderspensjon</c:v>
                </c:pt>
                <c:pt idx="1">
                  <c:v>Nye alderspensjonister</c:v>
                </c:pt>
                <c:pt idx="2">
                  <c:v>Hjelpemidler</c:v>
                </c:pt>
                <c:pt idx="3">
                  <c:v>Foreldrepenger</c:v>
                </c:pt>
                <c:pt idx="4">
                  <c:v>Sykepenger</c:v>
                </c:pt>
                <c:pt idx="5">
                  <c:v>AAP</c:v>
                </c:pt>
                <c:pt idx="6">
                  <c:v>Uføretrygd</c:v>
                </c:pt>
                <c:pt idx="7">
                  <c:v>Dagpenger</c:v>
                </c:pt>
              </c:strCache>
            </c:strRef>
          </c:cat>
          <c:val>
            <c:numRef>
              <c:f>'Figur 3'!$B$37:$I$37</c:f>
              <c:numCache>
                <c:formatCode>#,##0</c:formatCode>
                <c:ptCount val="8"/>
                <c:pt idx="0">
                  <c:v>1010582</c:v>
                </c:pt>
                <c:pt idx="1">
                  <c:v>59523</c:v>
                </c:pt>
                <c:pt idx="2">
                  <c:v>159731</c:v>
                </c:pt>
                <c:pt idx="3">
                  <c:v>67835</c:v>
                </c:pt>
                <c:pt idx="4">
                  <c:v>121257.90063182398</c:v>
                </c:pt>
                <c:pt idx="5">
                  <c:v>136000</c:v>
                </c:pt>
                <c:pt idx="6">
                  <c:v>363908</c:v>
                </c:pt>
                <c:pt idx="7">
                  <c:v>40191</c:v>
                </c:pt>
              </c:numCache>
            </c:numRef>
          </c:val>
          <c:extLst>
            <c:ext xmlns:c16="http://schemas.microsoft.com/office/drawing/2014/chart" uri="{C3380CC4-5D6E-409C-BE32-E72D297353CC}">
              <c16:uniqueId val="{00000009-DC39-4A32-88B5-2689A953A698}"/>
            </c:ext>
          </c:extLst>
        </c:ser>
        <c:ser>
          <c:idx val="2"/>
          <c:order val="1"/>
          <c:tx>
            <c:strRef>
              <c:f>'Figur 3'!$A$38</c:f>
              <c:strCache>
                <c:ptCount val="1"/>
                <c:pt idx="0">
                  <c:v>2035</c:v>
                </c:pt>
              </c:strCache>
            </c:strRef>
          </c:tx>
          <c:spPr>
            <a:solidFill>
              <a:srgbClr val="337C9B"/>
            </a:solidFill>
            <a:ln>
              <a:noFill/>
            </a:ln>
            <a:effectLst/>
          </c:spPr>
          <c:invertIfNegative val="0"/>
          <c:dLbls>
            <c:dLbl>
              <c:idx val="0"/>
              <c:tx>
                <c:rich>
                  <a:bodyPr/>
                  <a:lstStyle/>
                  <a:p>
                    <a:r>
                      <a:rPr lang="en-US"/>
                      <a:t>1</a:t>
                    </a:r>
                    <a:r>
                      <a:rPr lang="en-US" baseline="0"/>
                      <a:t> 366 (+35 %)</a:t>
                    </a:r>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C39-4A32-88B5-2689A953A698}"/>
                </c:ext>
              </c:extLst>
            </c:dLbl>
            <c:dLbl>
              <c:idx val="1"/>
              <c:layout>
                <c:manualLayout>
                  <c:x val="1.266775072171817E-2"/>
                  <c:y val="-1.473914612760851E-2"/>
                </c:manualLayout>
              </c:layout>
              <c:tx>
                <c:rich>
                  <a:bodyPr/>
                  <a:lstStyle/>
                  <a:p>
                    <a:r>
                      <a:rPr lang="en-US"/>
                      <a:t>76 (+28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C39-4A32-88B5-2689A953A698}"/>
                </c:ext>
              </c:extLst>
            </c:dLbl>
            <c:dLbl>
              <c:idx val="2"/>
              <c:layout>
                <c:manualLayout>
                  <c:x val="1.1260222863749531E-2"/>
                  <c:y val="-5.0113096833868935E-2"/>
                </c:manualLayout>
              </c:layout>
              <c:tx>
                <c:rich>
                  <a:bodyPr/>
                  <a:lstStyle/>
                  <a:p>
                    <a:r>
                      <a:rPr lang="en-US"/>
                      <a:t>218 (+37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C39-4A32-88B5-2689A953A698}"/>
                </c:ext>
              </c:extLst>
            </c:dLbl>
            <c:dLbl>
              <c:idx val="3"/>
              <c:layout>
                <c:manualLayout>
                  <c:x val="1.9705390011561574E-2"/>
                  <c:y val="-3.2426121480738722E-2"/>
                </c:manualLayout>
              </c:layout>
              <c:tx>
                <c:rich>
                  <a:bodyPr/>
                  <a:lstStyle/>
                  <a:p>
                    <a:r>
                      <a:rPr lang="en-US"/>
                      <a:t>74 (+9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C39-4A32-88B5-2689A953A698}"/>
                </c:ext>
              </c:extLst>
            </c:dLbl>
            <c:dLbl>
              <c:idx val="4"/>
              <c:layout>
                <c:manualLayout>
                  <c:x val="7.0376392898434566E-3"/>
                  <c:y val="-3.5373950706260426E-2"/>
                </c:manualLayout>
              </c:layout>
              <c:tx>
                <c:rich>
                  <a:bodyPr/>
                  <a:lstStyle/>
                  <a:p>
                    <a:r>
                      <a:rPr lang="en-US"/>
                      <a:t>123 (+1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C39-4A32-88B5-2689A953A698}"/>
                </c:ext>
              </c:extLst>
            </c:dLbl>
            <c:dLbl>
              <c:idx val="5"/>
              <c:layout>
                <c:manualLayout>
                  <c:x val="4.2225835739060739E-3"/>
                  <c:y val="-2.9478292255217021E-2"/>
                </c:manualLayout>
              </c:layout>
              <c:tx>
                <c:rich>
                  <a:bodyPr/>
                  <a:lstStyle/>
                  <a:p>
                    <a:r>
                      <a:rPr lang="en-US"/>
                      <a:t>128 (-6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DC39-4A32-88B5-2689A953A698}"/>
                </c:ext>
              </c:extLst>
            </c:dLbl>
            <c:dLbl>
              <c:idx val="6"/>
              <c:layout>
                <c:manualLayout>
                  <c:x val="1.1260222863749531E-2"/>
                  <c:y val="-2.6530463029695316E-2"/>
                </c:manualLayout>
              </c:layout>
              <c:tx>
                <c:rich>
                  <a:bodyPr/>
                  <a:lstStyle/>
                  <a:p>
                    <a:r>
                      <a:rPr lang="en-US"/>
                      <a:t>388 (+7</a:t>
                    </a:r>
                    <a:r>
                      <a:rPr lang="en-US" baseline="0"/>
                      <a:t> %)</a:t>
                    </a:r>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DC39-4A32-88B5-2689A953A698}"/>
                </c:ext>
              </c:extLst>
            </c:dLbl>
            <c:dLbl>
              <c:idx val="7"/>
              <c:layout>
                <c:manualLayout>
                  <c:x val="8.4451671478120438E-3"/>
                  <c:y val="-3.2426121480738833E-2"/>
                </c:manualLayout>
              </c:layout>
              <c:tx>
                <c:rich>
                  <a:bodyPr/>
                  <a:lstStyle/>
                  <a:p>
                    <a:r>
                      <a:rPr lang="en-US"/>
                      <a:t>48 (+20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DC39-4A32-88B5-2689A953A69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ur 3'!$B$35:$I$35</c:f>
              <c:strCache>
                <c:ptCount val="8"/>
                <c:pt idx="0">
                  <c:v>Alderspensjon</c:v>
                </c:pt>
                <c:pt idx="1">
                  <c:v>Nye alderspensjonister</c:v>
                </c:pt>
                <c:pt idx="2">
                  <c:v>Hjelpemidler</c:v>
                </c:pt>
                <c:pt idx="3">
                  <c:v>Foreldrepenger</c:v>
                </c:pt>
                <c:pt idx="4">
                  <c:v>Sykepenger</c:v>
                </c:pt>
                <c:pt idx="5">
                  <c:v>AAP</c:v>
                </c:pt>
                <c:pt idx="6">
                  <c:v>Uføretrygd</c:v>
                </c:pt>
                <c:pt idx="7">
                  <c:v>Dagpenger</c:v>
                </c:pt>
              </c:strCache>
            </c:strRef>
          </c:cat>
          <c:val>
            <c:numRef>
              <c:f>'Figur 3'!$B$38:$I$38</c:f>
              <c:numCache>
                <c:formatCode>_-* #\ ##0_-;\-* #\ ##0_-;_-* "-"??_-;_-@_-</c:formatCode>
                <c:ptCount val="8"/>
                <c:pt idx="0">
                  <c:v>1365866</c:v>
                </c:pt>
                <c:pt idx="1">
                  <c:v>76100</c:v>
                </c:pt>
                <c:pt idx="2">
                  <c:v>218345</c:v>
                </c:pt>
                <c:pt idx="3">
                  <c:v>73704</c:v>
                </c:pt>
                <c:pt idx="4">
                  <c:v>122650.62611665341</c:v>
                </c:pt>
                <c:pt idx="5">
                  <c:v>127600</c:v>
                </c:pt>
                <c:pt idx="6">
                  <c:v>388187</c:v>
                </c:pt>
                <c:pt idx="7">
                  <c:v>48252.187213171113</c:v>
                </c:pt>
              </c:numCache>
            </c:numRef>
          </c:val>
          <c:extLst>
            <c:ext xmlns:c16="http://schemas.microsoft.com/office/drawing/2014/chart" uri="{C3380CC4-5D6E-409C-BE32-E72D297353CC}">
              <c16:uniqueId val="{00000012-DC39-4A32-88B5-2689A953A698}"/>
            </c:ext>
          </c:extLst>
        </c:ser>
        <c:dLbls>
          <c:dLblPos val="outEnd"/>
          <c:showLegendKey val="0"/>
          <c:showVal val="1"/>
          <c:showCatName val="0"/>
          <c:showSerName val="0"/>
          <c:showPercent val="0"/>
          <c:showBubbleSize val="0"/>
        </c:dLbls>
        <c:gapWidth val="219"/>
        <c:overlap val="-27"/>
        <c:axId val="549092512"/>
        <c:axId val="549092928"/>
      </c:barChart>
      <c:catAx>
        <c:axId val="549092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549092928"/>
        <c:crosses val="autoZero"/>
        <c:auto val="1"/>
        <c:lblAlgn val="ctr"/>
        <c:lblOffset val="100"/>
        <c:noMultiLvlLbl val="0"/>
      </c:catAx>
      <c:valAx>
        <c:axId val="549092928"/>
        <c:scaling>
          <c:orientation val="minMax"/>
          <c:max val="1500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549092512"/>
        <c:crosses val="autoZero"/>
        <c:crossBetween val="between"/>
        <c:dispUnits>
          <c:builtInUnit val="thousand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gur 9'!$A$16</c:f>
              <c:strCache>
                <c:ptCount val="1"/>
                <c:pt idx="0">
                  <c:v>2022-framskriving</c:v>
                </c:pt>
              </c:strCache>
            </c:strRef>
          </c:tx>
          <c:spPr>
            <a:solidFill>
              <a:srgbClr val="337C9B"/>
            </a:solidFill>
            <a:ln>
              <a:solidFill>
                <a:schemeClr val="accent1">
                  <a:lumMod val="75000"/>
                </a:schemeClr>
              </a:solidFill>
            </a:ln>
            <a:effectLst/>
          </c:spPr>
          <c:invertIfNegative val="0"/>
          <c:dPt>
            <c:idx val="0"/>
            <c:invertIfNegative val="0"/>
            <c:bubble3D val="0"/>
            <c:spPr>
              <a:solidFill>
                <a:srgbClr val="CCDEE6"/>
              </a:solidFill>
              <a:ln>
                <a:noFill/>
              </a:ln>
              <a:effectLst/>
            </c:spPr>
            <c:extLst>
              <c:ext xmlns:c16="http://schemas.microsoft.com/office/drawing/2014/chart" uri="{C3380CC4-5D6E-409C-BE32-E72D297353CC}">
                <c16:uniqueId val="{00000001-3AFC-49E7-9199-525F38473E39}"/>
              </c:ext>
            </c:extLst>
          </c:dPt>
          <c:dPt>
            <c:idx val="1"/>
            <c:invertIfNegative val="0"/>
            <c:bubble3D val="0"/>
            <c:spPr>
              <a:solidFill>
                <a:srgbClr val="337C9B"/>
              </a:solidFill>
              <a:ln>
                <a:noFill/>
              </a:ln>
              <a:effectLst/>
            </c:spPr>
            <c:extLst>
              <c:ext xmlns:c16="http://schemas.microsoft.com/office/drawing/2014/chart" uri="{C3380CC4-5D6E-409C-BE32-E72D297353CC}">
                <c16:uniqueId val="{00000002-D5AE-4673-B525-E113FAAF28A9}"/>
              </c:ext>
            </c:extLst>
          </c:dPt>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ur 9'!$B$1:$H$1</c:f>
              <c:strCache>
                <c:ptCount val="7"/>
                <c:pt idx="0">
                  <c:v>Hele landet (5,8)</c:v>
                </c:pt>
                <c:pt idx="1">
                  <c:v>Mest sentale kommuner (1,1)</c:v>
                </c:pt>
                <c:pt idx="2">
                  <c:v>Nest mest sentrale kommuner (1,5)</c:v>
                </c:pt>
                <c:pt idx="3">
                  <c:v>Over middels sentrale kommuner (1,5)</c:v>
                </c:pt>
                <c:pt idx="4">
                  <c:v>Middels sentrale kommuner (0,9)</c:v>
                </c:pt>
                <c:pt idx="5">
                  <c:v>Nest minst sentrale kommuner (0,5)</c:v>
                </c:pt>
                <c:pt idx="6">
                  <c:v>Minst sentrale kommuner (0,2)</c:v>
                </c:pt>
              </c:strCache>
            </c:strRef>
          </c:cat>
          <c:val>
            <c:numRef>
              <c:f>'Figur 9'!$B$16:$H$16</c:f>
              <c:numCache>
                <c:formatCode>0.0\ %</c:formatCode>
                <c:ptCount val="7"/>
                <c:pt idx="0">
                  <c:v>5.5835718421403557E-2</c:v>
                </c:pt>
                <c:pt idx="1">
                  <c:v>8.5205509775301058E-2</c:v>
                </c:pt>
                <c:pt idx="2">
                  <c:v>7.5882729148896377E-2</c:v>
                </c:pt>
                <c:pt idx="3">
                  <c:v>6.6472659779994947E-2</c:v>
                </c:pt>
                <c:pt idx="4">
                  <c:v>2.2822949649711655E-2</c:v>
                </c:pt>
                <c:pt idx="5">
                  <c:v>-9.4702223723198697E-3</c:v>
                </c:pt>
                <c:pt idx="6">
                  <c:v>-7.5411668601401693E-3</c:v>
                </c:pt>
              </c:numCache>
            </c:numRef>
          </c:val>
          <c:extLst>
            <c:ext xmlns:c16="http://schemas.microsoft.com/office/drawing/2014/chart" uri="{C3380CC4-5D6E-409C-BE32-E72D297353CC}">
              <c16:uniqueId val="{00000002-3AFC-49E7-9199-525F38473E39}"/>
            </c:ext>
          </c:extLst>
        </c:ser>
        <c:dLbls>
          <c:showLegendKey val="0"/>
          <c:showVal val="0"/>
          <c:showCatName val="0"/>
          <c:showSerName val="0"/>
          <c:showPercent val="0"/>
          <c:showBubbleSize val="0"/>
        </c:dLbls>
        <c:gapWidth val="219"/>
        <c:overlap val="-27"/>
        <c:axId val="2114358959"/>
        <c:axId val="2114374767"/>
      </c:barChart>
      <c:catAx>
        <c:axId val="211435895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2114374767"/>
        <c:crosses val="autoZero"/>
        <c:auto val="1"/>
        <c:lblAlgn val="ctr"/>
        <c:lblOffset val="100"/>
        <c:noMultiLvlLbl val="0"/>
      </c:catAx>
      <c:valAx>
        <c:axId val="211437476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211435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pPr>
      <a:endParaRPr lang="nb-NO"/>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ndard"/>
        <c:varyColors val="0"/>
        <c:ser>
          <c:idx val="0"/>
          <c:order val="0"/>
          <c:tx>
            <c:strRef>
              <c:f>Innvandrerbefolkning!$C$92</c:f>
              <c:strCache>
                <c:ptCount val="1"/>
                <c:pt idx="0">
                  <c:v>Innvandring</c:v>
                </c:pt>
              </c:strCache>
            </c:strRef>
          </c:tx>
          <c:spPr>
            <a:solidFill>
              <a:schemeClr val="accent1">
                <a:lumMod val="75000"/>
              </a:schemeClr>
            </a:solidFill>
            <a:ln>
              <a:solidFill>
                <a:schemeClr val="accent1">
                  <a:lumMod val="75000"/>
                </a:schemeClr>
              </a:solidFill>
            </a:ln>
            <a:effectLst/>
          </c:spPr>
          <c:cat>
            <c:strRef>
              <c:f>Innvandrerbefolkning!$B$93:$B$177</c:f>
              <c:strCache>
                <c:ptCount val="85"/>
                <c:pt idx="0">
                  <c:v>1951</c:v>
                </c:pt>
                <c:pt idx="1">
                  <c:v>1952</c:v>
                </c:pt>
                <c:pt idx="2">
                  <c:v>1953</c:v>
                </c:pt>
                <c:pt idx="3">
                  <c:v>1954</c:v>
                </c:pt>
                <c:pt idx="4">
                  <c:v>1955</c:v>
                </c:pt>
                <c:pt idx="5">
                  <c:v>1956</c:v>
                </c:pt>
                <c:pt idx="6">
                  <c:v>1957</c:v>
                </c:pt>
                <c:pt idx="7">
                  <c:v>1958</c:v>
                </c:pt>
                <c:pt idx="8">
                  <c:v>1959</c:v>
                </c:pt>
                <c:pt idx="9">
                  <c:v>1960</c:v>
                </c:pt>
                <c:pt idx="10">
                  <c:v>1961</c:v>
                </c:pt>
                <c:pt idx="11">
                  <c:v>1962</c:v>
                </c:pt>
                <c:pt idx="12">
                  <c:v>1963</c:v>
                </c:pt>
                <c:pt idx="13">
                  <c:v>1964</c:v>
                </c:pt>
                <c:pt idx="14">
                  <c:v>1965</c:v>
                </c:pt>
                <c:pt idx="15">
                  <c:v>1966</c:v>
                </c:pt>
                <c:pt idx="16">
                  <c:v>1967</c:v>
                </c:pt>
                <c:pt idx="17">
                  <c:v>1968</c:v>
                </c:pt>
                <c:pt idx="18">
                  <c:v>1969</c:v>
                </c:pt>
                <c:pt idx="19">
                  <c:v>1970</c:v>
                </c:pt>
                <c:pt idx="20">
                  <c:v>1971</c:v>
                </c:pt>
                <c:pt idx="21">
                  <c:v>1972</c:v>
                </c:pt>
                <c:pt idx="22">
                  <c:v>1973</c:v>
                </c:pt>
                <c:pt idx="23">
                  <c:v>1974</c:v>
                </c:pt>
                <c:pt idx="24">
                  <c:v>1975</c:v>
                </c:pt>
                <c:pt idx="25">
                  <c:v>1976</c:v>
                </c:pt>
                <c:pt idx="26">
                  <c:v>1977</c:v>
                </c:pt>
                <c:pt idx="27">
                  <c:v>1978</c:v>
                </c:pt>
                <c:pt idx="28">
                  <c:v>1979</c:v>
                </c:pt>
                <c:pt idx="29">
                  <c:v>1980</c:v>
                </c:pt>
                <c:pt idx="30">
                  <c:v>1981</c:v>
                </c:pt>
                <c:pt idx="31">
                  <c:v>1982</c:v>
                </c:pt>
                <c:pt idx="32">
                  <c:v>1983</c:v>
                </c:pt>
                <c:pt idx="33">
                  <c:v>1984</c:v>
                </c:pt>
                <c:pt idx="34">
                  <c:v>1985</c:v>
                </c:pt>
                <c:pt idx="35">
                  <c:v>1986</c:v>
                </c:pt>
                <c:pt idx="36">
                  <c:v>1987</c:v>
                </c:pt>
                <c:pt idx="37">
                  <c:v>1988</c:v>
                </c:pt>
                <c:pt idx="38">
                  <c:v>1989</c:v>
                </c:pt>
                <c:pt idx="39">
                  <c:v>1990</c:v>
                </c:pt>
                <c:pt idx="40">
                  <c:v>1991</c:v>
                </c:pt>
                <c:pt idx="41">
                  <c:v>1992</c:v>
                </c:pt>
                <c:pt idx="42">
                  <c:v>1993</c:v>
                </c:pt>
                <c:pt idx="43">
                  <c:v>1994</c:v>
                </c:pt>
                <c:pt idx="44">
                  <c:v>1995</c:v>
                </c:pt>
                <c:pt idx="45">
                  <c:v>1996</c:v>
                </c:pt>
                <c:pt idx="46">
                  <c:v>1997</c:v>
                </c:pt>
                <c:pt idx="47">
                  <c:v>1998</c:v>
                </c:pt>
                <c:pt idx="48">
                  <c:v>1999</c:v>
                </c:pt>
                <c:pt idx="49">
                  <c:v>2000</c:v>
                </c:pt>
                <c:pt idx="50">
                  <c:v>2001</c:v>
                </c:pt>
                <c:pt idx="51">
                  <c:v>2002</c:v>
                </c:pt>
                <c:pt idx="52">
                  <c:v>2003</c:v>
                </c:pt>
                <c:pt idx="53">
                  <c:v>2004</c:v>
                </c:pt>
                <c:pt idx="54">
                  <c:v>2005</c:v>
                </c:pt>
                <c:pt idx="55">
                  <c:v>2006</c:v>
                </c:pt>
                <c:pt idx="56">
                  <c:v>2007</c:v>
                </c:pt>
                <c:pt idx="57">
                  <c:v>2008</c:v>
                </c:pt>
                <c:pt idx="58">
                  <c:v>2009</c:v>
                </c:pt>
                <c:pt idx="59">
                  <c:v>2010</c:v>
                </c:pt>
                <c:pt idx="60">
                  <c:v>2011</c:v>
                </c:pt>
                <c:pt idx="61">
                  <c:v>2012</c:v>
                </c:pt>
                <c:pt idx="62">
                  <c:v>2013</c:v>
                </c:pt>
                <c:pt idx="63">
                  <c:v>2014</c:v>
                </c:pt>
                <c:pt idx="64">
                  <c:v>2015</c:v>
                </c:pt>
                <c:pt idx="65">
                  <c:v>2016</c:v>
                </c:pt>
                <c:pt idx="66">
                  <c:v>2017</c:v>
                </c:pt>
                <c:pt idx="67">
                  <c:v>2018</c:v>
                </c:pt>
                <c:pt idx="68">
                  <c:v>2019</c:v>
                </c:pt>
                <c:pt idx="69">
                  <c:v>2020</c:v>
                </c:pt>
                <c:pt idx="70">
                  <c:v>2021</c:v>
                </c:pt>
                <c:pt idx="71">
                  <c:v>2022</c:v>
                </c:pt>
                <c:pt idx="72">
                  <c:v>2023</c:v>
                </c:pt>
                <c:pt idx="73">
                  <c:v>2024</c:v>
                </c:pt>
                <c:pt idx="74">
                  <c:v>2025</c:v>
                </c:pt>
                <c:pt idx="75">
                  <c:v>2026</c:v>
                </c:pt>
                <c:pt idx="76">
                  <c:v>2027</c:v>
                </c:pt>
                <c:pt idx="77">
                  <c:v>2028</c:v>
                </c:pt>
                <c:pt idx="78">
                  <c:v>2029</c:v>
                </c:pt>
                <c:pt idx="79">
                  <c:v>2030</c:v>
                </c:pt>
                <c:pt idx="80">
                  <c:v>2031</c:v>
                </c:pt>
                <c:pt idx="81">
                  <c:v>2032</c:v>
                </c:pt>
                <c:pt idx="82">
                  <c:v>2033</c:v>
                </c:pt>
                <c:pt idx="83">
                  <c:v>2034</c:v>
                </c:pt>
                <c:pt idx="84">
                  <c:v>2035</c:v>
                </c:pt>
              </c:strCache>
            </c:strRef>
          </c:cat>
          <c:val>
            <c:numRef>
              <c:f>Innvandrerbefolkning!$C$93:$C$177</c:f>
              <c:numCache>
                <c:formatCode>_-* #\ ##0_-;\-* #\ ##0_-;_-* "-"??_-;_-@_-</c:formatCode>
                <c:ptCount val="85"/>
                <c:pt idx="0">
                  <c:v>6046</c:v>
                </c:pt>
                <c:pt idx="1">
                  <c:v>5967</c:v>
                </c:pt>
                <c:pt idx="2">
                  <c:v>6454</c:v>
                </c:pt>
                <c:pt idx="3">
                  <c:v>6005</c:v>
                </c:pt>
                <c:pt idx="4">
                  <c:v>7089</c:v>
                </c:pt>
                <c:pt idx="5">
                  <c:v>8092</c:v>
                </c:pt>
                <c:pt idx="6">
                  <c:v>12263</c:v>
                </c:pt>
                <c:pt idx="7">
                  <c:v>10161</c:v>
                </c:pt>
                <c:pt idx="8">
                  <c:v>10586</c:v>
                </c:pt>
                <c:pt idx="9">
                  <c:v>13536</c:v>
                </c:pt>
                <c:pt idx="10">
                  <c:v>11426</c:v>
                </c:pt>
                <c:pt idx="11">
                  <c:v>12778</c:v>
                </c:pt>
                <c:pt idx="12">
                  <c:v>11983</c:v>
                </c:pt>
                <c:pt idx="13">
                  <c:v>12406</c:v>
                </c:pt>
                <c:pt idx="14">
                  <c:v>12148</c:v>
                </c:pt>
                <c:pt idx="15">
                  <c:v>12446</c:v>
                </c:pt>
                <c:pt idx="16">
                  <c:v>15379</c:v>
                </c:pt>
                <c:pt idx="17">
                  <c:v>15350</c:v>
                </c:pt>
                <c:pt idx="18">
                  <c:v>15641</c:v>
                </c:pt>
                <c:pt idx="19">
                  <c:v>17383</c:v>
                </c:pt>
                <c:pt idx="20">
                  <c:v>19297</c:v>
                </c:pt>
                <c:pt idx="21">
                  <c:v>18388</c:v>
                </c:pt>
                <c:pt idx="22">
                  <c:v>17383</c:v>
                </c:pt>
                <c:pt idx="23">
                  <c:v>19209</c:v>
                </c:pt>
                <c:pt idx="24">
                  <c:v>19551</c:v>
                </c:pt>
                <c:pt idx="25">
                  <c:v>18955</c:v>
                </c:pt>
                <c:pt idx="26">
                  <c:v>19403</c:v>
                </c:pt>
                <c:pt idx="27">
                  <c:v>18825</c:v>
                </c:pt>
                <c:pt idx="28">
                  <c:v>17831</c:v>
                </c:pt>
                <c:pt idx="29">
                  <c:v>18776</c:v>
                </c:pt>
                <c:pt idx="30">
                  <c:v>19698</c:v>
                </c:pt>
                <c:pt idx="31">
                  <c:v>20468</c:v>
                </c:pt>
                <c:pt idx="32">
                  <c:v>20063</c:v>
                </c:pt>
                <c:pt idx="33">
                  <c:v>19688</c:v>
                </c:pt>
                <c:pt idx="34">
                  <c:v>21858</c:v>
                </c:pt>
                <c:pt idx="35">
                  <c:v>24196</c:v>
                </c:pt>
                <c:pt idx="36">
                  <c:v>31149</c:v>
                </c:pt>
                <c:pt idx="37">
                  <c:v>29964</c:v>
                </c:pt>
                <c:pt idx="38">
                  <c:v>25847</c:v>
                </c:pt>
                <c:pt idx="39">
                  <c:v>25494</c:v>
                </c:pt>
                <c:pt idx="40">
                  <c:v>26283</c:v>
                </c:pt>
                <c:pt idx="41">
                  <c:v>26743</c:v>
                </c:pt>
                <c:pt idx="42">
                  <c:v>31711</c:v>
                </c:pt>
                <c:pt idx="43">
                  <c:v>26911</c:v>
                </c:pt>
                <c:pt idx="44">
                  <c:v>25678</c:v>
                </c:pt>
                <c:pt idx="45">
                  <c:v>26407</c:v>
                </c:pt>
                <c:pt idx="46">
                  <c:v>31957</c:v>
                </c:pt>
                <c:pt idx="47">
                  <c:v>36704</c:v>
                </c:pt>
                <c:pt idx="48">
                  <c:v>41841</c:v>
                </c:pt>
                <c:pt idx="49">
                  <c:v>36542</c:v>
                </c:pt>
                <c:pt idx="50">
                  <c:v>34264</c:v>
                </c:pt>
                <c:pt idx="51">
                  <c:v>40122</c:v>
                </c:pt>
                <c:pt idx="52">
                  <c:v>35957</c:v>
                </c:pt>
                <c:pt idx="53">
                  <c:v>36482</c:v>
                </c:pt>
                <c:pt idx="54">
                  <c:v>40148</c:v>
                </c:pt>
                <c:pt idx="55">
                  <c:v>45776</c:v>
                </c:pt>
                <c:pt idx="56">
                  <c:v>61774</c:v>
                </c:pt>
                <c:pt idx="57">
                  <c:v>66961</c:v>
                </c:pt>
                <c:pt idx="58">
                  <c:v>65186</c:v>
                </c:pt>
                <c:pt idx="59">
                  <c:v>73852</c:v>
                </c:pt>
                <c:pt idx="60">
                  <c:v>79498</c:v>
                </c:pt>
                <c:pt idx="61">
                  <c:v>78570</c:v>
                </c:pt>
                <c:pt idx="62">
                  <c:v>75789</c:v>
                </c:pt>
                <c:pt idx="63">
                  <c:v>70030</c:v>
                </c:pt>
                <c:pt idx="64">
                  <c:v>67276</c:v>
                </c:pt>
                <c:pt idx="65">
                  <c:v>66800</c:v>
                </c:pt>
                <c:pt idx="66">
                  <c:v>58192</c:v>
                </c:pt>
                <c:pt idx="67">
                  <c:v>52485</c:v>
                </c:pt>
                <c:pt idx="68">
                  <c:v>52153</c:v>
                </c:pt>
                <c:pt idx="69">
                  <c:v>38075</c:v>
                </c:pt>
                <c:pt idx="70">
                  <c:v>53947</c:v>
                </c:pt>
                <c:pt idx="71">
                  <c:v>67126</c:v>
                </c:pt>
                <c:pt idx="72">
                  <c:v>55122</c:v>
                </c:pt>
                <c:pt idx="73">
                  <c:v>43309</c:v>
                </c:pt>
                <c:pt idx="74">
                  <c:v>42894</c:v>
                </c:pt>
                <c:pt idx="75">
                  <c:v>42832</c:v>
                </c:pt>
                <c:pt idx="76">
                  <c:v>42683</c:v>
                </c:pt>
                <c:pt idx="77">
                  <c:v>42463</c:v>
                </c:pt>
                <c:pt idx="78">
                  <c:v>42198</c:v>
                </c:pt>
                <c:pt idx="79">
                  <c:v>41920</c:v>
                </c:pt>
                <c:pt idx="80">
                  <c:v>41651</c:v>
                </c:pt>
                <c:pt idx="81">
                  <c:v>41386</c:v>
                </c:pt>
                <c:pt idx="82">
                  <c:v>41120</c:v>
                </c:pt>
                <c:pt idx="83">
                  <c:v>40860</c:v>
                </c:pt>
                <c:pt idx="84">
                  <c:v>40615</c:v>
                </c:pt>
              </c:numCache>
            </c:numRef>
          </c:val>
          <c:extLst>
            <c:ext xmlns:c16="http://schemas.microsoft.com/office/drawing/2014/chart" uri="{C3380CC4-5D6E-409C-BE32-E72D297353CC}">
              <c16:uniqueId val="{00000000-8AB8-458D-B82C-E46A0B161C2B}"/>
            </c:ext>
          </c:extLst>
        </c:ser>
        <c:ser>
          <c:idx val="1"/>
          <c:order val="1"/>
          <c:tx>
            <c:strRef>
              <c:f>Innvandrerbefolkning!$D$92</c:f>
              <c:strCache>
                <c:ptCount val="1"/>
                <c:pt idx="0">
                  <c:v>Utvandring</c:v>
                </c:pt>
              </c:strCache>
            </c:strRef>
          </c:tx>
          <c:spPr>
            <a:solidFill>
              <a:schemeClr val="tx2">
                <a:lumMod val="60000"/>
                <a:lumOff val="40000"/>
              </a:schemeClr>
            </a:solidFill>
            <a:ln>
              <a:solidFill>
                <a:schemeClr val="tx2">
                  <a:lumMod val="60000"/>
                  <a:lumOff val="40000"/>
                </a:schemeClr>
              </a:solidFill>
            </a:ln>
            <a:effectLst/>
          </c:spPr>
          <c:cat>
            <c:strRef>
              <c:f>Innvandrerbefolkning!$B$93:$B$177</c:f>
              <c:strCache>
                <c:ptCount val="85"/>
                <c:pt idx="0">
                  <c:v>1951</c:v>
                </c:pt>
                <c:pt idx="1">
                  <c:v>1952</c:v>
                </c:pt>
                <c:pt idx="2">
                  <c:v>1953</c:v>
                </c:pt>
                <c:pt idx="3">
                  <c:v>1954</c:v>
                </c:pt>
                <c:pt idx="4">
                  <c:v>1955</c:v>
                </c:pt>
                <c:pt idx="5">
                  <c:v>1956</c:v>
                </c:pt>
                <c:pt idx="6">
                  <c:v>1957</c:v>
                </c:pt>
                <c:pt idx="7">
                  <c:v>1958</c:v>
                </c:pt>
                <c:pt idx="8">
                  <c:v>1959</c:v>
                </c:pt>
                <c:pt idx="9">
                  <c:v>1960</c:v>
                </c:pt>
                <c:pt idx="10">
                  <c:v>1961</c:v>
                </c:pt>
                <c:pt idx="11">
                  <c:v>1962</c:v>
                </c:pt>
                <c:pt idx="12">
                  <c:v>1963</c:v>
                </c:pt>
                <c:pt idx="13">
                  <c:v>1964</c:v>
                </c:pt>
                <c:pt idx="14">
                  <c:v>1965</c:v>
                </c:pt>
                <c:pt idx="15">
                  <c:v>1966</c:v>
                </c:pt>
                <c:pt idx="16">
                  <c:v>1967</c:v>
                </c:pt>
                <c:pt idx="17">
                  <c:v>1968</c:v>
                </c:pt>
                <c:pt idx="18">
                  <c:v>1969</c:v>
                </c:pt>
                <c:pt idx="19">
                  <c:v>1970</c:v>
                </c:pt>
                <c:pt idx="20">
                  <c:v>1971</c:v>
                </c:pt>
                <c:pt idx="21">
                  <c:v>1972</c:v>
                </c:pt>
                <c:pt idx="22">
                  <c:v>1973</c:v>
                </c:pt>
                <c:pt idx="23">
                  <c:v>1974</c:v>
                </c:pt>
                <c:pt idx="24">
                  <c:v>1975</c:v>
                </c:pt>
                <c:pt idx="25">
                  <c:v>1976</c:v>
                </c:pt>
                <c:pt idx="26">
                  <c:v>1977</c:v>
                </c:pt>
                <c:pt idx="27">
                  <c:v>1978</c:v>
                </c:pt>
                <c:pt idx="28">
                  <c:v>1979</c:v>
                </c:pt>
                <c:pt idx="29">
                  <c:v>1980</c:v>
                </c:pt>
                <c:pt idx="30">
                  <c:v>1981</c:v>
                </c:pt>
                <c:pt idx="31">
                  <c:v>1982</c:v>
                </c:pt>
                <c:pt idx="32">
                  <c:v>1983</c:v>
                </c:pt>
                <c:pt idx="33">
                  <c:v>1984</c:v>
                </c:pt>
                <c:pt idx="34">
                  <c:v>1985</c:v>
                </c:pt>
                <c:pt idx="35">
                  <c:v>1986</c:v>
                </c:pt>
                <c:pt idx="36">
                  <c:v>1987</c:v>
                </c:pt>
                <c:pt idx="37">
                  <c:v>1988</c:v>
                </c:pt>
                <c:pt idx="38">
                  <c:v>1989</c:v>
                </c:pt>
                <c:pt idx="39">
                  <c:v>1990</c:v>
                </c:pt>
                <c:pt idx="40">
                  <c:v>1991</c:v>
                </c:pt>
                <c:pt idx="41">
                  <c:v>1992</c:v>
                </c:pt>
                <c:pt idx="42">
                  <c:v>1993</c:v>
                </c:pt>
                <c:pt idx="43">
                  <c:v>1994</c:v>
                </c:pt>
                <c:pt idx="44">
                  <c:v>1995</c:v>
                </c:pt>
                <c:pt idx="45">
                  <c:v>1996</c:v>
                </c:pt>
                <c:pt idx="46">
                  <c:v>1997</c:v>
                </c:pt>
                <c:pt idx="47">
                  <c:v>1998</c:v>
                </c:pt>
                <c:pt idx="48">
                  <c:v>1999</c:v>
                </c:pt>
                <c:pt idx="49">
                  <c:v>2000</c:v>
                </c:pt>
                <c:pt idx="50">
                  <c:v>2001</c:v>
                </c:pt>
                <c:pt idx="51">
                  <c:v>2002</c:v>
                </c:pt>
                <c:pt idx="52">
                  <c:v>2003</c:v>
                </c:pt>
                <c:pt idx="53">
                  <c:v>2004</c:v>
                </c:pt>
                <c:pt idx="54">
                  <c:v>2005</c:v>
                </c:pt>
                <c:pt idx="55">
                  <c:v>2006</c:v>
                </c:pt>
                <c:pt idx="56">
                  <c:v>2007</c:v>
                </c:pt>
                <c:pt idx="57">
                  <c:v>2008</c:v>
                </c:pt>
                <c:pt idx="58">
                  <c:v>2009</c:v>
                </c:pt>
                <c:pt idx="59">
                  <c:v>2010</c:v>
                </c:pt>
                <c:pt idx="60">
                  <c:v>2011</c:v>
                </c:pt>
                <c:pt idx="61">
                  <c:v>2012</c:v>
                </c:pt>
                <c:pt idx="62">
                  <c:v>2013</c:v>
                </c:pt>
                <c:pt idx="63">
                  <c:v>2014</c:v>
                </c:pt>
                <c:pt idx="64">
                  <c:v>2015</c:v>
                </c:pt>
                <c:pt idx="65">
                  <c:v>2016</c:v>
                </c:pt>
                <c:pt idx="66">
                  <c:v>2017</c:v>
                </c:pt>
                <c:pt idx="67">
                  <c:v>2018</c:v>
                </c:pt>
                <c:pt idx="68">
                  <c:v>2019</c:v>
                </c:pt>
                <c:pt idx="69">
                  <c:v>2020</c:v>
                </c:pt>
                <c:pt idx="70">
                  <c:v>2021</c:v>
                </c:pt>
                <c:pt idx="71">
                  <c:v>2022</c:v>
                </c:pt>
                <c:pt idx="72">
                  <c:v>2023</c:v>
                </c:pt>
                <c:pt idx="73">
                  <c:v>2024</c:v>
                </c:pt>
                <c:pt idx="74">
                  <c:v>2025</c:v>
                </c:pt>
                <c:pt idx="75">
                  <c:v>2026</c:v>
                </c:pt>
                <c:pt idx="76">
                  <c:v>2027</c:v>
                </c:pt>
                <c:pt idx="77">
                  <c:v>2028</c:v>
                </c:pt>
                <c:pt idx="78">
                  <c:v>2029</c:v>
                </c:pt>
                <c:pt idx="79">
                  <c:v>2030</c:v>
                </c:pt>
                <c:pt idx="80">
                  <c:v>2031</c:v>
                </c:pt>
                <c:pt idx="81">
                  <c:v>2032</c:v>
                </c:pt>
                <c:pt idx="82">
                  <c:v>2033</c:v>
                </c:pt>
                <c:pt idx="83">
                  <c:v>2034</c:v>
                </c:pt>
                <c:pt idx="84">
                  <c:v>2035</c:v>
                </c:pt>
              </c:strCache>
            </c:strRef>
          </c:cat>
          <c:val>
            <c:numRef>
              <c:f>Innvandrerbefolkning!$D$93:$D$177</c:f>
              <c:numCache>
                <c:formatCode>_-* #\ ##0_-;\-* #\ ##0_-;_-* "-"??_-;_-@_-</c:formatCode>
                <c:ptCount val="85"/>
                <c:pt idx="0">
                  <c:v>-10172</c:v>
                </c:pt>
                <c:pt idx="1">
                  <c:v>-7803</c:v>
                </c:pt>
                <c:pt idx="2">
                  <c:v>-7529</c:v>
                </c:pt>
                <c:pt idx="3">
                  <c:v>-7295</c:v>
                </c:pt>
                <c:pt idx="4">
                  <c:v>-8728</c:v>
                </c:pt>
                <c:pt idx="5">
                  <c:v>-10156</c:v>
                </c:pt>
                <c:pt idx="6">
                  <c:v>-12599</c:v>
                </c:pt>
                <c:pt idx="7">
                  <c:v>-11266</c:v>
                </c:pt>
                <c:pt idx="8">
                  <c:v>-11807</c:v>
                </c:pt>
                <c:pt idx="9">
                  <c:v>-18681</c:v>
                </c:pt>
                <c:pt idx="10">
                  <c:v>-10610</c:v>
                </c:pt>
                <c:pt idx="11">
                  <c:v>-12534</c:v>
                </c:pt>
                <c:pt idx="12">
                  <c:v>-11364</c:v>
                </c:pt>
                <c:pt idx="13">
                  <c:v>-14264</c:v>
                </c:pt>
                <c:pt idx="14">
                  <c:v>-14021</c:v>
                </c:pt>
                <c:pt idx="15">
                  <c:v>-13391</c:v>
                </c:pt>
                <c:pt idx="16">
                  <c:v>-13022</c:v>
                </c:pt>
                <c:pt idx="17">
                  <c:v>-13644</c:v>
                </c:pt>
                <c:pt idx="18">
                  <c:v>-13526</c:v>
                </c:pt>
                <c:pt idx="19">
                  <c:v>-18352</c:v>
                </c:pt>
                <c:pt idx="20">
                  <c:v>-12682</c:v>
                </c:pt>
                <c:pt idx="21">
                  <c:v>-13965</c:v>
                </c:pt>
                <c:pt idx="22">
                  <c:v>-13939</c:v>
                </c:pt>
                <c:pt idx="23">
                  <c:v>-14287</c:v>
                </c:pt>
                <c:pt idx="24">
                  <c:v>-14782</c:v>
                </c:pt>
                <c:pt idx="25">
                  <c:v>-14066</c:v>
                </c:pt>
                <c:pt idx="26">
                  <c:v>-14369</c:v>
                </c:pt>
                <c:pt idx="27">
                  <c:v>-14851</c:v>
                </c:pt>
                <c:pt idx="28">
                  <c:v>-15085</c:v>
                </c:pt>
                <c:pt idx="29">
                  <c:v>-14705</c:v>
                </c:pt>
                <c:pt idx="30">
                  <c:v>-14522</c:v>
                </c:pt>
                <c:pt idx="31">
                  <c:v>-14728</c:v>
                </c:pt>
                <c:pt idx="32">
                  <c:v>-15778</c:v>
                </c:pt>
                <c:pt idx="33">
                  <c:v>-15927</c:v>
                </c:pt>
                <c:pt idx="34">
                  <c:v>-15630</c:v>
                </c:pt>
                <c:pt idx="35">
                  <c:v>-16745</c:v>
                </c:pt>
                <c:pt idx="36">
                  <c:v>-17380</c:v>
                </c:pt>
                <c:pt idx="37">
                  <c:v>-19821</c:v>
                </c:pt>
                <c:pt idx="38">
                  <c:v>-27300</c:v>
                </c:pt>
                <c:pt idx="39">
                  <c:v>-23784</c:v>
                </c:pt>
                <c:pt idx="40">
                  <c:v>-18238</c:v>
                </c:pt>
                <c:pt idx="41">
                  <c:v>-16801</c:v>
                </c:pt>
                <c:pt idx="42">
                  <c:v>-18903</c:v>
                </c:pt>
                <c:pt idx="43">
                  <c:v>-19475</c:v>
                </c:pt>
                <c:pt idx="44">
                  <c:v>-19312</c:v>
                </c:pt>
                <c:pt idx="45">
                  <c:v>-20590</c:v>
                </c:pt>
                <c:pt idx="46">
                  <c:v>-21257</c:v>
                </c:pt>
                <c:pt idx="47">
                  <c:v>-22881</c:v>
                </c:pt>
                <c:pt idx="48">
                  <c:v>-22842</c:v>
                </c:pt>
                <c:pt idx="49">
                  <c:v>-26854</c:v>
                </c:pt>
                <c:pt idx="50">
                  <c:v>-26309</c:v>
                </c:pt>
                <c:pt idx="51">
                  <c:v>-22948</c:v>
                </c:pt>
                <c:pt idx="52">
                  <c:v>-24672</c:v>
                </c:pt>
                <c:pt idx="53">
                  <c:v>-23271</c:v>
                </c:pt>
                <c:pt idx="54">
                  <c:v>-21709</c:v>
                </c:pt>
                <c:pt idx="55">
                  <c:v>-22053</c:v>
                </c:pt>
                <c:pt idx="56">
                  <c:v>-22122</c:v>
                </c:pt>
                <c:pt idx="57">
                  <c:v>-23615</c:v>
                </c:pt>
                <c:pt idx="58">
                  <c:v>-26549</c:v>
                </c:pt>
                <c:pt idx="59">
                  <c:v>-31506</c:v>
                </c:pt>
                <c:pt idx="60">
                  <c:v>-32466</c:v>
                </c:pt>
                <c:pt idx="61">
                  <c:v>-31227</c:v>
                </c:pt>
                <c:pt idx="62">
                  <c:v>-35716</c:v>
                </c:pt>
                <c:pt idx="63">
                  <c:v>-31875</c:v>
                </c:pt>
                <c:pt idx="64">
                  <c:v>-37474</c:v>
                </c:pt>
                <c:pt idx="65">
                  <c:v>-40724</c:v>
                </c:pt>
                <c:pt idx="66">
                  <c:v>-36843</c:v>
                </c:pt>
                <c:pt idx="67">
                  <c:v>-34382</c:v>
                </c:pt>
                <c:pt idx="68">
                  <c:v>-26826</c:v>
                </c:pt>
                <c:pt idx="69">
                  <c:v>-26744</c:v>
                </c:pt>
                <c:pt idx="70">
                  <c:v>-34297</c:v>
                </c:pt>
                <c:pt idx="71">
                  <c:v>-29875</c:v>
                </c:pt>
                <c:pt idx="72">
                  <c:v>-30959</c:v>
                </c:pt>
                <c:pt idx="73">
                  <c:v>-31490</c:v>
                </c:pt>
                <c:pt idx="74">
                  <c:v>-30619</c:v>
                </c:pt>
                <c:pt idx="75">
                  <c:v>-30142</c:v>
                </c:pt>
                <c:pt idx="76">
                  <c:v>-29760</c:v>
                </c:pt>
                <c:pt idx="77">
                  <c:v>-29258</c:v>
                </c:pt>
                <c:pt idx="78">
                  <c:v>-28973</c:v>
                </c:pt>
                <c:pt idx="79">
                  <c:v>-28862</c:v>
                </c:pt>
                <c:pt idx="80">
                  <c:v>-28832</c:v>
                </c:pt>
                <c:pt idx="81">
                  <c:v>-28688</c:v>
                </c:pt>
                <c:pt idx="82">
                  <c:v>-28520</c:v>
                </c:pt>
                <c:pt idx="83">
                  <c:v>-28407</c:v>
                </c:pt>
                <c:pt idx="84">
                  <c:v>-28347</c:v>
                </c:pt>
              </c:numCache>
            </c:numRef>
          </c:val>
          <c:extLst>
            <c:ext xmlns:c16="http://schemas.microsoft.com/office/drawing/2014/chart" uri="{C3380CC4-5D6E-409C-BE32-E72D297353CC}">
              <c16:uniqueId val="{00000001-8AB8-458D-B82C-E46A0B161C2B}"/>
            </c:ext>
          </c:extLst>
        </c:ser>
        <c:ser>
          <c:idx val="2"/>
          <c:order val="2"/>
          <c:tx>
            <c:strRef>
              <c:f>Innvandrerbefolkning!$E$92</c:f>
              <c:strCache>
                <c:ptCount val="1"/>
                <c:pt idx="0">
                  <c:v>Nettoinnvandring</c:v>
                </c:pt>
              </c:strCache>
            </c:strRef>
          </c:tx>
          <c:spPr>
            <a:solidFill>
              <a:srgbClr val="C00000"/>
            </a:solidFill>
            <a:ln>
              <a:solidFill>
                <a:srgbClr val="C00000"/>
              </a:solidFill>
            </a:ln>
            <a:effectLst/>
          </c:spPr>
          <c:cat>
            <c:strRef>
              <c:f>Innvandrerbefolkning!$B$93:$B$177</c:f>
              <c:strCache>
                <c:ptCount val="85"/>
                <c:pt idx="0">
                  <c:v>1951</c:v>
                </c:pt>
                <c:pt idx="1">
                  <c:v>1952</c:v>
                </c:pt>
                <c:pt idx="2">
                  <c:v>1953</c:v>
                </c:pt>
                <c:pt idx="3">
                  <c:v>1954</c:v>
                </c:pt>
                <c:pt idx="4">
                  <c:v>1955</c:v>
                </c:pt>
                <c:pt idx="5">
                  <c:v>1956</c:v>
                </c:pt>
                <c:pt idx="6">
                  <c:v>1957</c:v>
                </c:pt>
                <c:pt idx="7">
                  <c:v>1958</c:v>
                </c:pt>
                <c:pt idx="8">
                  <c:v>1959</c:v>
                </c:pt>
                <c:pt idx="9">
                  <c:v>1960</c:v>
                </c:pt>
                <c:pt idx="10">
                  <c:v>1961</c:v>
                </c:pt>
                <c:pt idx="11">
                  <c:v>1962</c:v>
                </c:pt>
                <c:pt idx="12">
                  <c:v>1963</c:v>
                </c:pt>
                <c:pt idx="13">
                  <c:v>1964</c:v>
                </c:pt>
                <c:pt idx="14">
                  <c:v>1965</c:v>
                </c:pt>
                <c:pt idx="15">
                  <c:v>1966</c:v>
                </c:pt>
                <c:pt idx="16">
                  <c:v>1967</c:v>
                </c:pt>
                <c:pt idx="17">
                  <c:v>1968</c:v>
                </c:pt>
                <c:pt idx="18">
                  <c:v>1969</c:v>
                </c:pt>
                <c:pt idx="19">
                  <c:v>1970</c:v>
                </c:pt>
                <c:pt idx="20">
                  <c:v>1971</c:v>
                </c:pt>
                <c:pt idx="21">
                  <c:v>1972</c:v>
                </c:pt>
                <c:pt idx="22">
                  <c:v>1973</c:v>
                </c:pt>
                <c:pt idx="23">
                  <c:v>1974</c:v>
                </c:pt>
                <c:pt idx="24">
                  <c:v>1975</c:v>
                </c:pt>
                <c:pt idx="25">
                  <c:v>1976</c:v>
                </c:pt>
                <c:pt idx="26">
                  <c:v>1977</c:v>
                </c:pt>
                <c:pt idx="27">
                  <c:v>1978</c:v>
                </c:pt>
                <c:pt idx="28">
                  <c:v>1979</c:v>
                </c:pt>
                <c:pt idx="29">
                  <c:v>1980</c:v>
                </c:pt>
                <c:pt idx="30">
                  <c:v>1981</c:v>
                </c:pt>
                <c:pt idx="31">
                  <c:v>1982</c:v>
                </c:pt>
                <c:pt idx="32">
                  <c:v>1983</c:v>
                </c:pt>
                <c:pt idx="33">
                  <c:v>1984</c:v>
                </c:pt>
                <c:pt idx="34">
                  <c:v>1985</c:v>
                </c:pt>
                <c:pt idx="35">
                  <c:v>1986</c:v>
                </c:pt>
                <c:pt idx="36">
                  <c:v>1987</c:v>
                </c:pt>
                <c:pt idx="37">
                  <c:v>1988</c:v>
                </c:pt>
                <c:pt idx="38">
                  <c:v>1989</c:v>
                </c:pt>
                <c:pt idx="39">
                  <c:v>1990</c:v>
                </c:pt>
                <c:pt idx="40">
                  <c:v>1991</c:v>
                </c:pt>
                <c:pt idx="41">
                  <c:v>1992</c:v>
                </c:pt>
                <c:pt idx="42">
                  <c:v>1993</c:v>
                </c:pt>
                <c:pt idx="43">
                  <c:v>1994</c:v>
                </c:pt>
                <c:pt idx="44">
                  <c:v>1995</c:v>
                </c:pt>
                <c:pt idx="45">
                  <c:v>1996</c:v>
                </c:pt>
                <c:pt idx="46">
                  <c:v>1997</c:v>
                </c:pt>
                <c:pt idx="47">
                  <c:v>1998</c:v>
                </c:pt>
                <c:pt idx="48">
                  <c:v>1999</c:v>
                </c:pt>
                <c:pt idx="49">
                  <c:v>2000</c:v>
                </c:pt>
                <c:pt idx="50">
                  <c:v>2001</c:v>
                </c:pt>
                <c:pt idx="51">
                  <c:v>2002</c:v>
                </c:pt>
                <c:pt idx="52">
                  <c:v>2003</c:v>
                </c:pt>
                <c:pt idx="53">
                  <c:v>2004</c:v>
                </c:pt>
                <c:pt idx="54">
                  <c:v>2005</c:v>
                </c:pt>
                <c:pt idx="55">
                  <c:v>2006</c:v>
                </c:pt>
                <c:pt idx="56">
                  <c:v>2007</c:v>
                </c:pt>
                <c:pt idx="57">
                  <c:v>2008</c:v>
                </c:pt>
                <c:pt idx="58">
                  <c:v>2009</c:v>
                </c:pt>
                <c:pt idx="59">
                  <c:v>2010</c:v>
                </c:pt>
                <c:pt idx="60">
                  <c:v>2011</c:v>
                </c:pt>
                <c:pt idx="61">
                  <c:v>2012</c:v>
                </c:pt>
                <c:pt idx="62">
                  <c:v>2013</c:v>
                </c:pt>
                <c:pt idx="63">
                  <c:v>2014</c:v>
                </c:pt>
                <c:pt idx="64">
                  <c:v>2015</c:v>
                </c:pt>
                <c:pt idx="65">
                  <c:v>2016</c:v>
                </c:pt>
                <c:pt idx="66">
                  <c:v>2017</c:v>
                </c:pt>
                <c:pt idx="67">
                  <c:v>2018</c:v>
                </c:pt>
                <c:pt idx="68">
                  <c:v>2019</c:v>
                </c:pt>
                <c:pt idx="69">
                  <c:v>2020</c:v>
                </c:pt>
                <c:pt idx="70">
                  <c:v>2021</c:v>
                </c:pt>
                <c:pt idx="71">
                  <c:v>2022</c:v>
                </c:pt>
                <c:pt idx="72">
                  <c:v>2023</c:v>
                </c:pt>
                <c:pt idx="73">
                  <c:v>2024</c:v>
                </c:pt>
                <c:pt idx="74">
                  <c:v>2025</c:v>
                </c:pt>
                <c:pt idx="75">
                  <c:v>2026</c:v>
                </c:pt>
                <c:pt idx="76">
                  <c:v>2027</c:v>
                </c:pt>
                <c:pt idx="77">
                  <c:v>2028</c:v>
                </c:pt>
                <c:pt idx="78">
                  <c:v>2029</c:v>
                </c:pt>
                <c:pt idx="79">
                  <c:v>2030</c:v>
                </c:pt>
                <c:pt idx="80">
                  <c:v>2031</c:v>
                </c:pt>
                <c:pt idx="81">
                  <c:v>2032</c:v>
                </c:pt>
                <c:pt idx="82">
                  <c:v>2033</c:v>
                </c:pt>
                <c:pt idx="83">
                  <c:v>2034</c:v>
                </c:pt>
                <c:pt idx="84">
                  <c:v>2035</c:v>
                </c:pt>
              </c:strCache>
            </c:strRef>
          </c:cat>
          <c:val>
            <c:numRef>
              <c:f>Innvandrerbefolkning!$E$93:$E$177</c:f>
              <c:numCache>
                <c:formatCode>_-* #\ ##0_-;\-* #\ ##0_-;_-* "-"??_-;_-@_-</c:formatCode>
                <c:ptCount val="85"/>
                <c:pt idx="0">
                  <c:v>-2316</c:v>
                </c:pt>
                <c:pt idx="1">
                  <c:v>-2193</c:v>
                </c:pt>
                <c:pt idx="2">
                  <c:v>-1457</c:v>
                </c:pt>
                <c:pt idx="3">
                  <c:v>-1290</c:v>
                </c:pt>
                <c:pt idx="4">
                  <c:v>-1640</c:v>
                </c:pt>
                <c:pt idx="5">
                  <c:v>-2077</c:v>
                </c:pt>
                <c:pt idx="6">
                  <c:v>-90</c:v>
                </c:pt>
                <c:pt idx="7">
                  <c:v>-1105</c:v>
                </c:pt>
                <c:pt idx="8">
                  <c:v>-1221</c:v>
                </c:pt>
                <c:pt idx="9">
                  <c:v>-5145</c:v>
                </c:pt>
                <c:pt idx="10">
                  <c:v>816</c:v>
                </c:pt>
                <c:pt idx="11">
                  <c:v>244</c:v>
                </c:pt>
                <c:pt idx="12">
                  <c:v>619</c:v>
                </c:pt>
                <c:pt idx="13">
                  <c:v>-1858</c:v>
                </c:pt>
                <c:pt idx="14">
                  <c:v>-1873</c:v>
                </c:pt>
                <c:pt idx="15">
                  <c:v>-945</c:v>
                </c:pt>
                <c:pt idx="16">
                  <c:v>2357</c:v>
                </c:pt>
                <c:pt idx="17">
                  <c:v>1706</c:v>
                </c:pt>
                <c:pt idx="18">
                  <c:v>2115</c:v>
                </c:pt>
                <c:pt idx="19">
                  <c:v>-969</c:v>
                </c:pt>
                <c:pt idx="20">
                  <c:v>6615</c:v>
                </c:pt>
                <c:pt idx="21">
                  <c:v>4423</c:v>
                </c:pt>
                <c:pt idx="22">
                  <c:v>3444</c:v>
                </c:pt>
                <c:pt idx="23">
                  <c:v>4922</c:v>
                </c:pt>
                <c:pt idx="24">
                  <c:v>4769</c:v>
                </c:pt>
                <c:pt idx="25">
                  <c:v>4889</c:v>
                </c:pt>
                <c:pt idx="26">
                  <c:v>5034</c:v>
                </c:pt>
                <c:pt idx="27">
                  <c:v>3974</c:v>
                </c:pt>
                <c:pt idx="28">
                  <c:v>2746</c:v>
                </c:pt>
                <c:pt idx="29">
                  <c:v>4071</c:v>
                </c:pt>
                <c:pt idx="30">
                  <c:v>5176</c:v>
                </c:pt>
                <c:pt idx="31">
                  <c:v>5740</c:v>
                </c:pt>
                <c:pt idx="32">
                  <c:v>4285</c:v>
                </c:pt>
                <c:pt idx="33">
                  <c:v>3761</c:v>
                </c:pt>
                <c:pt idx="34">
                  <c:v>6228</c:v>
                </c:pt>
                <c:pt idx="35">
                  <c:v>7451</c:v>
                </c:pt>
                <c:pt idx="36">
                  <c:v>13769</c:v>
                </c:pt>
                <c:pt idx="37">
                  <c:v>10143</c:v>
                </c:pt>
                <c:pt idx="38">
                  <c:v>-1453</c:v>
                </c:pt>
                <c:pt idx="39">
                  <c:v>1710</c:v>
                </c:pt>
                <c:pt idx="40">
                  <c:v>8045</c:v>
                </c:pt>
                <c:pt idx="41">
                  <c:v>9942</c:v>
                </c:pt>
                <c:pt idx="42">
                  <c:v>12808</c:v>
                </c:pt>
                <c:pt idx="43">
                  <c:v>7436</c:v>
                </c:pt>
                <c:pt idx="44">
                  <c:v>6366</c:v>
                </c:pt>
                <c:pt idx="45">
                  <c:v>5817</c:v>
                </c:pt>
                <c:pt idx="46">
                  <c:v>10700</c:v>
                </c:pt>
                <c:pt idx="47">
                  <c:v>13823</c:v>
                </c:pt>
                <c:pt idx="48">
                  <c:v>18999</c:v>
                </c:pt>
                <c:pt idx="49">
                  <c:v>9688</c:v>
                </c:pt>
                <c:pt idx="50">
                  <c:v>7955</c:v>
                </c:pt>
                <c:pt idx="51">
                  <c:v>17174</c:v>
                </c:pt>
                <c:pt idx="52">
                  <c:v>11285</c:v>
                </c:pt>
                <c:pt idx="53">
                  <c:v>13211</c:v>
                </c:pt>
                <c:pt idx="54">
                  <c:v>18439</c:v>
                </c:pt>
                <c:pt idx="55">
                  <c:v>23723</c:v>
                </c:pt>
                <c:pt idx="56">
                  <c:v>39652</c:v>
                </c:pt>
                <c:pt idx="57">
                  <c:v>43346</c:v>
                </c:pt>
                <c:pt idx="58">
                  <c:v>38637</c:v>
                </c:pt>
                <c:pt idx="59">
                  <c:v>42346</c:v>
                </c:pt>
                <c:pt idx="60">
                  <c:v>47032</c:v>
                </c:pt>
                <c:pt idx="61">
                  <c:v>47343</c:v>
                </c:pt>
                <c:pt idx="62">
                  <c:v>40073</c:v>
                </c:pt>
                <c:pt idx="63">
                  <c:v>38155</c:v>
                </c:pt>
                <c:pt idx="64">
                  <c:v>29802</c:v>
                </c:pt>
                <c:pt idx="65">
                  <c:v>26076</c:v>
                </c:pt>
                <c:pt idx="66">
                  <c:v>21349</c:v>
                </c:pt>
                <c:pt idx="67">
                  <c:v>18103</c:v>
                </c:pt>
                <c:pt idx="68">
                  <c:v>25327</c:v>
                </c:pt>
                <c:pt idx="69">
                  <c:v>11331</c:v>
                </c:pt>
                <c:pt idx="70">
                  <c:v>19650</c:v>
                </c:pt>
                <c:pt idx="71">
                  <c:v>37251</c:v>
                </c:pt>
                <c:pt idx="72">
                  <c:v>24163</c:v>
                </c:pt>
                <c:pt idx="73">
                  <c:v>11819</c:v>
                </c:pt>
                <c:pt idx="74">
                  <c:v>12275</c:v>
                </c:pt>
                <c:pt idx="75">
                  <c:v>12690</c:v>
                </c:pt>
                <c:pt idx="76">
                  <c:v>12924</c:v>
                </c:pt>
                <c:pt idx="77">
                  <c:v>13204</c:v>
                </c:pt>
                <c:pt idx="78">
                  <c:v>13226</c:v>
                </c:pt>
                <c:pt idx="79">
                  <c:v>13058</c:v>
                </c:pt>
                <c:pt idx="80">
                  <c:v>12819</c:v>
                </c:pt>
                <c:pt idx="81">
                  <c:v>12698</c:v>
                </c:pt>
                <c:pt idx="82">
                  <c:v>12600</c:v>
                </c:pt>
                <c:pt idx="83">
                  <c:v>12454</c:v>
                </c:pt>
                <c:pt idx="84">
                  <c:v>12268</c:v>
                </c:pt>
              </c:numCache>
            </c:numRef>
          </c:val>
          <c:extLst>
            <c:ext xmlns:c16="http://schemas.microsoft.com/office/drawing/2014/chart" uri="{C3380CC4-5D6E-409C-BE32-E72D297353CC}">
              <c16:uniqueId val="{00000002-8AB8-458D-B82C-E46A0B161C2B}"/>
            </c:ext>
          </c:extLst>
        </c:ser>
        <c:dLbls>
          <c:showLegendKey val="0"/>
          <c:showVal val="0"/>
          <c:showCatName val="0"/>
          <c:showSerName val="0"/>
          <c:showPercent val="0"/>
          <c:showBubbleSize val="0"/>
        </c:dLbls>
        <c:axId val="280886335"/>
        <c:axId val="280898399"/>
      </c:areaChart>
      <c:catAx>
        <c:axId val="280886335"/>
        <c:scaling>
          <c:orientation val="minMax"/>
        </c:scaling>
        <c:delete val="0"/>
        <c:axPos val="b"/>
        <c:numFmt formatCode="General" sourceLinked="1"/>
        <c:majorTickMark val="out"/>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280898399"/>
        <c:crosses val="autoZero"/>
        <c:auto val="1"/>
        <c:lblAlgn val="ctr"/>
        <c:lblOffset val="100"/>
        <c:noMultiLvlLbl val="0"/>
      </c:catAx>
      <c:valAx>
        <c:axId val="280898399"/>
        <c:scaling>
          <c:orientation val="minMax"/>
          <c:max val="90000"/>
          <c:min val="-60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280886335"/>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rgbClr val="CCDEE6"/>
    </a:solidFill>
    <a:ln w="9525" cap="flat" cmpd="sng" algn="ctr">
      <a:noFill/>
      <a:round/>
    </a:ln>
    <a:effectLst/>
  </c:spPr>
  <c:txPr>
    <a:bodyPr/>
    <a:lstStyle/>
    <a:p>
      <a:pPr>
        <a:defRPr sz="1400"/>
      </a:pPr>
      <a:endParaRPr lang="nb-NO"/>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nb-NO" sz="1600"/>
              <a:t>Inntekt etter skatt per forbruksenhet</a:t>
            </a:r>
            <a:r>
              <a:rPr lang="nb-NO" sz="1600" baseline="0"/>
              <a:t> justert for prisvekst. 1986 = 100</a:t>
            </a:r>
            <a:endParaRPr lang="nb-NO" sz="160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lineChart>
        <c:grouping val="standard"/>
        <c:varyColors val="0"/>
        <c:ser>
          <c:idx val="0"/>
          <c:order val="0"/>
          <c:tx>
            <c:strRef>
              <c:f>'fig3.1'!$A$4</c:f>
              <c:strCache>
                <c:ptCount val="1"/>
                <c:pt idx="0">
                  <c:v>Høyeste kvintil</c:v>
                </c:pt>
              </c:strCache>
            </c:strRef>
          </c:tx>
          <c:spPr>
            <a:ln w="28575" cap="rnd">
              <a:solidFill>
                <a:schemeClr val="accent1"/>
              </a:solidFill>
              <a:round/>
            </a:ln>
            <a:effectLst/>
          </c:spPr>
          <c:marker>
            <c:symbol val="none"/>
          </c:marker>
          <c:cat>
            <c:numRef>
              <c:f>'fig3.1'!$B$3:$AJ$3</c:f>
              <c:numCache>
                <c:formatCode>General</c:formatCode>
                <c:ptCount val="35"/>
                <c:pt idx="0">
                  <c:v>1986</c:v>
                </c:pt>
                <c:pt idx="1">
                  <c:v>1987</c:v>
                </c:pt>
                <c:pt idx="2">
                  <c:v>1988</c:v>
                </c:pt>
                <c:pt idx="3">
                  <c:v>1989</c:v>
                </c:pt>
                <c:pt idx="4">
                  <c:v>1990</c:v>
                </c:pt>
                <c:pt idx="5">
                  <c:v>1991</c:v>
                </c:pt>
                <c:pt idx="6">
                  <c:v>1992</c:v>
                </c:pt>
                <c:pt idx="7">
                  <c:v>1993</c:v>
                </c:pt>
                <c:pt idx="8">
                  <c:v>1994</c:v>
                </c:pt>
                <c:pt idx="9">
                  <c:v>1995</c:v>
                </c:pt>
                <c:pt idx="10">
                  <c:v>1996</c:v>
                </c:pt>
                <c:pt idx="11">
                  <c:v>1997</c:v>
                </c:pt>
                <c:pt idx="12">
                  <c:v>1998</c:v>
                </c:pt>
                <c:pt idx="13">
                  <c:v>1999</c:v>
                </c:pt>
                <c:pt idx="14">
                  <c:v>2000</c:v>
                </c:pt>
                <c:pt idx="15">
                  <c:v>2001</c:v>
                </c:pt>
                <c:pt idx="16">
                  <c:v>2002</c:v>
                </c:pt>
                <c:pt idx="17">
                  <c:v>2003</c:v>
                </c:pt>
                <c:pt idx="18">
                  <c:v>2004</c:v>
                </c:pt>
                <c:pt idx="19">
                  <c:v>2005</c:v>
                </c:pt>
                <c:pt idx="20">
                  <c:v>2006</c:v>
                </c:pt>
                <c:pt idx="21">
                  <c:v>2007</c:v>
                </c:pt>
                <c:pt idx="22">
                  <c:v>2008</c:v>
                </c:pt>
                <c:pt idx="23">
                  <c:v>2009</c:v>
                </c:pt>
                <c:pt idx="24">
                  <c:v>2010</c:v>
                </c:pt>
                <c:pt idx="25">
                  <c:v>2011</c:v>
                </c:pt>
                <c:pt idx="26">
                  <c:v>2012</c:v>
                </c:pt>
                <c:pt idx="27">
                  <c:v>2013</c:v>
                </c:pt>
                <c:pt idx="28">
                  <c:v>2014</c:v>
                </c:pt>
                <c:pt idx="29">
                  <c:v>2015</c:v>
                </c:pt>
                <c:pt idx="30">
                  <c:v>2016</c:v>
                </c:pt>
                <c:pt idx="31">
                  <c:v>2017</c:v>
                </c:pt>
                <c:pt idx="32">
                  <c:v>2018</c:v>
                </c:pt>
                <c:pt idx="33">
                  <c:v>2019</c:v>
                </c:pt>
                <c:pt idx="34">
                  <c:v>2020</c:v>
                </c:pt>
              </c:numCache>
            </c:numRef>
          </c:cat>
          <c:val>
            <c:numRef>
              <c:f>'fig3.1'!$B$4:$AJ$4</c:f>
              <c:numCache>
                <c:formatCode>0</c:formatCode>
                <c:ptCount val="35"/>
                <c:pt idx="0" formatCode="General">
                  <c:v>100</c:v>
                </c:pt>
                <c:pt idx="1">
                  <c:v>103.78300500564301</c:v>
                </c:pt>
                <c:pt idx="2">
                  <c:v>104.051884957697</c:v>
                </c:pt>
                <c:pt idx="3">
                  <c:v>106.62723208140031</c:v>
                </c:pt>
                <c:pt idx="4">
                  <c:v>103.16203254882322</c:v>
                </c:pt>
                <c:pt idx="5">
                  <c:v>108.10439178456723</c:v>
                </c:pt>
                <c:pt idx="6">
                  <c:v>109.95166913817629</c:v>
                </c:pt>
                <c:pt idx="7">
                  <c:v>112.450390732429</c:v>
                </c:pt>
                <c:pt idx="8">
                  <c:v>113.99126228435017</c:v>
                </c:pt>
                <c:pt idx="9">
                  <c:v>114.85798044086597</c:v>
                </c:pt>
                <c:pt idx="10">
                  <c:v>122.28295174829368</c:v>
                </c:pt>
                <c:pt idx="11">
                  <c:v>127.49885816982382</c:v>
                </c:pt>
                <c:pt idx="12">
                  <c:v>131.922724332809</c:v>
                </c:pt>
                <c:pt idx="13">
                  <c:v>139.19518041230322</c:v>
                </c:pt>
                <c:pt idx="14">
                  <c:v>151.7434307113985</c:v>
                </c:pt>
                <c:pt idx="15">
                  <c:v>137.18062151061005</c:v>
                </c:pt>
                <c:pt idx="16">
                  <c:v>161.40342624838118</c:v>
                </c:pt>
                <c:pt idx="17">
                  <c:v>168.42498350896668</c:v>
                </c:pt>
                <c:pt idx="18">
                  <c:v>178.7064547173768</c:v>
                </c:pt>
                <c:pt idx="19">
                  <c:v>217.06578911166025</c:v>
                </c:pt>
                <c:pt idx="20">
                  <c:v>161.41187672094944</c:v>
                </c:pt>
                <c:pt idx="21">
                  <c:v>179.4234201249655</c:v>
                </c:pt>
                <c:pt idx="22">
                  <c:v>182.29628497539565</c:v>
                </c:pt>
                <c:pt idx="23">
                  <c:v>176.22446202403461</c:v>
                </c:pt>
                <c:pt idx="24">
                  <c:v>180.59323677544131</c:v>
                </c:pt>
                <c:pt idx="25">
                  <c:v>187.10784843182819</c:v>
                </c:pt>
                <c:pt idx="26">
                  <c:v>193.93855233830001</c:v>
                </c:pt>
                <c:pt idx="27">
                  <c:v>198.31948165409119</c:v>
                </c:pt>
                <c:pt idx="28">
                  <c:v>204.96313253583614</c:v>
                </c:pt>
                <c:pt idx="29">
                  <c:v>217.82605575541356</c:v>
                </c:pt>
                <c:pt idx="30">
                  <c:v>204.21173005772016</c:v>
                </c:pt>
                <c:pt idx="31">
                  <c:v>205.80761655833149</c:v>
                </c:pt>
                <c:pt idx="32">
                  <c:v>206.21166883255563</c:v>
                </c:pt>
                <c:pt idx="33">
                  <c:v>208.35923238598238</c:v>
                </c:pt>
                <c:pt idx="34">
                  <c:v>211.86042868364052</c:v>
                </c:pt>
              </c:numCache>
            </c:numRef>
          </c:val>
          <c:smooth val="0"/>
          <c:extLst>
            <c:ext xmlns:c16="http://schemas.microsoft.com/office/drawing/2014/chart" uri="{C3380CC4-5D6E-409C-BE32-E72D297353CC}">
              <c16:uniqueId val="{00000000-C36F-436F-B84B-343B8F79E499}"/>
            </c:ext>
          </c:extLst>
        </c:ser>
        <c:ser>
          <c:idx val="1"/>
          <c:order val="1"/>
          <c:tx>
            <c:strRef>
              <c:f>'fig3.1'!$A$5</c:f>
              <c:strCache>
                <c:ptCount val="1"/>
                <c:pt idx="0">
                  <c:v>Alle personer</c:v>
                </c:pt>
              </c:strCache>
            </c:strRef>
          </c:tx>
          <c:spPr>
            <a:ln w="28575" cap="rnd">
              <a:solidFill>
                <a:schemeClr val="accent2"/>
              </a:solidFill>
              <a:round/>
            </a:ln>
            <a:effectLst/>
          </c:spPr>
          <c:marker>
            <c:symbol val="none"/>
          </c:marker>
          <c:cat>
            <c:numRef>
              <c:f>'fig3.1'!$B$3:$AJ$3</c:f>
              <c:numCache>
                <c:formatCode>General</c:formatCode>
                <c:ptCount val="35"/>
                <c:pt idx="0">
                  <c:v>1986</c:v>
                </c:pt>
                <c:pt idx="1">
                  <c:v>1987</c:v>
                </c:pt>
                <c:pt idx="2">
                  <c:v>1988</c:v>
                </c:pt>
                <c:pt idx="3">
                  <c:v>1989</c:v>
                </c:pt>
                <c:pt idx="4">
                  <c:v>1990</c:v>
                </c:pt>
                <c:pt idx="5">
                  <c:v>1991</c:v>
                </c:pt>
                <c:pt idx="6">
                  <c:v>1992</c:v>
                </c:pt>
                <c:pt idx="7">
                  <c:v>1993</c:v>
                </c:pt>
                <c:pt idx="8">
                  <c:v>1994</c:v>
                </c:pt>
                <c:pt idx="9">
                  <c:v>1995</c:v>
                </c:pt>
                <c:pt idx="10">
                  <c:v>1996</c:v>
                </c:pt>
                <c:pt idx="11">
                  <c:v>1997</c:v>
                </c:pt>
                <c:pt idx="12">
                  <c:v>1998</c:v>
                </c:pt>
                <c:pt idx="13">
                  <c:v>1999</c:v>
                </c:pt>
                <c:pt idx="14">
                  <c:v>2000</c:v>
                </c:pt>
                <c:pt idx="15">
                  <c:v>2001</c:v>
                </c:pt>
                <c:pt idx="16">
                  <c:v>2002</c:v>
                </c:pt>
                <c:pt idx="17">
                  <c:v>2003</c:v>
                </c:pt>
                <c:pt idx="18">
                  <c:v>2004</c:v>
                </c:pt>
                <c:pt idx="19">
                  <c:v>2005</c:v>
                </c:pt>
                <c:pt idx="20">
                  <c:v>2006</c:v>
                </c:pt>
                <c:pt idx="21">
                  <c:v>2007</c:v>
                </c:pt>
                <c:pt idx="22">
                  <c:v>2008</c:v>
                </c:pt>
                <c:pt idx="23">
                  <c:v>2009</c:v>
                </c:pt>
                <c:pt idx="24">
                  <c:v>2010</c:v>
                </c:pt>
                <c:pt idx="25">
                  <c:v>2011</c:v>
                </c:pt>
                <c:pt idx="26">
                  <c:v>2012</c:v>
                </c:pt>
                <c:pt idx="27">
                  <c:v>2013</c:v>
                </c:pt>
                <c:pt idx="28">
                  <c:v>2014</c:v>
                </c:pt>
                <c:pt idx="29">
                  <c:v>2015</c:v>
                </c:pt>
                <c:pt idx="30">
                  <c:v>2016</c:v>
                </c:pt>
                <c:pt idx="31">
                  <c:v>2017</c:v>
                </c:pt>
                <c:pt idx="32">
                  <c:v>2018</c:v>
                </c:pt>
                <c:pt idx="33">
                  <c:v>2019</c:v>
                </c:pt>
                <c:pt idx="34">
                  <c:v>2020</c:v>
                </c:pt>
              </c:numCache>
            </c:numRef>
          </c:cat>
          <c:val>
            <c:numRef>
              <c:f>'fig3.1'!$B$5:$AJ$5</c:f>
              <c:numCache>
                <c:formatCode>0</c:formatCode>
                <c:ptCount val="35"/>
                <c:pt idx="0" formatCode="General">
                  <c:v>100</c:v>
                </c:pt>
                <c:pt idx="1">
                  <c:v>103.47375527005438</c:v>
                </c:pt>
                <c:pt idx="2">
                  <c:v>103.45255153832049</c:v>
                </c:pt>
                <c:pt idx="3">
                  <c:v>101.8747027594672</c:v>
                </c:pt>
                <c:pt idx="4">
                  <c:v>101.89012669433204</c:v>
                </c:pt>
                <c:pt idx="5">
                  <c:v>105.58651122025336</c:v>
                </c:pt>
                <c:pt idx="6">
                  <c:v>107.30426543942096</c:v>
                </c:pt>
                <c:pt idx="7">
                  <c:v>107.72152740270253</c:v>
                </c:pt>
                <c:pt idx="8">
                  <c:v>107.27746674966821</c:v>
                </c:pt>
                <c:pt idx="9">
                  <c:v>108.75640982735575</c:v>
                </c:pt>
                <c:pt idx="10">
                  <c:v>112.99498168153545</c:v>
                </c:pt>
                <c:pt idx="11">
                  <c:v>116.61737543006055</c:v>
                </c:pt>
                <c:pt idx="12">
                  <c:v>122.82525433666352</c:v>
                </c:pt>
                <c:pt idx="13">
                  <c:v>128.35938274581557</c:v>
                </c:pt>
                <c:pt idx="14">
                  <c:v>133.36580384776241</c:v>
                </c:pt>
                <c:pt idx="15">
                  <c:v>131.51264512024107</c:v>
                </c:pt>
                <c:pt idx="16">
                  <c:v>142.23793466547531</c:v>
                </c:pt>
                <c:pt idx="17">
                  <c:v>144.92428677542387</c:v>
                </c:pt>
                <c:pt idx="18">
                  <c:v>150.44391325356511</c:v>
                </c:pt>
                <c:pt idx="19">
                  <c:v>166.02825641114313</c:v>
                </c:pt>
                <c:pt idx="20">
                  <c:v>150.66335102828472</c:v>
                </c:pt>
                <c:pt idx="21">
                  <c:v>163.77453530935787</c:v>
                </c:pt>
                <c:pt idx="22">
                  <c:v>168.64378993078489</c:v>
                </c:pt>
                <c:pt idx="23">
                  <c:v>166.08756672120009</c:v>
                </c:pt>
                <c:pt idx="24">
                  <c:v>168.27421162686622</c:v>
                </c:pt>
                <c:pt idx="25">
                  <c:v>173.9548463258682</c:v>
                </c:pt>
                <c:pt idx="26">
                  <c:v>179.88310302184692</c:v>
                </c:pt>
                <c:pt idx="27">
                  <c:v>183.08558089071033</c:v>
                </c:pt>
                <c:pt idx="28">
                  <c:v>186.61254010018786</c:v>
                </c:pt>
                <c:pt idx="29">
                  <c:v>190.81122294692284</c:v>
                </c:pt>
                <c:pt idx="30">
                  <c:v>184.00859671208471</c:v>
                </c:pt>
                <c:pt idx="31">
                  <c:v>185.56576895684114</c:v>
                </c:pt>
                <c:pt idx="32">
                  <c:v>186.31831579107674</c:v>
                </c:pt>
                <c:pt idx="33">
                  <c:v>189.05092960547876</c:v>
                </c:pt>
                <c:pt idx="34">
                  <c:v>190.78613975046773</c:v>
                </c:pt>
              </c:numCache>
            </c:numRef>
          </c:val>
          <c:smooth val="0"/>
          <c:extLst>
            <c:ext xmlns:c16="http://schemas.microsoft.com/office/drawing/2014/chart" uri="{C3380CC4-5D6E-409C-BE32-E72D297353CC}">
              <c16:uniqueId val="{00000001-C36F-436F-B84B-343B8F79E499}"/>
            </c:ext>
          </c:extLst>
        </c:ser>
        <c:ser>
          <c:idx val="2"/>
          <c:order val="2"/>
          <c:tx>
            <c:strRef>
              <c:f>'fig3.1'!$A$6</c:f>
              <c:strCache>
                <c:ptCount val="1"/>
                <c:pt idx="0">
                  <c:v>Laveste kvintil</c:v>
                </c:pt>
              </c:strCache>
            </c:strRef>
          </c:tx>
          <c:spPr>
            <a:ln w="28575" cap="rnd">
              <a:solidFill>
                <a:schemeClr val="accent3"/>
              </a:solidFill>
              <a:round/>
            </a:ln>
            <a:effectLst/>
          </c:spPr>
          <c:marker>
            <c:symbol val="none"/>
          </c:marker>
          <c:cat>
            <c:numRef>
              <c:f>'fig3.1'!$B$3:$AJ$3</c:f>
              <c:numCache>
                <c:formatCode>General</c:formatCode>
                <c:ptCount val="35"/>
                <c:pt idx="0">
                  <c:v>1986</c:v>
                </c:pt>
                <c:pt idx="1">
                  <c:v>1987</c:v>
                </c:pt>
                <c:pt idx="2">
                  <c:v>1988</c:v>
                </c:pt>
                <c:pt idx="3">
                  <c:v>1989</c:v>
                </c:pt>
                <c:pt idx="4">
                  <c:v>1990</c:v>
                </c:pt>
                <c:pt idx="5">
                  <c:v>1991</c:v>
                </c:pt>
                <c:pt idx="6">
                  <c:v>1992</c:v>
                </c:pt>
                <c:pt idx="7">
                  <c:v>1993</c:v>
                </c:pt>
                <c:pt idx="8">
                  <c:v>1994</c:v>
                </c:pt>
                <c:pt idx="9">
                  <c:v>1995</c:v>
                </c:pt>
                <c:pt idx="10">
                  <c:v>1996</c:v>
                </c:pt>
                <c:pt idx="11">
                  <c:v>1997</c:v>
                </c:pt>
                <c:pt idx="12">
                  <c:v>1998</c:v>
                </c:pt>
                <c:pt idx="13">
                  <c:v>1999</c:v>
                </c:pt>
                <c:pt idx="14">
                  <c:v>2000</c:v>
                </c:pt>
                <c:pt idx="15">
                  <c:v>2001</c:v>
                </c:pt>
                <c:pt idx="16">
                  <c:v>2002</c:v>
                </c:pt>
                <c:pt idx="17">
                  <c:v>2003</c:v>
                </c:pt>
                <c:pt idx="18">
                  <c:v>2004</c:v>
                </c:pt>
                <c:pt idx="19">
                  <c:v>2005</c:v>
                </c:pt>
                <c:pt idx="20">
                  <c:v>2006</c:v>
                </c:pt>
                <c:pt idx="21">
                  <c:v>2007</c:v>
                </c:pt>
                <c:pt idx="22">
                  <c:v>2008</c:v>
                </c:pt>
                <c:pt idx="23">
                  <c:v>2009</c:v>
                </c:pt>
                <c:pt idx="24">
                  <c:v>2010</c:v>
                </c:pt>
                <c:pt idx="25">
                  <c:v>2011</c:v>
                </c:pt>
                <c:pt idx="26">
                  <c:v>2012</c:v>
                </c:pt>
                <c:pt idx="27">
                  <c:v>2013</c:v>
                </c:pt>
                <c:pt idx="28">
                  <c:v>2014</c:v>
                </c:pt>
                <c:pt idx="29">
                  <c:v>2015</c:v>
                </c:pt>
                <c:pt idx="30">
                  <c:v>2016</c:v>
                </c:pt>
                <c:pt idx="31">
                  <c:v>2017</c:v>
                </c:pt>
                <c:pt idx="32">
                  <c:v>2018</c:v>
                </c:pt>
                <c:pt idx="33">
                  <c:v>2019</c:v>
                </c:pt>
                <c:pt idx="34">
                  <c:v>2020</c:v>
                </c:pt>
              </c:numCache>
            </c:numRef>
          </c:cat>
          <c:val>
            <c:numRef>
              <c:f>'fig3.1'!$B$6:$AJ$6</c:f>
              <c:numCache>
                <c:formatCode>0</c:formatCode>
                <c:ptCount val="35"/>
                <c:pt idx="0" formatCode="General">
                  <c:v>100</c:v>
                </c:pt>
                <c:pt idx="1">
                  <c:v>102.7499201424361</c:v>
                </c:pt>
                <c:pt idx="2">
                  <c:v>103.3417017912909</c:v>
                </c:pt>
                <c:pt idx="3">
                  <c:v>97.949083121043884</c:v>
                </c:pt>
                <c:pt idx="4">
                  <c:v>100.09415135904294</c:v>
                </c:pt>
                <c:pt idx="5">
                  <c:v>104.21517788521632</c:v>
                </c:pt>
                <c:pt idx="6">
                  <c:v>104.26924242187776</c:v>
                </c:pt>
                <c:pt idx="7">
                  <c:v>103.80210952251116</c:v>
                </c:pt>
                <c:pt idx="8">
                  <c:v>99.558290986192205</c:v>
                </c:pt>
                <c:pt idx="9">
                  <c:v>103.43443841880014</c:v>
                </c:pt>
                <c:pt idx="10">
                  <c:v>105.98207475926213</c:v>
                </c:pt>
                <c:pt idx="11">
                  <c:v>109.33749655030192</c:v>
                </c:pt>
                <c:pt idx="12">
                  <c:v>118.99960316343999</c:v>
                </c:pt>
                <c:pt idx="13">
                  <c:v>124.07204136889504</c:v>
                </c:pt>
                <c:pt idx="14">
                  <c:v>123.98326055396298</c:v>
                </c:pt>
                <c:pt idx="15">
                  <c:v>129.27731373959733</c:v>
                </c:pt>
                <c:pt idx="16">
                  <c:v>130.67546826646515</c:v>
                </c:pt>
                <c:pt idx="17">
                  <c:v>132.10186627028051</c:v>
                </c:pt>
                <c:pt idx="18">
                  <c:v>136.49284900896495</c:v>
                </c:pt>
                <c:pt idx="19">
                  <c:v>140.06107991052133</c:v>
                </c:pt>
                <c:pt idx="20">
                  <c:v>142.63310115022151</c:v>
                </c:pt>
                <c:pt idx="21">
                  <c:v>152.11440145216869</c:v>
                </c:pt>
                <c:pt idx="22">
                  <c:v>156.28040495295565</c:v>
                </c:pt>
                <c:pt idx="23">
                  <c:v>157.08222842632352</c:v>
                </c:pt>
                <c:pt idx="24">
                  <c:v>158.37293256924045</c:v>
                </c:pt>
                <c:pt idx="25">
                  <c:v>162.45578038554837</c:v>
                </c:pt>
                <c:pt idx="26">
                  <c:v>166.58336284627876</c:v>
                </c:pt>
                <c:pt idx="27">
                  <c:v>167.95952127604832</c:v>
                </c:pt>
                <c:pt idx="28">
                  <c:v>168.73409644693066</c:v>
                </c:pt>
                <c:pt idx="29">
                  <c:v>168.25129887749924</c:v>
                </c:pt>
                <c:pt idx="30">
                  <c:v>164.47127409756081</c:v>
                </c:pt>
                <c:pt idx="31">
                  <c:v>165.85580564917132</c:v>
                </c:pt>
                <c:pt idx="32">
                  <c:v>166.80511497796255</c:v>
                </c:pt>
                <c:pt idx="33">
                  <c:v>169.12176110580421</c:v>
                </c:pt>
                <c:pt idx="34">
                  <c:v>170.46076818155055</c:v>
                </c:pt>
              </c:numCache>
            </c:numRef>
          </c:val>
          <c:smooth val="0"/>
          <c:extLst>
            <c:ext xmlns:c16="http://schemas.microsoft.com/office/drawing/2014/chart" uri="{C3380CC4-5D6E-409C-BE32-E72D297353CC}">
              <c16:uniqueId val="{00000002-C36F-436F-B84B-343B8F79E499}"/>
            </c:ext>
          </c:extLst>
        </c:ser>
        <c:dLbls>
          <c:showLegendKey val="0"/>
          <c:showVal val="0"/>
          <c:showCatName val="0"/>
          <c:showSerName val="0"/>
          <c:showPercent val="0"/>
          <c:showBubbleSize val="0"/>
        </c:dLbls>
        <c:smooth val="0"/>
        <c:axId val="628771328"/>
        <c:axId val="696354144"/>
      </c:lineChart>
      <c:catAx>
        <c:axId val="62877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96354144"/>
        <c:crosses val="autoZero"/>
        <c:auto val="1"/>
        <c:lblAlgn val="ctr"/>
        <c:lblOffset val="100"/>
        <c:tickMarkSkip val="2"/>
        <c:noMultiLvlLbl val="0"/>
      </c:catAx>
      <c:valAx>
        <c:axId val="696354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287713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Reversed" id="22">
  <a:schemeClr val="accent2"/>
</cs:colorStyle>
</file>

<file path=ppt/charts/colors6.xml><?xml version="1.0" encoding="utf-8"?>
<cs:colorStyle xmlns:cs="http://schemas.microsoft.com/office/drawing/2012/chartStyle" xmlns:a="http://schemas.openxmlformats.org/drawingml/2006/main" meth="withinLinearReversed" id="22">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1B06FD-D711-124E-A3E3-0FBE1F8F0CE4}" type="datetimeFigureOut">
              <a:rPr lang="nb-NO" smtClean="0"/>
              <a:t>18.04.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1B4BBF-70B9-8047-B02F-2484F1EA6A40}" type="slidenum">
              <a:rPr lang="nb-NO" smtClean="0"/>
              <a:t>‹#›</a:t>
            </a:fld>
            <a:endParaRPr lang="nb-NO"/>
          </a:p>
        </p:txBody>
      </p:sp>
    </p:spTree>
    <p:extLst>
      <p:ext uri="{BB962C8B-B14F-4D97-AF65-F5344CB8AC3E}">
        <p14:creationId xmlns:p14="http://schemas.microsoft.com/office/powerpoint/2010/main" val="1263860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memu.no/artikler/31-000-faerre-star-utenfor-arbeidsliv-eller-utdanning/"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1</a:t>
            </a:fld>
            <a:endParaRPr lang="nb-NO"/>
          </a:p>
        </p:txBody>
      </p:sp>
    </p:spTree>
    <p:extLst>
      <p:ext uri="{BB962C8B-B14F-4D97-AF65-F5344CB8AC3E}">
        <p14:creationId xmlns:p14="http://schemas.microsoft.com/office/powerpoint/2010/main" val="2129930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Ansatte i NAV opplever i økende grad at omverdensanalysen både er nyttig og påvirker </a:t>
            </a:r>
            <a:r>
              <a:rPr lang="nb-NO" sz="900" err="1">
                <a:latin typeface="Arial" panose="020B0604020202020204" pitchFamily="34" charset="0"/>
                <a:cs typeface="Arial" panose="020B0604020202020204" pitchFamily="34" charset="0"/>
              </a:rPr>
              <a:t>NAVs</a:t>
            </a:r>
            <a:r>
              <a:rPr lang="nb-NO" sz="900">
                <a:latin typeface="Arial" panose="020B0604020202020204" pitchFamily="34" charset="0"/>
                <a:cs typeface="Arial" panose="020B0604020202020204" pitchFamily="34" charset="0"/>
              </a:rPr>
              <a:t> prioriteringer.</a:t>
            </a:r>
          </a:p>
        </p:txBody>
      </p:sp>
      <p:sp>
        <p:nvSpPr>
          <p:cNvPr id="4" name="Plassholder for lysbildenummer 3"/>
          <p:cNvSpPr>
            <a:spLocks noGrp="1"/>
          </p:cNvSpPr>
          <p:nvPr>
            <p:ph type="sldNum" sz="quarter" idx="5"/>
          </p:nvPr>
        </p:nvSpPr>
        <p:spPr/>
        <p:txBody>
          <a:bodyPr/>
          <a:lstStyle/>
          <a:p>
            <a:fld id="{071B4BBF-70B9-8047-B02F-2484F1EA6A40}" type="slidenum">
              <a:rPr lang="nb-NO" smtClean="0"/>
              <a:t>10</a:t>
            </a:fld>
            <a:endParaRPr lang="nb-NO"/>
          </a:p>
        </p:txBody>
      </p:sp>
    </p:spTree>
    <p:extLst>
      <p:ext uri="{BB962C8B-B14F-4D97-AF65-F5344CB8AC3E}">
        <p14:creationId xmlns:p14="http://schemas.microsoft.com/office/powerpoint/2010/main" val="1759076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t>Som alle andre har også vi spurt </a:t>
            </a:r>
            <a:r>
              <a:rPr lang="nb-NO" sz="1200" err="1"/>
              <a:t>ChatGPT</a:t>
            </a:r>
            <a:r>
              <a:rPr lang="nb-NO" sz="1200"/>
              <a:t> om hjelp til analysen.</a:t>
            </a:r>
          </a:p>
          <a:p>
            <a:r>
              <a:rPr lang="nb-NO" sz="1200"/>
              <a:t>Spørsmålet var: Hva blir de viktigste samfunnstrendene i Norge fram mot 2035?</a:t>
            </a:r>
          </a:p>
          <a:p>
            <a:r>
              <a:rPr lang="nb-NO" sz="1200"/>
              <a:t>Svaret treffer relativt godt, men spådommen om økt globalisering stemmer ikke helt med hva vi tror ellers i analysen.</a:t>
            </a:r>
          </a:p>
        </p:txBody>
      </p:sp>
      <p:sp>
        <p:nvSpPr>
          <p:cNvPr id="4" name="Plassholder for lysbildenummer 3"/>
          <p:cNvSpPr>
            <a:spLocks noGrp="1"/>
          </p:cNvSpPr>
          <p:nvPr>
            <p:ph type="sldNum" sz="quarter" idx="5"/>
          </p:nvPr>
        </p:nvSpPr>
        <p:spPr/>
        <p:txBody>
          <a:bodyPr/>
          <a:lstStyle/>
          <a:p>
            <a:fld id="{071B4BBF-70B9-8047-B02F-2484F1EA6A40}" type="slidenum">
              <a:rPr lang="nb-NO" smtClean="0"/>
              <a:t>11</a:t>
            </a:fld>
            <a:endParaRPr lang="nb-NO"/>
          </a:p>
        </p:txBody>
      </p:sp>
    </p:spTree>
    <p:extLst>
      <p:ext uri="{BB962C8B-B14F-4D97-AF65-F5344CB8AC3E}">
        <p14:creationId xmlns:p14="http://schemas.microsoft.com/office/powerpoint/2010/main" val="32158843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700" b="1">
                <a:effectLst/>
                <a:latin typeface="Arial" panose="020B0604020202020204" pitchFamily="34" charset="0"/>
                <a:ea typeface="MS Mincho" panose="02020609040205080304" pitchFamily="49" charset="-128"/>
                <a:cs typeface="Arial" panose="020B0604020202020204" pitchFamily="34" charset="0"/>
              </a:rPr>
              <a:t>Omstilling på grunn av teknologi og grønt skifte</a:t>
            </a:r>
          </a:p>
          <a:p>
            <a:r>
              <a:rPr lang="nb-NO" sz="700">
                <a:effectLst/>
                <a:latin typeface="Arial" panose="020B0604020202020204" pitchFamily="34" charset="0"/>
                <a:ea typeface="MS Mincho" panose="02020609040205080304" pitchFamily="49" charset="-128"/>
                <a:cs typeface="Arial" panose="020B0604020202020204" pitchFamily="34" charset="0"/>
              </a:rPr>
              <a:t>Arbeidsmarkedet står overfor omstilling fram mot 2035 som følge av teknologisk utvikling og det grønne skiftet. Mangelen på arbeidskraft ventes å bli størst for helsepersonell på alle utdanningsnivåer, og generelt for yrker som krever fagbrev. Andelen som ikke fullfører videregående utdanning har gått ned, men er fortsatt rundt 20 prosent. Innen yrkesfag er andelen høyere, rundt 30 prosent, noe som gjør det vanskelig å dekke kompetansebehovet.</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Teknologiske framskritt og automatisering vil fortsette å påvirke arbeidsmarkedet. Teknologi vil både skape og fjerne jobber, men nettoeffekten har så langt vært positiv. OECD mener at 6 prosent av jobbene i Norge har høy risiko for å forsvinne helt som følge av automatisering, mens om lag 25 prosent ventes å få vesentlige endringer. Usikkerheten er stor i slike analyser.</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Forskjellene i samfunnet kan øke i takt med at etterspørselen etter arbeidstakere med høy kompetanse øker, mens det i større grad er jobber med lav og middels kompetanse som forsvinner. Det grønne skiftet vil også både skape og fjerne jobber, det siste særlig innen petroleumsrelaterte næringer. Fram mot 2035 er nettoeffekten sannsynligvis positiv. Halvparten av nye grønne jobber antas å gjelde yrker med fagbrev, som operatører og håndverkere.</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Sysselsettingen ventes å øke mest innen privat og offentlig tjenesteproduksjon, med knapt 10 prosent fram mot 2040. De tjenesteytende næringene er allerede de største, og ventes å utgjøre 60 prosent av de sysselsatte i 2040. For offentlig sektor gjelder økningen særlig helse- og omsorgsnæringen. Sysselsettingen innen olje- og gassutvinning ventes å falle mest i samme periode, med nesten 30 prosent. Det ventes også betydelig nedgang innen varehandel (-15 prosent) og industri (-10 prosent). For varehandelens del skyldes det automatisering og økt netthandel, mens nedgangen i industrien i hovedsak skyldes ringvirkninger fra nedgangen innen olje- og gassutvinning. Nedgangen i antall sysselsatte i disse næringene vil i sum bli klart større enn innen olje- og gassutvinning.</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Omstillingene på arbeidsmarkedet kan gi perioder med arbeidsledighet, spesielt i næringer og yrker som blir særlig berørt. Vi forventer ikke permanent høyere arbeidsledighet, da aldringen av befolkningen trekker i retning av mangel på arbeidskraft. Vi venter likevel et vedvarende høyt ledighetsnivå for personer uten fullført videregående skole.</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For å lette omstillingene har NAV en viktig rolle i å bidra til økt yrkesmessig mobilitet. Det vil kreve samarbeid med både arbeidsgivere og utdanningssektoren, og prioritering av formidling og kvalifisering til jobber i framtidsrettede næringer. Viktige spørsmål vil bli hva </a:t>
            </a:r>
            <a:r>
              <a:rPr lang="nb-NO" sz="700" err="1">
                <a:effectLst/>
                <a:latin typeface="Arial" panose="020B0604020202020204" pitchFamily="34" charset="0"/>
                <a:ea typeface="MS Mincho" panose="02020609040205080304" pitchFamily="49" charset="-128"/>
                <a:cs typeface="Arial" panose="020B0604020202020204" pitchFamily="34" charset="0"/>
              </a:rPr>
              <a:t>NAVs</a:t>
            </a:r>
            <a:r>
              <a:rPr lang="nb-NO" sz="700">
                <a:effectLst/>
                <a:latin typeface="Arial" panose="020B0604020202020204" pitchFamily="34" charset="0"/>
                <a:ea typeface="MS Mincho" panose="02020609040205080304" pitchFamily="49" charset="-128"/>
                <a:cs typeface="Arial" panose="020B0604020202020204" pitchFamily="34" charset="0"/>
              </a:rPr>
              <a:t> rolle skal være for å møte kompetansebehovene i arbeidsmarkedet framover, og hvordan samarbeidet med andre sektorer skal foregå. Dette kan også få betydning for hvordan NAV bistår arbeidsgivere, både med rekruttering av arbeidskraft og oppfølging når brukere er i jobb. Mangel på kvalifisert arbeidskraft medfører at arbeidsgivere må ha andre forventninger ved rekruttering, og fokusere mer på læring på arbeidsplassen og inkludering av personer utenfor arbeidslivet.</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Aldringen av befolkningen fører til en lavere andel av befolkningen i yrkesaktiv alder både i Norge og internasjonalt, noe som bidrar til å trekke ned den økonomiske veksten.</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Russlands invasjon av Ukraina har ført til økte råvarepriser, enorme flyktningstrømmer og økt usikkerhet om den økonomiske utviklingen framover. Effektene vil avhenge av varigheten og ettervirkningene av krigen. Både koronapandemien og krigen i Ukraina har synliggjort sårbarheten i vår globaliserte økonomi, og forsyningssikkerhet har kommet høyere på dagsordenen. En større grad av regionalisering av internasjonale forsyningskjeder kan derfor bli aktuelt framover, noe som kan gi økt antall industriarbeidsplasser i Europa. Det kan også gjelde i Norge i tilfeller der kompetansekrav eller naturressurser gir oss et fortrinn. Vekst i industrien vil likevel begrenses av det høye lønnsnivået i Norge.</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875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Som nevnt venter vi at det vil bli høy omstillingstakt. Det er to grunner til det, teknologisk utvikling og det grønne skiftet.</a:t>
            </a:r>
          </a:p>
          <a:p>
            <a:r>
              <a:rPr lang="nb-NO" sz="900">
                <a:latin typeface="Arial" panose="020B0604020202020204" pitchFamily="34" charset="0"/>
                <a:cs typeface="Arial" panose="020B0604020202020204" pitchFamily="34" charset="0"/>
              </a:rPr>
              <a:t>Den teknologiske utviklingen kommer både til skape jobber og automatisere bort jobber. </a:t>
            </a:r>
          </a:p>
          <a:p>
            <a:r>
              <a:rPr lang="nb-NO" sz="900">
                <a:latin typeface="Arial" panose="020B0604020202020204" pitchFamily="34" charset="0"/>
                <a:cs typeface="Arial" panose="020B0604020202020204" pitchFamily="34" charset="0"/>
              </a:rPr>
              <a:t>Ifølge OECD har nettoeffekten vært positiv hittil. I tillegg vil kompetansekravene endres.</a:t>
            </a:r>
          </a:p>
          <a:p>
            <a:r>
              <a:rPr lang="nb-NO" sz="900">
                <a:latin typeface="Arial" panose="020B0604020202020204" pitchFamily="34" charset="0"/>
                <a:cs typeface="Arial" panose="020B0604020202020204" pitchFamily="34" charset="0"/>
              </a:rPr>
              <a:t> - Jobbene som forsvinner er i størst grad rutinejobber med lave til middels høye kompetansekrav</a:t>
            </a:r>
          </a:p>
          <a:p>
            <a:r>
              <a:rPr lang="nb-NO" sz="900">
                <a:latin typeface="Arial" panose="020B0604020202020204" pitchFamily="34" charset="0"/>
                <a:cs typeface="Arial" panose="020B0604020202020204" pitchFamily="34" charset="0"/>
              </a:rPr>
              <a:t> - Mens jobbene som skapes i størst grad er jobber med høye kompetansekrav</a:t>
            </a:r>
          </a:p>
          <a:p>
            <a:r>
              <a:rPr lang="nb-NO" sz="900">
                <a:latin typeface="Arial" panose="020B0604020202020204" pitchFamily="34" charset="0"/>
                <a:cs typeface="Arial" panose="020B0604020202020204" pitchFamily="34" charset="0"/>
              </a:rPr>
              <a:t>Det vil bidra til økte forskjeller. Men det vil være store forskjeller mellom bransjer. Lavkompetansejobber som ikke kan flyttes til utlandet eller som det er vanskelig å automatisere </a:t>
            </a:r>
          </a:p>
          <a:p>
            <a:r>
              <a:rPr lang="nb-NO" sz="900">
                <a:latin typeface="Arial" panose="020B0604020202020204" pitchFamily="34" charset="0"/>
                <a:cs typeface="Arial" panose="020B0604020202020204" pitchFamily="34" charset="0"/>
              </a:rPr>
              <a:t>vil bestå, og også en del høykompetansejobber kan oppleve redusert sysselsetting.</a:t>
            </a:r>
          </a:p>
          <a:p>
            <a:r>
              <a:rPr lang="nb-NO" sz="900">
                <a:latin typeface="Arial" panose="020B0604020202020204" pitchFamily="34" charset="0"/>
                <a:cs typeface="Arial" panose="020B0604020202020204" pitchFamily="34" charset="0"/>
              </a:rPr>
              <a:t>Det kan også bli forbigående økt ledighet i bransjer eller regioner som blir særlig utsatt i omstillingene. Vi er ikke bekymret for høy ledighet på lengre sikt, vi mener heller mangel på arbeidskraft vil bli et problem. Men vi tror at det kan bli forbigående økt ledighet i bransjer eller regioner som blir særlig utsatt for omstilling.</a:t>
            </a:r>
          </a:p>
          <a:p>
            <a:r>
              <a:rPr lang="nb-NO" sz="900">
                <a:latin typeface="Arial" panose="020B0604020202020204" pitchFamily="34" charset="0"/>
                <a:cs typeface="Arial" panose="020B0604020202020204" pitchFamily="34" charset="0"/>
              </a:rPr>
              <a:t>Vi mener derfor at det vil bli viktigere med både økt mobilitet i arbeidslivet (både yrkesmessig og geografisk), styrking av kompetanse underveis i yrkeskarrieren, og at mangelen på arbeidskraft gir gode vilkår for inkludering av de som står utenfor arbeidslivet. For NAV vil da tettere samarbeid med andre aktører som utdanningssektoren og arbeidsgivere bli viktig – som nevnt i virksomhetsstrategien.</a:t>
            </a:r>
          </a:p>
          <a:p>
            <a:r>
              <a:rPr lang="nb-NO" sz="900">
                <a:latin typeface="Arial" panose="020B0604020202020204" pitchFamily="34" charset="0"/>
                <a:cs typeface="Arial" panose="020B0604020202020204" pitchFamily="34" charset="0"/>
              </a:rPr>
              <a:t>I tillegg mener vi at ikke all mangel på kompetanse kan dekkes gjennom formell utdanning, og at også arbeidsgiverne må være villige til å senke kravene og heller stå for mer intern opplæring selv.</a:t>
            </a:r>
          </a:p>
          <a:p>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Også det grønne skiftet vil både skape og fjerne jobber. Vi tror at det får ganske store regionale konsekvenser, fordi jobbene ofte avhenger av tilgang til naturressurser. Ifølge en ny rapport fra Oslo </a:t>
            </a:r>
            <a:r>
              <a:rPr lang="nb-NO" sz="900" err="1">
                <a:latin typeface="Arial" panose="020B0604020202020204" pitchFamily="34" charset="0"/>
                <a:cs typeface="Arial" panose="020B0604020202020204" pitchFamily="34" charset="0"/>
              </a:rPr>
              <a:t>Economics</a:t>
            </a:r>
            <a:r>
              <a:rPr lang="nb-NO" sz="900">
                <a:latin typeface="Arial" panose="020B0604020202020204" pitchFamily="34" charset="0"/>
                <a:cs typeface="Arial" panose="020B0604020202020204" pitchFamily="34" charset="0"/>
              </a:rPr>
              <a:t> som kom rett før jul vil det grønne skiftet gi særlig stor vekst i etterspørselen etter håndverkere og operatører, dernest ingeniører og IT-utviklere. Det grønne skiftet gir altså ikke først og fremst høykompetansejobb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381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Så over til hvordan utviklingen internasjonalt vil påvirke oss.</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900">
                <a:latin typeface="Arial" panose="020B0604020202020204" pitchFamily="34" charset="0"/>
                <a:cs typeface="Arial" panose="020B0604020202020204" pitchFamily="34" charset="0"/>
              </a:rPr>
              <a:t>La meg først si at den aktuelle situasjonen på arbeidsmarkedet her i Norge tilsier lavere økonomisk vekst og noe økt ledighet de neste par årene. På lengre sikt venter vi lav arbeidsledighet i Norge pga. stort behov for arbeidskraft.</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900">
                <a:latin typeface="Arial" panose="020B0604020202020204" pitchFamily="34" charset="0"/>
                <a:cs typeface="Arial" panose="020B0604020202020204" pitchFamily="34" charset="0"/>
              </a:rPr>
              <a:t>Aldringen av befolkningen både i Norge og internasjonalt mener vi likevel vil gi svakere økonomisk vekst på lengre sikt, og utviklingen internasjonalt påvirker jo oss her blant annet gjennom lavere etterspørsel. </a:t>
            </a:r>
          </a:p>
          <a:p>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I tillegg ser vi en framvekst av proteksjonisme blant annet i kjølvannet av </a:t>
            </a:r>
            <a:r>
              <a:rPr lang="nb-NO" sz="900" err="1">
                <a:latin typeface="Arial" panose="020B0604020202020204" pitchFamily="34" charset="0"/>
                <a:cs typeface="Arial" panose="020B0604020202020204" pitchFamily="34" charset="0"/>
              </a:rPr>
              <a:t>Brexit</a:t>
            </a:r>
            <a:r>
              <a:rPr lang="nb-NO" sz="900">
                <a:latin typeface="Arial" panose="020B0604020202020204" pitchFamily="34" charset="0"/>
                <a:cs typeface="Arial" panose="020B0604020202020204" pitchFamily="34" charset="0"/>
              </a:rPr>
              <a:t>, koronakrisen og ikke minst Russlands invasjon av Ukraina. Det har vist seg å være for risikabelt å være avhengig av land vi kan havne i konflikt med, og vi tror det kan føre til en større regionalisering av internasjonal handel. Det kan føre til mer industri i Europa, men det høye lønnsnivået setter noen begrensninger i Norge. Det er likevel aktuelt der hvor naturressurser eller kompetansen vår gir oss en fordel. Et konkret eksempel på denne typen regionalisering er at EU nå satser mer på å styrke europeisk legemiddelindustri, av beredskapshensyn. At både vi og andre land nå må legge mer vekt på sikkerhet og beredskap, vil gå på bekostning av økonomisk effektivitet, og kan også føre til lavere økonomisk vekst. Større usikkerhet i verden taler også for lavere vekst, fordi investeringer demper seg i usikre tider.</a:t>
            </a:r>
          </a:p>
        </p:txBody>
      </p:sp>
      <p:sp>
        <p:nvSpPr>
          <p:cNvPr id="4" name="Plassholder for lysbildenummer 3"/>
          <p:cNvSpPr>
            <a:spLocks noGrp="1"/>
          </p:cNvSpPr>
          <p:nvPr>
            <p:ph type="sldNum" sz="quarter" idx="5"/>
          </p:nvPr>
        </p:nvSpPr>
        <p:spPr/>
        <p:txBody>
          <a:bodyPr/>
          <a:lstStyle/>
          <a:p>
            <a:fld id="{071B4BBF-70B9-8047-B02F-2484F1EA6A40}" type="slidenum">
              <a:rPr lang="nb-NO" smtClean="0"/>
              <a:t>14</a:t>
            </a:fld>
            <a:endParaRPr lang="nb-NO"/>
          </a:p>
        </p:txBody>
      </p:sp>
    </p:spTree>
    <p:extLst>
      <p:ext uri="{BB962C8B-B14F-4D97-AF65-F5344CB8AC3E}">
        <p14:creationId xmlns:p14="http://schemas.microsoft.com/office/powerpoint/2010/main" val="2540249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b-NO" sz="900">
                <a:effectLst/>
                <a:latin typeface="Arial" panose="020B0604020202020204" pitchFamily="34" charset="0"/>
                <a:ea typeface="Calibri" panose="020F0502020204030204" pitchFamily="34" charset="0"/>
                <a:cs typeface="Arial" panose="020B0604020202020204" pitchFamily="34" charset="0"/>
              </a:rPr>
              <a:t>Her er framskrivinger fra SSB av sysselsettingen etter næring. Dette er riktignok en analyse fra høsten 2020 og der en oppdatering vil komme en gang høsten 2023.</a:t>
            </a:r>
          </a:p>
          <a:p>
            <a:pPr>
              <a:lnSpc>
                <a:spcPct val="107000"/>
              </a:lnSpc>
              <a:spcAft>
                <a:spcPts val="800"/>
              </a:spcAft>
            </a:pPr>
            <a:r>
              <a:rPr lang="nb-NO" sz="900">
                <a:effectLst/>
                <a:latin typeface="Arial" panose="020B0604020202020204" pitchFamily="34" charset="0"/>
                <a:ea typeface="Calibri" panose="020F0502020204030204" pitchFamily="34" charset="0"/>
                <a:cs typeface="Arial" panose="020B0604020202020204" pitchFamily="34" charset="0"/>
              </a:rPr>
              <a:t>Likevel står hovedfunnene her seg. Det ventes størst vekst i sysselsettingen i tjenesteytende næringer. For offentlig sektor gjelder det særlig helse- og omsorgsnæringen. </a:t>
            </a:r>
          </a:p>
          <a:p>
            <a:pPr>
              <a:lnSpc>
                <a:spcPct val="107000"/>
              </a:lnSpc>
              <a:spcAft>
                <a:spcPts val="800"/>
              </a:spcAft>
            </a:pPr>
            <a:r>
              <a:rPr lang="nb-NO" sz="900">
                <a:effectLst/>
                <a:latin typeface="Arial" panose="020B0604020202020204" pitchFamily="34" charset="0"/>
                <a:ea typeface="Calibri" panose="020F0502020204030204" pitchFamily="34" charset="0"/>
                <a:cs typeface="Arial" panose="020B0604020202020204" pitchFamily="34" charset="0"/>
              </a:rPr>
              <a:t>Det ventes færre sysselsatte i oljenæringen, varehandel og industri. For varehandelen skyldes det automatisering og økt netthandel. Nedgangen i industrien skyldes blant annet ringvirkninger fra nedgangen i olje- og gassnæringen, men nedgangen kan bli dempet av at vi venter regionalisering av internasjonale forsyningskjeder.</a:t>
            </a:r>
          </a:p>
          <a:p>
            <a:pPr>
              <a:lnSpc>
                <a:spcPct val="107000"/>
              </a:lnSpc>
              <a:spcAft>
                <a:spcPts val="800"/>
              </a:spcAft>
            </a:pPr>
            <a:r>
              <a:rPr lang="nb-NO" sz="900">
                <a:effectLst/>
                <a:latin typeface="Arial" panose="020B0604020202020204" pitchFamily="34" charset="0"/>
                <a:ea typeface="Calibri" panose="020F0502020204030204" pitchFamily="34" charset="0"/>
                <a:cs typeface="Arial" panose="020B0604020202020204" pitchFamily="34" charset="0"/>
              </a:rPr>
              <a:t>Kompetansekravene vil øke, og det blir særlig mangel på helsearbeidere på alle utdanningsnivåer, og yrkesfagutdannende, særlig innen helsefag og håndverksfag.</a:t>
            </a:r>
          </a:p>
          <a:p>
            <a:pPr>
              <a:lnSpc>
                <a:spcPct val="107000"/>
              </a:lnSpc>
              <a:spcAft>
                <a:spcPts val="800"/>
              </a:spcAft>
            </a:pPr>
            <a:r>
              <a:rPr lang="nb-NO" sz="900">
                <a:effectLst/>
                <a:latin typeface="Arial" panose="020B0604020202020204" pitchFamily="34" charset="0"/>
                <a:ea typeface="Calibri" panose="020F0502020204030204" pitchFamily="34" charset="0"/>
                <a:cs typeface="Arial" panose="020B0604020202020204" pitchFamily="34" charset="0"/>
              </a:rPr>
              <a:t>Det ventes også mangel på IKT-kompetanse, slik vi allerede ser fra </a:t>
            </a:r>
            <a:r>
              <a:rPr lang="nb-NO" sz="900" err="1">
                <a:effectLst/>
                <a:latin typeface="Arial" panose="020B0604020202020204" pitchFamily="34" charset="0"/>
                <a:ea typeface="Calibri" panose="020F0502020204030204" pitchFamily="34" charset="0"/>
                <a:cs typeface="Arial" panose="020B0604020202020204" pitchFamily="34" charset="0"/>
              </a:rPr>
              <a:t>NAVs</a:t>
            </a:r>
            <a:r>
              <a:rPr lang="nb-NO" sz="900">
                <a:effectLst/>
                <a:latin typeface="Arial" panose="020B0604020202020204" pitchFamily="34" charset="0"/>
                <a:ea typeface="Calibri" panose="020F0502020204030204" pitchFamily="34" charset="0"/>
                <a:cs typeface="Arial" panose="020B0604020202020204" pitchFamily="34" charset="0"/>
              </a:rPr>
              <a:t> </a:t>
            </a:r>
            <a:r>
              <a:rPr lang="nb-NO" sz="900" err="1">
                <a:effectLst/>
                <a:latin typeface="Arial" panose="020B0604020202020204" pitchFamily="34" charset="0"/>
                <a:ea typeface="Calibri" panose="020F0502020204030204" pitchFamily="34" charset="0"/>
                <a:cs typeface="Arial" panose="020B0604020202020204" pitchFamily="34" charset="0"/>
              </a:rPr>
              <a:t>bedriftundersøkelse</a:t>
            </a:r>
            <a:r>
              <a:rPr lang="nb-NO" sz="900">
                <a:effectLst/>
                <a:latin typeface="Arial" panose="020B0604020202020204" pitchFamily="34" charset="0"/>
                <a:ea typeface="Calibri" panose="020F0502020204030204" pitchFamily="34" charset="0"/>
                <a:cs typeface="Arial" panose="020B0604020202020204" pitchFamily="34" charset="0"/>
              </a:rPr>
              <a:t>, og ved at 4 av 5 statlige virksomheter melder om utfordringer med å rekruttere IKT-kompetanse. </a:t>
            </a:r>
          </a:p>
          <a:p>
            <a:pPr>
              <a:lnSpc>
                <a:spcPct val="107000"/>
              </a:lnSpc>
              <a:spcAft>
                <a:spcPts val="800"/>
              </a:spcAft>
            </a:pPr>
            <a:endParaRPr lang="nb-NO" sz="90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nb-NO" sz="900">
                <a:effectLst/>
                <a:latin typeface="Arial" panose="020B0604020202020204" pitchFamily="34" charset="0"/>
                <a:ea typeface="MS Mincho" panose="02020609040205080304" pitchFamily="49" charset="-128"/>
              </a:rPr>
              <a:t>Vi mener at mangel på kvalifisert arbeidskraft medfører at arbeidsgivere må være villig til å lempe på kvalifikasjonskravene ved rekruttering og heller satse mer på læring på arbeidsplassen, og at det er noe vi bør oppmuntre til. I tillegg gir mangel på arbeidskraft gode vilkår for inkludering av de som står utenfor arbeidslivet.</a:t>
            </a:r>
            <a:endParaRPr lang="nb-NO" sz="80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523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solidFill>
                  <a:srgbClr val="000000"/>
                </a:solidFill>
                <a:latin typeface="Arial" panose="020B0604020202020204" pitchFamily="34" charset="0"/>
                <a:cs typeface="Arial" panose="020B0604020202020204" pitchFamily="34" charset="0"/>
              </a:rPr>
              <a:t>Oslo </a:t>
            </a:r>
            <a:r>
              <a:rPr lang="nb-NO" sz="900" err="1">
                <a:solidFill>
                  <a:srgbClr val="000000"/>
                </a:solidFill>
                <a:latin typeface="Arial" panose="020B0604020202020204" pitchFamily="34" charset="0"/>
                <a:cs typeface="Arial" panose="020B0604020202020204" pitchFamily="34" charset="0"/>
              </a:rPr>
              <a:t>Economics</a:t>
            </a:r>
            <a:r>
              <a:rPr lang="nb-NO" sz="900">
                <a:solidFill>
                  <a:srgbClr val="000000"/>
                </a:solidFill>
                <a:latin typeface="Arial" panose="020B0604020202020204" pitchFamily="34" charset="0"/>
                <a:cs typeface="Arial" panose="020B0604020202020204" pitchFamily="34" charset="0"/>
              </a:rPr>
              <a:t> kom med en rapport i november 2022 om hvilket kompetansebehov det grønne skiftet vil gi. De identifiserte hvilke yrkesgrupper som særlig vil oppleve økt etterspørsel i forbindelse med det grønne skiftet, og at </a:t>
            </a:r>
            <a:r>
              <a:rPr lang="nb-NO" sz="900" b="0" i="0">
                <a:solidFill>
                  <a:srgbClr val="000000"/>
                </a:solidFill>
                <a:effectLst/>
                <a:latin typeface="Arial" panose="020B0604020202020204" pitchFamily="34" charset="0"/>
                <a:cs typeface="Arial" panose="020B0604020202020204" pitchFamily="34" charset="0"/>
              </a:rPr>
              <a:t>det grønne skiftet anslås å øke etterspørselen med 64000 i disse yrkene fram mot 2030. Dette er snakk om et ekstra sysselsettingsbehov utover den generelle utviklingen i økonomien ifølge rapporten. Men usikkerheten er svært stor. Anslaget varierer mellom 13000 (lavt scenario) og 115000 (høyt scenario).</a:t>
            </a:r>
            <a:endParaRPr lang="nb-NO" sz="900">
              <a:solidFill>
                <a:srgbClr val="000000"/>
              </a:solidFill>
              <a:latin typeface="Arial" panose="020B0604020202020204" pitchFamily="34" charset="0"/>
              <a:cs typeface="Arial" panose="020B0604020202020204" pitchFamily="34" charset="0"/>
            </a:endParaRPr>
          </a:p>
          <a:p>
            <a:r>
              <a:rPr lang="nb-NO" sz="900" b="0" i="0">
                <a:solidFill>
                  <a:srgbClr val="000000"/>
                </a:solidFill>
                <a:effectLst/>
                <a:latin typeface="Arial" panose="020B0604020202020204" pitchFamily="34" charset="0"/>
                <a:cs typeface="Arial" panose="020B0604020202020204" pitchFamily="34" charset="0"/>
              </a:rPr>
              <a:t>Blant disse er 50 prosent er håndverksyrker og operatører, 40 prosent er ingeniører og arbeids­ledere og 10 prosent er sivilingeniører og IKT-utviklere.</a:t>
            </a:r>
            <a:endParaRPr lang="nb-NO" sz="900">
              <a:solidFill>
                <a:srgbClr val="000000"/>
              </a:solidFill>
              <a:latin typeface="Arial" panose="020B0604020202020204" pitchFamily="34" charset="0"/>
              <a:cs typeface="Arial" panose="020B0604020202020204" pitchFamily="34" charset="0"/>
            </a:endParaRPr>
          </a:p>
          <a:p>
            <a:endParaRPr lang="nb-NO" sz="900">
              <a:solidFill>
                <a:srgbClr val="000000"/>
              </a:solidFill>
              <a:latin typeface="Arial" panose="020B0604020202020204" pitchFamily="34" charset="0"/>
              <a:cs typeface="Arial" panose="020B0604020202020204" pitchFamily="34" charset="0"/>
            </a:endParaRPr>
          </a:p>
          <a:p>
            <a:r>
              <a:rPr lang="nb-NO" sz="900">
                <a:solidFill>
                  <a:srgbClr val="000000"/>
                </a:solidFill>
                <a:latin typeface="Arial" panose="020B0604020202020204" pitchFamily="34" charset="0"/>
                <a:cs typeface="Arial" panose="020B0604020202020204" pitchFamily="34" charset="0"/>
              </a:rPr>
              <a:t>Dette er yrkesgrupper der det allerede mangler arbeidskraft, og det vil bli utfordrende å dekke denne økte etterspørselen.</a:t>
            </a:r>
          </a:p>
        </p:txBody>
      </p:sp>
      <p:sp>
        <p:nvSpPr>
          <p:cNvPr id="4" name="Plassholder for lysbildenummer 3"/>
          <p:cNvSpPr>
            <a:spLocks noGrp="1"/>
          </p:cNvSpPr>
          <p:nvPr>
            <p:ph type="sldNum" sz="quarter" idx="5"/>
          </p:nvPr>
        </p:nvSpPr>
        <p:spPr/>
        <p:txBody>
          <a:bodyPr/>
          <a:lstStyle/>
          <a:p>
            <a:fld id="{071B4BBF-70B9-8047-B02F-2484F1EA6A40}" type="slidenum">
              <a:rPr lang="nb-NO" smtClean="0"/>
              <a:t>16</a:t>
            </a:fld>
            <a:endParaRPr lang="nb-NO"/>
          </a:p>
        </p:txBody>
      </p:sp>
    </p:spTree>
    <p:extLst>
      <p:ext uri="{BB962C8B-B14F-4D97-AF65-F5344CB8AC3E}">
        <p14:creationId xmlns:p14="http://schemas.microsoft.com/office/powerpoint/2010/main" val="20065905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kern="1200">
                <a:solidFill>
                  <a:srgbClr val="000000"/>
                </a:solidFill>
                <a:effectLst/>
                <a:latin typeface="Arial" panose="020B0604020202020204" pitchFamily="34" charset="0"/>
                <a:ea typeface="+mn-ea"/>
                <a:cs typeface="Arial" panose="020B0604020202020204" pitchFamily="34" charset="0"/>
              </a:rPr>
              <a:t>En av Norges største samfunnsutfordringer er det høye frafallet på videregående skole, at omtrent én av fem ikke fullfører videregående innen fem-seks år. Frafallet er enda større innen yrkesfag, der rundt 30 prosent ikke fullfører studiet. Det positive er at frafallsandelen har gått en god del ned, for 4-5 år siden var det rundt 1 av 4 som ikke fullførte.</a:t>
            </a:r>
          </a:p>
          <a:p>
            <a:r>
              <a:rPr lang="nb-NO" sz="900" kern="1200">
                <a:solidFill>
                  <a:srgbClr val="000000"/>
                </a:solidFill>
                <a:effectLst/>
                <a:latin typeface="Arial" panose="020B0604020202020204" pitchFamily="34" charset="0"/>
                <a:ea typeface="+mn-ea"/>
                <a:cs typeface="Arial" panose="020B0604020202020204" pitchFamily="34" charset="0"/>
              </a:rPr>
              <a:t>Grunnen til at det er så kritisk ser dere her. Arbeidsledigheten har over lengre tid vært klart høyere blant de som ikke har fullført utdanning, som kun har grunnskole, som den lyseblå kurven i figuren viser, og det er også større svingninger i ledigheten for denne gruppen. Blant annet rammet koronapandemien i mye større grad ufaglærte enn andre grupper. Vi frykter at tendensen med høy og økende ledighet blant ufaglærte vil fortsette fram mot 2035. </a:t>
            </a:r>
          </a:p>
          <a:p>
            <a:endParaRPr lang="nb-NO" sz="900" kern="1200">
              <a:solidFill>
                <a:srgbClr val="000000"/>
              </a:solidFill>
              <a:effectLst/>
              <a:latin typeface="Arial" panose="020B0604020202020204" pitchFamily="34" charset="0"/>
              <a:ea typeface="+mn-ea"/>
              <a:cs typeface="Arial" panose="020B0604020202020204" pitchFamily="34" charset="0"/>
            </a:endParaRPr>
          </a:p>
          <a:p>
            <a:r>
              <a:rPr lang="nb-NO" sz="900" kern="1200">
                <a:solidFill>
                  <a:srgbClr val="000000"/>
                </a:solidFill>
                <a:effectLst/>
                <a:latin typeface="Arial" panose="020B0604020202020204" pitchFamily="34" charset="0"/>
                <a:ea typeface="+mn-ea"/>
                <a:cs typeface="Arial" panose="020B0604020202020204" pitchFamily="34" charset="0"/>
              </a:rPr>
              <a:t>Arbeidsledige utgjør en beskjeden andel av personer i yrkesaktiv alder utenfor arbeidslivet. I alt var det 661 000 personer i alderen 20–66 år som stod utenfor arbeid og utdanning i 2021 (</a:t>
            </a:r>
            <a:r>
              <a:rPr lang="nb-NO" sz="900">
                <a:hlinkClick r:id="rId3"/>
              </a:rPr>
              <a:t>31 000 færre står utenfor arbeidsliv eller utdanning – MEMU</a:t>
            </a:r>
            <a:r>
              <a:rPr lang="nb-NO" sz="900" kern="1200">
                <a:solidFill>
                  <a:srgbClr val="000000"/>
                </a:solidFill>
                <a:effectLst/>
                <a:latin typeface="Arial" panose="020B0604020202020204" pitchFamily="34" charset="0"/>
                <a:ea typeface="+mn-ea"/>
                <a:cs typeface="Arial" panose="020B0604020202020204" pitchFamily="34" charset="0"/>
              </a:rPr>
              <a:t>). Selv om vi ikke kan tallfeste det nøyaktig, vet vi at personer med lav utdanning er klart overrepresentert også i denne gruppen.</a:t>
            </a:r>
          </a:p>
          <a:p>
            <a:endParaRPr lang="nb-NO" sz="9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nb-NO" sz="900">
                <a:effectLst/>
                <a:latin typeface="Arial" panose="020B0604020202020204" pitchFamily="34" charset="0"/>
                <a:ea typeface="Calibri" panose="020F0502020204030204" pitchFamily="34" charset="0"/>
                <a:cs typeface="Arial" panose="020B0604020202020204" pitchFamily="34" charset="0"/>
              </a:rPr>
              <a:t>En av våre viktigste oppgaver i NAV framover er derfor å gjøre vårt for å lette omstillingene og bidra til yrkesmessig og geografisk mobilitet.</a:t>
            </a:r>
          </a:p>
          <a:p>
            <a:pPr>
              <a:lnSpc>
                <a:spcPct val="107000"/>
              </a:lnSpc>
              <a:spcAft>
                <a:spcPts val="800"/>
              </a:spcAft>
            </a:pPr>
            <a:r>
              <a:rPr lang="nb-NO" sz="900">
                <a:effectLst/>
                <a:latin typeface="Arial" panose="020B0604020202020204" pitchFamily="34" charset="0"/>
                <a:ea typeface="Calibri" panose="020F0502020204030204" pitchFamily="34" charset="0"/>
                <a:cs typeface="Arial" panose="020B0604020202020204" pitchFamily="34" charset="0"/>
              </a:rPr>
              <a:t>Dette er ikke bare vårt ansvar – og vil kreve tett samarbeid på tvers av sektorer, blant annet med utdanningssektoren. Regjeringen la i 2020 fram en stortingsmelding om en ny kompetansereform «Lære hele livet», med bl.a. tiltak for å åpne utdanningssystemet for livslang læring. Det legges opp til at universiteter og høyskoler i større grad skal tilby små moduler underveis i karrieren, med en tredelt finansiering mellom arbeidstaker, arbeidsgiver og det offentli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8231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700">
                <a:latin typeface="Arial" panose="020B0604020202020204" pitchFamily="34" charset="0"/>
                <a:cs typeface="Arial" panose="020B0604020202020204" pitchFamily="34" charset="0"/>
              </a:rPr>
              <a:t>Omstilling og endringer i kompetansekrav gjør det viktig å stimulere og legge til rette for at flere kan bygge på kompetanse og å senke barrierene for å omskolere seg i voksen alder,  da det sannsynligvis vil bli stadig flere som vil oppleve av kompetansen deres blir utdatert med mindre de oppdaterer den.</a:t>
            </a:r>
          </a:p>
          <a:p>
            <a:pPr>
              <a:lnSpc>
                <a:spcPct val="107000"/>
              </a:lnSpc>
              <a:spcAft>
                <a:spcPts val="800"/>
              </a:spcAft>
            </a:pPr>
            <a:r>
              <a:rPr lang="nb-NO" sz="700">
                <a:effectLst/>
                <a:latin typeface="Arial" panose="020B0604020202020204" pitchFamily="34" charset="0"/>
                <a:ea typeface="Calibri" panose="020F0502020204030204" pitchFamily="34" charset="0"/>
                <a:cs typeface="Arial" panose="020B0604020202020204" pitchFamily="34" charset="0"/>
              </a:rPr>
              <a:t>Omstilling og endringer i kompetansekrav vil ha en rekke konsekvenser for arbeidsmarkedet og for NAV:</a:t>
            </a:r>
          </a:p>
          <a:p>
            <a:pPr>
              <a:lnSpc>
                <a:spcPct val="107000"/>
              </a:lnSpc>
              <a:spcAft>
                <a:spcPts val="800"/>
              </a:spcAft>
            </a:pPr>
            <a:r>
              <a:rPr lang="nb-NO" sz="700" b="1">
                <a:effectLst/>
                <a:latin typeface="Arial" panose="020B0604020202020204" pitchFamily="34" charset="0"/>
                <a:ea typeface="Calibri" panose="020F0502020204030204" pitchFamily="34" charset="0"/>
                <a:cs typeface="Arial" panose="020B0604020202020204" pitchFamily="34" charset="0"/>
              </a:rPr>
              <a:t>Periodevis økt ledighet i særlig berørte næringer og yrker</a:t>
            </a:r>
            <a:r>
              <a:rPr lang="nb-NO" sz="700">
                <a:effectLst/>
                <a:latin typeface="Arial" panose="020B0604020202020204" pitchFamily="34" charset="0"/>
                <a:ea typeface="Calibri" panose="020F0502020204030204" pitchFamily="34" charset="0"/>
                <a:cs typeface="Arial" panose="020B0604020202020204" pitchFamily="34" charset="0"/>
              </a:rPr>
              <a:t> – På grunn av høy omstillingstakt framover, kan vi oppleve flere perioder med økt ledighet innen enkelte næringer og yrker, eller geografiske områder, som vi så under oljeprisfallet for noen år tilbake der arbeidsledigheten økte kraftig, særlig i Rogaland. </a:t>
            </a:r>
          </a:p>
          <a:p>
            <a:pPr>
              <a:lnSpc>
                <a:spcPct val="107000"/>
              </a:lnSpc>
              <a:spcAft>
                <a:spcPts val="800"/>
              </a:spcAft>
            </a:pPr>
            <a:r>
              <a:rPr lang="nb-NO" sz="700" b="1">
                <a:effectLst/>
                <a:latin typeface="Arial" panose="020B0604020202020204" pitchFamily="34" charset="0"/>
                <a:ea typeface="Calibri" panose="020F0502020204030204" pitchFamily="34" charset="0"/>
                <a:cs typeface="Arial" panose="020B0604020202020204" pitchFamily="34" charset="0"/>
              </a:rPr>
              <a:t>Nye jobber kommer i andre næringer/yrker og kan skapes andre steder i landet </a:t>
            </a:r>
            <a:r>
              <a:rPr lang="nb-NO" sz="700">
                <a:effectLst/>
                <a:latin typeface="Arial" panose="020B0604020202020204" pitchFamily="34" charset="0"/>
                <a:ea typeface="Calibri" panose="020F0502020204030204" pitchFamily="34" charset="0"/>
                <a:cs typeface="Arial" panose="020B0604020202020204" pitchFamily="34" charset="0"/>
              </a:rPr>
              <a:t>– Selv om mange jobber vil forsvinne eller endre innhold i årene som kommer vil det imidlertid også oppstå nye jobber. Beregninger fra Verdens økonomiske forum antyder at samspillet mellom mennesker, maskiner og algoritmer på verdensbasis vil skape opp mot 12 millioner flere jobber enn de som forsvinner fram mot 2025. I tillegg vil en aldrende befolking trolig føre til mangel på arbeidskraft innen helse og omsorg. Vi går dermed på ingen måte mot en jobbløs framtid helt ennå. Men de nye jobbene kan oppstå innen andre yrker og geografiske områder enn de jobbene som forsvinner.</a:t>
            </a:r>
          </a:p>
          <a:p>
            <a:pPr>
              <a:lnSpc>
                <a:spcPct val="107000"/>
              </a:lnSpc>
              <a:spcAft>
                <a:spcPts val="800"/>
              </a:spcAft>
            </a:pPr>
            <a:r>
              <a:rPr lang="nb-NO" sz="700" b="1">
                <a:effectLst/>
                <a:latin typeface="Arial" panose="020B0604020202020204" pitchFamily="34" charset="0"/>
                <a:ea typeface="Calibri" panose="020F0502020204030204" pitchFamily="34" charset="0"/>
                <a:cs typeface="Arial" panose="020B0604020202020204" pitchFamily="34" charset="0"/>
              </a:rPr>
              <a:t>NAV må lette omstillingene – bidra til yrkesmessig og geografisk mobilitet</a:t>
            </a:r>
            <a:r>
              <a:rPr lang="nb-NO" sz="700">
                <a:effectLst/>
                <a:latin typeface="Arial" panose="020B0604020202020204" pitchFamily="34" charset="0"/>
                <a:ea typeface="Calibri" panose="020F0502020204030204" pitchFamily="34" charset="0"/>
                <a:cs typeface="Arial" panose="020B0604020202020204" pitchFamily="34" charset="0"/>
              </a:rPr>
              <a:t> – Derfor er det viktig at NAV bidrar til å lette omstillingene og bidra til både yrkesmessig og geografisk mobilitet, selv om dette er en oppgave som krever samarbeid fra flere aktører, blant annet innen utdanningssektoren. Det er også ting som tyder på at geografisk mobilitet kan bli mindre viktig i årene som kommer, ettersom digitaliseringen gjør det enklere for mange yrkesgrupper å utføre jobben sin uten å være fysisk til stede på arbeidsplassen. NAV vil også ha en rolle i å bistå virksomhetene i å rekruttere og omstille arbeidskraft.</a:t>
            </a:r>
          </a:p>
          <a:p>
            <a:pPr>
              <a:lnSpc>
                <a:spcPct val="107000"/>
              </a:lnSpc>
              <a:spcAft>
                <a:spcPts val="800"/>
              </a:spcAft>
            </a:pPr>
            <a:r>
              <a:rPr lang="nb-NO" sz="700">
                <a:effectLst/>
                <a:latin typeface="Arial" panose="020B0604020202020204" pitchFamily="34" charset="0"/>
                <a:ea typeface="Calibri" panose="020F0502020204030204" pitchFamily="34" charset="0"/>
                <a:cs typeface="Arial" panose="020B0604020202020204" pitchFamily="34" charset="0"/>
              </a:rPr>
              <a:t>I tillegg til økt mobilitet, har vi en stor ubrukt arbeidskraftreserve gjennom de mange som står utenfor. Å lykkes bedre med å redusere frafall og inkludere flere som står utenfor blir derfor også stadig viktigere. Det er også tverrsektorielle utfordringer, og som vi krever mer kunnskap om hva som er effektive virkemidler.</a:t>
            </a:r>
          </a:p>
          <a:p>
            <a:pPr>
              <a:lnSpc>
                <a:spcPct val="107000"/>
              </a:lnSpc>
              <a:spcAft>
                <a:spcPts val="800"/>
              </a:spcAft>
            </a:pPr>
            <a:r>
              <a:rPr lang="nb-NO" sz="700" b="1">
                <a:effectLst/>
                <a:latin typeface="Arial" panose="020B0604020202020204" pitchFamily="34" charset="0"/>
                <a:ea typeface="Calibri" panose="020F0502020204030204" pitchFamily="34" charset="0"/>
                <a:cs typeface="Arial" panose="020B0604020202020204" pitchFamily="34" charset="0"/>
              </a:rPr>
              <a:t>Livslang læring og omstilling</a:t>
            </a:r>
            <a:r>
              <a:rPr lang="nb-NO" sz="700">
                <a:effectLst/>
                <a:latin typeface="Arial" panose="020B0604020202020204" pitchFamily="34" charset="0"/>
                <a:ea typeface="Calibri" panose="020F0502020204030204" pitchFamily="34" charset="0"/>
                <a:cs typeface="Arial" panose="020B0604020202020204" pitchFamily="34" charset="0"/>
              </a:rPr>
              <a:t> – Et sentralt virkemiddel for å øke den yrkesmessige mobiliteten blant arbeidssøkere er å tilrettelegge for kompetanseheving. Regjeringen la i april i 2020 fram en stortingsmelding om kompetansereformen «Lære hele livet». Det ble der presentert en rekke tiltak for å hindre at noen skal «gå ut på dato» som følge av manglende kompetanse. Dette inkluderer blant annet tiltak for å stimulere til mer etterspørsel etter kompetanseutvikling, åpne utdanningssystemet for livslang læring og bedre kobling mellom tilbud og etterspørsel etter kompetanseutvikling. Det har også blitt foreslått å opprette et nytt program for arbeidslivsdrevet kompetansebygging. Dette skal være et samarbeid mellom arbeidslivet og det offentlige, både når det kommer til gjennomføring og finansiering, og nye utdannings- og opplæringstilbud skal utvikles basert på konkrete og identifiserte kompetansebehov i arbeidslivet. Dette skal omfatte både formell og uformell opplæring.</a:t>
            </a:r>
          </a:p>
          <a:p>
            <a:pPr>
              <a:lnSpc>
                <a:spcPct val="107000"/>
              </a:lnSpc>
              <a:spcAft>
                <a:spcPts val="800"/>
              </a:spcAft>
            </a:pPr>
            <a:r>
              <a:rPr lang="nb-NO" sz="700">
                <a:effectLst/>
                <a:latin typeface="Arial" panose="020B0604020202020204" pitchFamily="34" charset="0"/>
                <a:ea typeface="Calibri" panose="020F0502020204030204" pitchFamily="34" charset="0"/>
                <a:cs typeface="Arial" panose="020B0604020202020204" pitchFamily="34" charset="0"/>
              </a:rPr>
              <a:t>Men ikke all opplæring må være formell, bedriftene må også kunne senke kvalifikasjonskravene når de lyser ut og satse på mer intern opplæring i bedriften.</a:t>
            </a:r>
          </a:p>
          <a:p>
            <a:pPr>
              <a:lnSpc>
                <a:spcPct val="107000"/>
              </a:lnSpc>
              <a:spcAft>
                <a:spcPts val="800"/>
              </a:spcAft>
            </a:pPr>
            <a:r>
              <a:rPr lang="nb-NO" sz="700" b="1">
                <a:effectLst/>
                <a:latin typeface="Arial" panose="020B0604020202020204" pitchFamily="34" charset="0"/>
                <a:ea typeface="Calibri" panose="020F0502020204030204" pitchFamily="34" charset="0"/>
                <a:cs typeface="Arial" panose="020B0604020202020204" pitchFamily="34" charset="0"/>
              </a:rPr>
              <a:t>Økte krav i NAV til kompetanse om arbeidsmarkedet og arbeidsinkludering</a:t>
            </a:r>
            <a:r>
              <a:rPr lang="nb-NO" sz="700">
                <a:effectLst/>
                <a:latin typeface="Arial" panose="020B0604020202020204" pitchFamily="34" charset="0"/>
                <a:ea typeface="Calibri" panose="020F0502020204030204" pitchFamily="34" charset="0"/>
                <a:cs typeface="Arial" panose="020B0604020202020204" pitchFamily="34" charset="0"/>
              </a:rPr>
              <a:t> – Til slutt vil en høy omstillingstakt på arbeidsmarkedet også stille krav til at NAV-veiledere holder seg løpende oppdatert på de lokale forholdene på arbeidsmarkedet for effektivt å kunne formidle arbeidskraf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1340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19</a:t>
            </a:fld>
            <a:endParaRPr lang="nb-NO"/>
          </a:p>
        </p:txBody>
      </p:sp>
    </p:spTree>
    <p:extLst>
      <p:ext uri="{BB962C8B-B14F-4D97-AF65-F5344CB8AC3E}">
        <p14:creationId xmlns:p14="http://schemas.microsoft.com/office/powerpoint/2010/main" val="2374226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2</a:t>
            </a:fld>
            <a:endParaRPr lang="nb-NO"/>
          </a:p>
        </p:txBody>
      </p:sp>
    </p:spTree>
    <p:extLst>
      <p:ext uri="{BB962C8B-B14F-4D97-AF65-F5344CB8AC3E}">
        <p14:creationId xmlns:p14="http://schemas.microsoft.com/office/powerpoint/2010/main" val="1540006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700" b="1">
                <a:solidFill>
                  <a:srgbClr val="000000"/>
                </a:solidFill>
                <a:effectLst/>
                <a:latin typeface="Arial" panose="020B0604020202020204" pitchFamily="34" charset="0"/>
                <a:ea typeface="MS Mincho" panose="02020609040205080304" pitchFamily="49" charset="-128"/>
                <a:cs typeface="Times New Roman" panose="02020603050405020304" pitchFamily="18" charset="0"/>
              </a:rPr>
              <a:t>Aldring, sentralisering og usikkerhet om innvandringen</a:t>
            </a:r>
          </a:p>
          <a:p>
            <a:r>
              <a:rPr lang="nb-NO" sz="700">
                <a:effectLst/>
                <a:latin typeface="Arial" panose="020B0604020202020204" pitchFamily="34" charset="0"/>
                <a:ea typeface="MS Mincho" panose="02020609040205080304" pitchFamily="49" charset="-128"/>
                <a:cs typeface="Arial" panose="020B0604020202020204" pitchFamily="34" charset="0"/>
              </a:rPr>
              <a:t>Befolkningen i Norge har økt kraftig de siste tiårene. Samtidig har sammensetningen endret seg, blant annet på grunn av lavere dødelighet, færre fødte og høy innvandring. Framover er det ventet at befolkningsveksten avtar. Fra 2023 til 2035 er det ventet at folketallet i Norge vil øke med 5 prosent. De tre viktigste demografiske trendene fram mot 2035 er aldring av befolkningen, sentralisering og lavere nettoinnvandring.</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Befolkningen i alderen 19–66 år er ventet å øke med 2 prosent fram mot 2035. Ettersom 3 av 4 NAV-ansatte jobber med brukere i yrkesaktiv alder, venter vi at den direkte effekten av demografi vil gi nokså beskjedne konsekvenser for arbeidsbelastningen i NAV. Dette er likevel usikkert på grunn av økt usikkerhet om innvandringen framover. Aldringen av befolkningen vil imidlertid føre til at noen brukergrupper vil vokse mye. Befolkningen som er 67 år eller eldre er ventet å øke med over 30 prosent fram mot 2035. Antall alderspensjonister og mottakere av hjelpemidler er ventet å øke tilsvarende, begge med om lag 35 prosent. </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Veksten for hjelpemidler vil gi de største utfordringene, da dette er et område som i dag krever betydelig personlig bistand. Her er det usikkerhet knyttet til hvordan økte forventninger, ny teknologi og bedre helse vil påvirke utviklingen. Veksten i alderspensjonister vil også gi NAV flere oppgaver, til tross for at pensjon er et område med stor grad av automatisering og en brukergruppe som krever lite oppfølging fra NAV etter uttak av alderspensjon.  Årsaken er at høy migrasjon de siste tiårene gjør at vi venter sterk vekst i utenlandssaker, som i liten grad har blitt automatisert. Omleggingen av AFP i offentlig sektor vil dessuten føre til at antallet som starter uttak av alderspensjon ventes å øke med nesten 30 prosent til 2035.</a:t>
            </a:r>
          </a:p>
          <a:p>
            <a:r>
              <a:rPr lang="nb-NO" sz="700">
                <a:solidFill>
                  <a:srgbClr val="FF0000"/>
                </a:solidFill>
                <a:effectLst/>
                <a:latin typeface="Arial" panose="020B0604020202020204" pitchFamily="34" charset="0"/>
                <a:ea typeface="MS Mincho" panose="02020609040205080304" pitchFamily="49" charset="-128"/>
                <a:cs typeface="Arial" panose="020B0604020202020204" pitchFamily="34" charset="0"/>
              </a:rPr>
              <a:t> </a:t>
            </a:r>
            <a:endParaRPr lang="nb-NO" sz="700">
              <a:effectLst/>
              <a:latin typeface="Arial" panose="020B0604020202020204" pitchFamily="34" charset="0"/>
              <a:ea typeface="MS Mincho" panose="02020609040205080304" pitchFamily="49" charset="-128"/>
              <a:cs typeface="Arial" panose="020B0604020202020204" pitchFamily="34" charset="0"/>
            </a:endParaRPr>
          </a:p>
          <a:p>
            <a:r>
              <a:rPr lang="nb-NO" sz="700">
                <a:effectLst/>
                <a:latin typeface="Arial" panose="020B0604020202020204" pitchFamily="34" charset="0"/>
                <a:ea typeface="MS Mincho" panose="02020609040205080304" pitchFamily="49" charset="-128"/>
                <a:cs typeface="Arial" panose="020B0604020202020204" pitchFamily="34" charset="0"/>
              </a:rPr>
              <a:t>Antall innvandrere bosatt i Norge er ventet å øke med 16 prosent til 2035. Det er høyere enn den generelle befolkningsveksten, men lavere vekst enn i perioden etter årtusenskiftet. Fra 2024 ventes en årlig nettoinnvandring på rundt 12 000, som er klart lavere enn før, men vi vurderer utviklingen framover som svært usikker. Den kan endre seg raskt, særlig når det gjelder tilstrømming av flyktninger. Derfor må NAV være forberedt på raske omprioriteringer. Det er ventet at innvandrere fra Øst-Europa utenfor EU, Afrika, Asia og Latin-Amerika vil øke mest, med 19 prosent fram mot 2035. Det skyldes at flyktninger, og særlig personer som kommer til Norge gjennom familiegjenforening, er ventet å utgjøre en klart høyere andel av innvandringen framover. Lavere innvandring og mangel på arbeidskraft kan gjøre det enklere for innvandrere å komme inn på arbeidsmarkedet. En høyere andel som mangler relevant kompetanse og arbeidserfaring kan trekke i motsatt retning.</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Den årlige arbeidsinnvandringen har gått ned med nesten 40 prosent det siste tiåret, noe som gjør det mer utfordrende å møte behovet for arbeidskraft, særlig i mindre sentrale kommuner.</a:t>
            </a:r>
            <a:r>
              <a:rPr lang="nb-NO" sz="700">
                <a:solidFill>
                  <a:srgbClr val="4F6228"/>
                </a:solidFill>
                <a:effectLst/>
                <a:latin typeface="Arial" panose="020B0604020202020204" pitchFamily="34" charset="0"/>
                <a:ea typeface="Times New Roman" panose="02020603050405020304" pitchFamily="18" charset="0"/>
                <a:cs typeface="Arial" panose="020B0604020202020204" pitchFamily="34" charset="0"/>
              </a:rPr>
              <a:t> </a:t>
            </a:r>
            <a:r>
              <a:rPr lang="nb-NO" sz="700">
                <a:effectLst/>
                <a:latin typeface="Arial" panose="020B0604020202020204" pitchFamily="34" charset="0"/>
                <a:ea typeface="MS Mincho" panose="02020609040205080304" pitchFamily="49" charset="-128"/>
                <a:cs typeface="Arial" panose="020B0604020202020204" pitchFamily="34" charset="0"/>
              </a:rPr>
              <a:t>Det er ventet relativt lav arbeidsinnvandring framover, men også dette er usikkert, da vedvarende mangel på arbeidskraft kan medføre endringer i politiske prioriteringer.</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Det ventes befolkningsvekst i alle fylker unntatt Nordland, og den ventes å bli sterkest i de mest sentrale kommunene. Befolkningen ventes å synke i 4 av 10 kommuner fram mot 2035, mens det i 2 av 3 kommuner ventes nedgang i befolkningen i yrkesaktiv alder. Økt levealder og fraflytting av unge vil i føre til sterkere aldring i mindre sentrale deler av landet. I 2035 er det ventet at 17 prosent av befolkningen i de minst sentrale kommunene vil være over 75 år, mot 9 prosent av befolkningen i de mest sentrale kommunene. Det vil kunne bli vanskelig å rekruttere kompetent arbeidskraft i distriktene, også rekruttering til NAV. Befolkningsendringene vil også få betydning for hvordan NAV bør organiseres fremover for å sikre effektiv ressursbruk og tilstrekkelige kunnskapsmiljøer.</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Aldringen av befolkningen vil øke gapet mellom utgifter og inntekter på statsbudsjettet, noe som vil stille større krav til effektivisering i offentlig sektor. Samtidig kan vi få økte politiske forventninger om at NAV driver arbeidsrettet oppfølging av flere brukergrupper enn i dag, og at vi får bedre treffsikkerhet når det gjelder hvilke personer som må ha mer omfattende bistand. Det gjelder både unge og eldre, uføretrygdede, mottakere av sosialhjelp og seniorer som kan bli stående lenger i arbeidslivet.</a:t>
            </a:r>
            <a:endParaRPr lang="nb-NO" sz="70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fld id="{071B4BBF-70B9-8047-B02F-2484F1EA6A40}" type="slidenum">
              <a:rPr lang="nb-NO" smtClean="0"/>
              <a:t>20</a:t>
            </a:fld>
            <a:endParaRPr lang="nb-NO"/>
          </a:p>
        </p:txBody>
      </p:sp>
    </p:spTree>
    <p:extLst>
      <p:ext uri="{BB962C8B-B14F-4D97-AF65-F5344CB8AC3E}">
        <p14:creationId xmlns:p14="http://schemas.microsoft.com/office/powerpoint/2010/main" val="4057535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nb-NO" sz="900">
                <a:effectLst/>
                <a:latin typeface="Arial" panose="020B0604020202020204" pitchFamily="34" charset="0"/>
                <a:ea typeface="Calibri" panose="020F0502020204030204" pitchFamily="34" charset="0"/>
                <a:cs typeface="Arial" panose="020B0604020202020204" pitchFamily="34" charset="0"/>
              </a:rPr>
              <a:t>Det ventes svakere befolkningsvekst enn før, 5 prosent i alt til 2035. Den sterke aldringen ser vi tydelig, befolkningen 75+ vil øke med 45 prosent. Befolkningen i yrkesaktiv alder øker med 2 prosent, og det ventes nedgang for personer under 35 år. Vi anslår at rundt 3 av 4 ansatte i NAV jobber med grupper i yrkesaktiv alder. I stort mener vi derfor at demografien vil gi beskjedne konsekvenser for arbeidsbelastningen i NAV.</a:t>
            </a:r>
          </a:p>
          <a:p>
            <a:pPr marL="0" lvl="0" indent="0">
              <a:lnSpc>
                <a:spcPct val="107000"/>
              </a:lnSpc>
              <a:spcAft>
                <a:spcPts val="800"/>
              </a:spcAft>
              <a:buFont typeface="Arial" panose="020B0604020202020204" pitchFamily="34" charset="0"/>
              <a:buNone/>
              <a:tabLst>
                <a:tab pos="457200" algn="l"/>
              </a:tabLst>
            </a:pPr>
            <a:endParaRPr lang="nb-NO" sz="900">
              <a:effectLst/>
              <a:latin typeface="Arial" panose="020B0604020202020204" pitchFamily="34" charset="0"/>
              <a:ea typeface="Calibri" panose="020F0502020204030204" pitchFamily="34" charset="0"/>
              <a:cs typeface="Arial" panose="020B0604020202020204" pitchFamily="34" charset="0"/>
            </a:endParaRPr>
          </a:p>
          <a:p>
            <a:pPr marL="0" lvl="0" indent="0">
              <a:lnSpc>
                <a:spcPct val="107000"/>
              </a:lnSpc>
              <a:spcAft>
                <a:spcPts val="800"/>
              </a:spcAft>
              <a:buFont typeface="Arial" panose="020B0604020202020204" pitchFamily="34" charset="0"/>
              <a:buNone/>
              <a:tabLst>
                <a:tab pos="457200" algn="l"/>
              </a:tabLst>
            </a:pPr>
            <a:r>
              <a:rPr lang="nb-NO" sz="900">
                <a:effectLst/>
                <a:latin typeface="Arial" panose="020B0604020202020204" pitchFamily="34" charset="0"/>
                <a:ea typeface="Calibri" panose="020F0502020204030204" pitchFamily="34" charset="0"/>
                <a:cs typeface="Arial" panose="020B0604020202020204" pitchFamily="34" charset="0"/>
              </a:rPr>
              <a:t>Men det kommer til å bli drøyt 35 prosent flere mottakere av både alderspensjon og hjelpemidler. Begge deler vil utfordre NAV, veksten for hjelpemidler trolig mest. Hjelpemidler er et område som per i dag krever mye personlig bistand, og 1 av 10 statlige ansatte i NAV jobber på dette området. Også veksten i alderspensjonister vil utfordre oss, selv om vi her i dag har høy automatiseringsgrad. Det skyldes at veksten i antall nye pensjonister ventes å bli nesten like høy som for pensjonister i alt. I tillegg bruker NAV i dag nesten halvparten av årsverkene til saksbehandling av alderspensjon til utlandssaker. Det skyldes manglende automatisering av disse sakene. Her ventes antall saker å øke mer enn for de nasjonale sakene.</a:t>
            </a:r>
          </a:p>
          <a:p>
            <a:pPr marL="0" lvl="0" indent="0">
              <a:lnSpc>
                <a:spcPct val="107000"/>
              </a:lnSpc>
              <a:spcAft>
                <a:spcPts val="800"/>
              </a:spcAft>
              <a:buFont typeface="Arial" panose="020B0604020202020204" pitchFamily="34" charset="0"/>
              <a:buNone/>
              <a:tabLst>
                <a:tab pos="457200" algn="l"/>
              </a:tabLst>
            </a:pPr>
            <a:r>
              <a:rPr lang="nb-NO" sz="900">
                <a:effectLst/>
                <a:latin typeface="Arial" panose="020B0604020202020204" pitchFamily="34" charset="0"/>
                <a:ea typeface="Calibri" panose="020F0502020204030204" pitchFamily="34" charset="0"/>
                <a:cs typeface="Arial" panose="020B0604020202020204" pitchFamily="34" charset="0"/>
              </a:rPr>
              <a:t>I tillegg gir jo aldringen økt press på statsfinansene. Det tror vi vil gi økte forventninger til at NAV bistår flere grupper i oppfølging mot arbeid. Et eksempel på det er jo satsingen nå med arbeidsorientert uføretrygd. Det kan virke litt motstrid til at vi også mener det blir økte forventninger til effektivitet i offentlig sektor. Men det tror vi blant annet vil handle om forventninger til at vi er mer treffsikre når det gjelder hvilke personer vil tilbyr omfattende bistand.</a:t>
            </a:r>
          </a:p>
        </p:txBody>
      </p:sp>
      <p:sp>
        <p:nvSpPr>
          <p:cNvPr id="4" name="Slide Number Placeholder 3"/>
          <p:cNvSpPr>
            <a:spLocks noGrp="1"/>
          </p:cNvSpPr>
          <p:nvPr>
            <p:ph type="sldNum" sz="quarter" idx="5"/>
          </p:nvPr>
        </p:nvSpPr>
        <p:spPr/>
        <p:txBody>
          <a:bodyPr/>
          <a:lstStyle/>
          <a:p>
            <a:fld id="{071B4BBF-70B9-8047-B02F-2484F1EA6A40}" type="slidenum">
              <a:rPr lang="nb-NO" smtClean="0"/>
              <a:t>21</a:t>
            </a:fld>
            <a:endParaRPr lang="nb-NO"/>
          </a:p>
        </p:txBody>
      </p:sp>
    </p:spTree>
    <p:extLst>
      <p:ext uri="{BB962C8B-B14F-4D97-AF65-F5344CB8AC3E}">
        <p14:creationId xmlns:p14="http://schemas.microsoft.com/office/powerpoint/2010/main" val="19030007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Alderspensjon: Alderspensjonister i alt vil øke mer enn antall nye pensjonister hvert år, fordi veksten blir størst blant de over 75 år. Det blir likevel nesten like høy vekst for nye pensjonister. Det skyldes AFP-reformen i offentlig sektor, som endrer AFP fra en tidligpensjon for aldersgruppen 62–66 år til en livsvarig pensjon som kan tas ut sammen med alderspensjon fra 62 år. Basert på erfaringer med tilsvarende reform i privat sektor tror vi det vil føre til sterk vekst i antallet som tar ut alderspensjon før 67 år (selv om de fleste kommer til å fortsette å jobbe). Nesten halvparten av saksbehandlingsressursene for alderspensjon brukes i dag til utlandssaker, fordi nasjonale saker ofte går automatisk. Her har vi ingen konkret prognose, men disse sakene vil høyst sannsynlig øke raskere enn de nasjonale sakene.</a:t>
            </a:r>
          </a:p>
          <a:p>
            <a:r>
              <a:rPr lang="nb-NO" sz="900">
                <a:latin typeface="Arial" panose="020B0604020202020204" pitchFamily="34" charset="0"/>
                <a:cs typeface="Arial" panose="020B0604020202020204" pitchFamily="34" charset="0"/>
              </a:rPr>
              <a:t>Hjelpemidler: Brukes hyppigst av aldersgruppen over 80 år, der det ventes svært sterk befolkningsvekst. 1 av 10 statlig ansatte i NAV jobber i dag på hjelpemiddelrområdet. Ettersom området, i hvert fall i dag, krever mye personlig bistand, vil dette utfordre NAV.</a:t>
            </a:r>
          </a:p>
          <a:p>
            <a:r>
              <a:rPr lang="nb-NO" sz="900">
                <a:latin typeface="Arial" panose="020B0604020202020204" pitchFamily="34" charset="0"/>
                <a:cs typeface="Arial" panose="020B0604020202020204" pitchFamily="34" charset="0"/>
              </a:rPr>
              <a:t>Foreldrepenger: Veksten skyldes at det ventes noe vekst i fødselstallene framover, men det er usikkert.</a:t>
            </a:r>
          </a:p>
          <a:p>
            <a:r>
              <a:rPr lang="nb-NO" sz="900">
                <a:latin typeface="Arial" panose="020B0604020202020204" pitchFamily="34" charset="0"/>
                <a:cs typeface="Arial" panose="020B0604020202020204" pitchFamily="34" charset="0"/>
              </a:rPr>
              <a:t>Sykepenger: Det ventes svak vekst pga. svak vekst i befolkningen i yrkesaktiv alder, og fordi sykefraværet i 2022 var unormalt høyt pga. koronapandemien.</a:t>
            </a:r>
          </a:p>
          <a:p>
            <a:r>
              <a:rPr lang="nb-NO" sz="900">
                <a:latin typeface="Arial" panose="020B0604020202020204" pitchFamily="34" charset="0"/>
                <a:cs typeface="Arial" panose="020B0604020202020204" pitchFamily="34" charset="0"/>
              </a:rPr>
              <a:t>Arbeidsavklaringspenger: 2022 var preget av en opphopning av mottakere på ordningen pga. koronapandemien og de midlertidige forlengelsene. I tillegg har vi fortsatt ikke sett konsekvensene av at hovedregelen for maksimal varighet ble redusert til 3 år. Reglene ble igjen noe oppmyket fra juli 2022, bl.a. adgangen til å få en ny periode med AAP uten et karensår. Det er usikkert hvordan dette slår inn, og det er også en mulighet at antall mottakere ikke vil gå ned framover.</a:t>
            </a:r>
          </a:p>
          <a:p>
            <a:r>
              <a:rPr lang="nb-NO" sz="900">
                <a:latin typeface="Arial" panose="020B0604020202020204" pitchFamily="34" charset="0"/>
                <a:cs typeface="Arial" panose="020B0604020202020204" pitchFamily="34" charset="0"/>
              </a:rPr>
              <a:t>Uføretrygd: Her ventes sterkere vekst framover enn befolkningen i yrkesaktiv alder. Det skyldes at det blir særlig stor vekst i befolkningen 35-66 år samt opphopningen på AAP som vil føre til at mange går til over til uføretrygd de nærmeste årene.</a:t>
            </a:r>
          </a:p>
          <a:p>
            <a:r>
              <a:rPr lang="nb-NO" sz="900">
                <a:latin typeface="Arial" panose="020B0604020202020204" pitchFamily="34" charset="0"/>
                <a:cs typeface="Arial" panose="020B0604020202020204" pitchFamily="34" charset="0"/>
              </a:rPr>
              <a:t>Dagpenger: Her er det vanskelig å spå utviklingen til 2035 fordi den avhenger av konjunkturene. Prognosen bygger på at ledigheten stabiliserer seg på et antatt normalnivå. Det gir rundt 20 prosent flere med dagpenger enn i 2022.</a:t>
            </a:r>
          </a:p>
        </p:txBody>
      </p:sp>
      <p:sp>
        <p:nvSpPr>
          <p:cNvPr id="4" name="Plassholder for lysbildenummer 3"/>
          <p:cNvSpPr>
            <a:spLocks noGrp="1"/>
          </p:cNvSpPr>
          <p:nvPr>
            <p:ph type="sldNum" sz="quarter" idx="5"/>
          </p:nvPr>
        </p:nvSpPr>
        <p:spPr/>
        <p:txBody>
          <a:bodyPr/>
          <a:lstStyle/>
          <a:p>
            <a:fld id="{071B4BBF-70B9-8047-B02F-2484F1EA6A40}" type="slidenum">
              <a:rPr lang="nb-NO" smtClean="0"/>
              <a:t>22</a:t>
            </a:fld>
            <a:endParaRPr lang="nb-NO"/>
          </a:p>
        </p:txBody>
      </p:sp>
    </p:spTree>
    <p:extLst>
      <p:ext uri="{BB962C8B-B14F-4D97-AF65-F5344CB8AC3E}">
        <p14:creationId xmlns:p14="http://schemas.microsoft.com/office/powerpoint/2010/main" val="42705868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Sentraliseringen ventes å fortsette. Her ser vi befolkningsvekst for ulike kommunegrupper fram til 2035, etter SSB definisjon av hvor sentrale kommunene her. Tallene i parentes er hvor mange som bor i hver kommunegruppe, målt i antall millioner. Det bor få i de nest minst sentrale og minst sentrale kommunene (henholdsvis 500 000 og 200 000) der det ventes nedgang. Nesten halvparten av befolkningen bor i de mest sentrale eller nest mest sentrale kommunene.</a:t>
            </a:r>
          </a:p>
          <a:p>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Merk at det også er stor variasjon innad i hver gruppe kommuner. Derfor ventes det befolkningsnedgang i 4 av 10 kommuner, og nedgang i befolkningen i yrkesaktiv alder i 2 av 3 kommuner, altså enda flere. Vi tror det vil gi mangel på kvalifisert arbeidskraft mange steder i landet, og det vil bli en utfordring også for NAV. Det vil bli færre brukere på mange NAV-kontorer, forsterket av digitaliseringen. Det gir behov for endret organisering, for å sikre gode nok kunnskapsmiljøer og effektiv ressursutnyttelse. Det kan for eksempel skje gjennom færre NAV-kontorer eller at tilstedeværelsen lokalt sikres på andre måter enn gjennom et fysisk kontor.</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78022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latin typeface="Arial" panose="020B0604020202020204" pitchFamily="34" charset="0"/>
                <a:cs typeface="Arial" panose="020B0604020202020204" pitchFamily="34" charset="0"/>
              </a:rPr>
              <a:t>Tabellen viser ved hvilket år antall eldre i aldersgruppen 65 år og over vil passere antall yngre i alderen 0–19 år i hvert av fylkene. </a:t>
            </a: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24</a:t>
            </a:fld>
            <a:endParaRPr lang="nb-NO"/>
          </a:p>
        </p:txBody>
      </p:sp>
    </p:spTree>
    <p:extLst>
      <p:ext uri="{BB962C8B-B14F-4D97-AF65-F5344CB8AC3E}">
        <p14:creationId xmlns:p14="http://schemas.microsoft.com/office/powerpoint/2010/main" val="3866084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rPr>
              <a:t>Antall innvandrere bosatt i Norge er ventet å øke med 16 prosent til 2035 (ikke vist i figur). Det er høyere enn den generelle befolkningsveksten, men lavere vekst enn i perioden etter årtusenskiftet. Fra 2024 ventes en årlig nettoinnvandring på rundt 12 000 som er klart lavere enn før, men vi vurderer at utviklingen framover er svært usikker og kan endre seg raskt særlig når det gjelder tilstrømming av flyktninger.  Det krever at NAV må være forberedt på raske omprioriteringer. Det er ventet at innvandrere fra Øst-Europa utenfor EU, Afrika, Asia og Latin-Amerika vil øke mest, med 19 prosent fram mot 2035 (ikke vist i figur). Det skyldes at flyktninger, og særlig personer som kommer til Norge gjennom familiegjenforening, er ventet å utgjøre en klart høyere andel av innvandringen framover. Lavere innvandring kan gjøre det enklere for innvandrere å komme inn på det arbeidsmarkedet. En høyere andel som mangler relevant kompetanse og arbeidserfaring kan trekke i motsatt retning. Den årlige arbeidsinnvandringen har gått ned med nesten 40 prosent det siste tiåret (ikke vist i figur).</a:t>
            </a:r>
            <a:r>
              <a:rPr lang="nb-NO" sz="900">
                <a:solidFill>
                  <a:srgbClr val="4F6228"/>
                </a:solidFill>
                <a:effectLst/>
                <a:latin typeface="Arial" panose="020B0604020202020204" pitchFamily="34" charset="0"/>
                <a:ea typeface="Times New Roman" panose="02020603050405020304" pitchFamily="18" charset="0"/>
              </a:rPr>
              <a:t> </a:t>
            </a:r>
            <a:r>
              <a:rPr lang="nb-NO" sz="900">
                <a:effectLst/>
                <a:latin typeface="Arial" panose="020B0604020202020204" pitchFamily="34" charset="0"/>
                <a:ea typeface="MS Mincho" panose="02020609040205080304" pitchFamily="49" charset="-128"/>
              </a:rPr>
              <a:t>Det er ventet relativt lav arbeidsinnvandring framover, men også dette er usikkert. Det vil gjøre det mer utfordrende å møte behovet etter arbeidskraft og særlig i mindre sentrale kommuner. Det store behov for arbeidskraft kan føre til endret innvandringspolitikk og adgang til økt arbeidsinnvandring fra utenfor EU/EØS.</a:t>
            </a:r>
            <a:endParaRPr lang="nb-NO" sz="900">
              <a:effectLst/>
              <a:latin typeface="Times New Roman" panose="02020603050405020304" pitchFamily="18" charset="0"/>
              <a:ea typeface="MS Mincho" panose="02020609040205080304" pitchFamily="49" charset="-128"/>
            </a:endParaRPr>
          </a:p>
        </p:txBody>
      </p:sp>
      <p:sp>
        <p:nvSpPr>
          <p:cNvPr id="4" name="Slide Number Placeholder 3"/>
          <p:cNvSpPr>
            <a:spLocks noGrp="1"/>
          </p:cNvSpPr>
          <p:nvPr>
            <p:ph type="sldNum" sz="quarter" idx="5"/>
          </p:nvPr>
        </p:nvSpPr>
        <p:spPr/>
        <p:txBody>
          <a:bodyPr/>
          <a:lstStyle/>
          <a:p>
            <a:fld id="{071B4BBF-70B9-8047-B02F-2484F1EA6A40}" type="slidenum">
              <a:rPr lang="nb-NO" smtClean="0"/>
              <a:t>25</a:t>
            </a:fld>
            <a:endParaRPr lang="nb-NO"/>
          </a:p>
        </p:txBody>
      </p:sp>
    </p:spTree>
    <p:extLst>
      <p:ext uri="{BB962C8B-B14F-4D97-AF65-F5344CB8AC3E}">
        <p14:creationId xmlns:p14="http://schemas.microsoft.com/office/powerpoint/2010/main" val="1946677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26</a:t>
            </a:fld>
            <a:endParaRPr lang="nb-NO"/>
          </a:p>
        </p:txBody>
      </p:sp>
    </p:spTree>
    <p:extLst>
      <p:ext uri="{BB962C8B-B14F-4D97-AF65-F5344CB8AC3E}">
        <p14:creationId xmlns:p14="http://schemas.microsoft.com/office/powerpoint/2010/main" val="1789987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700" b="1">
                <a:solidFill>
                  <a:srgbClr val="000000"/>
                </a:solidFill>
                <a:effectLst/>
                <a:latin typeface="Arial" panose="020B0604020202020204" pitchFamily="34" charset="0"/>
                <a:ea typeface="MS Mincho" panose="02020609040205080304" pitchFamily="49" charset="-128"/>
                <a:cs typeface="Times New Roman" panose="02020603050405020304" pitchFamily="18" charset="0"/>
              </a:rPr>
              <a:t>Nye kanaler, sammenhengende, tilpassede og inkluderende tjenester</a:t>
            </a:r>
            <a:endParaRPr lang="nb-NO" sz="700" b="1">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p>
            <a:r>
              <a:rPr lang="nb-NO" sz="700">
                <a:effectLst/>
                <a:latin typeface="Arial" panose="020B0604020202020204" pitchFamily="34" charset="0"/>
                <a:ea typeface="MS Mincho" panose="02020609040205080304" pitchFamily="49" charset="-128"/>
                <a:cs typeface="Arial" panose="020B0604020202020204" pitchFamily="34" charset="0"/>
              </a:rPr>
              <a:t>Innbyggernes og arbeidsgivernes forventninger til offentlige tjenester vil endre seg i takt med digitaliseringen og utviklingen ellers i samfunnet. Her presenterer vi en modell for hvilke faktorer som former brukerforventninger, og som viser hvordan samfunnstrender påvirker forventningene.</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Digital utvikling har lenge vært en sentral trend i samfunnet og har ført til at noen ting går lettere for mange, samtidig som det blir vanskeligere for andre. Digitalt utenforskap påvirkes av mer enn mangel på digital kompetanse. Hindre for å ta i bruk digitale tjenester omfatter blant annet helse, tillit og manglende kjennskap til prosesser, språk og regelverk i offentlig sektor (byråkratisk kompetanse). Fram mot 2035 tror vi folk vil forvente at NAV utformer tjenester som inkluderer flere og tar hensyn til ulike hindre vi vet at folk kan oppleve. I tillegg vil innbyggerne forvente fullgode og tilgjengelige alternativer for de som ønsker eller trenger personlig bistand.</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De kommende årene tror vi at innbyggerne i økende grad vil forvente at offentlig sektor setter mennesket i sentrum i tjenesteutviklingen, og at vi jobber aktivt for mer sammenhengende tjenester bygget rundt livssituasjoner. Digitaliseringsstrategien for offentlig sektor og den pågående tillitsreformen gir grunnlag for disse forventningene, og vi tror at forventningene også vil øke som følge av at folk opplever stadig bedre og mer tilgjengelige tjenester i privat sektor. Lanseringen av tjenesten </a:t>
            </a:r>
            <a:r>
              <a:rPr lang="nb-NO" sz="700" err="1">
                <a:effectLst/>
                <a:latin typeface="Arial" panose="020B0604020202020204" pitchFamily="34" charset="0"/>
                <a:ea typeface="MS Mincho" panose="02020609040205080304" pitchFamily="49" charset="-128"/>
                <a:cs typeface="Arial" panose="020B0604020202020204" pitchFamily="34" charset="0"/>
              </a:rPr>
              <a:t>ChatGPT</a:t>
            </a:r>
            <a:r>
              <a:rPr lang="nb-NO" sz="700">
                <a:effectLst/>
                <a:latin typeface="Arial" panose="020B0604020202020204" pitchFamily="34" charset="0"/>
                <a:ea typeface="MS Mincho" panose="02020609040205080304" pitchFamily="49" charset="-128"/>
                <a:cs typeface="Arial" panose="020B0604020202020204" pitchFamily="34" charset="0"/>
              </a:rPr>
              <a:t> mot slutten av 2022 kan for eksempel tenkes </a:t>
            </a:r>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å endre </a:t>
            </a:r>
            <a:r>
              <a:rPr lang="nb-NO" sz="700">
                <a:effectLst/>
                <a:latin typeface="Arial" panose="020B0604020202020204" pitchFamily="34" charset="0"/>
                <a:ea typeface="MS Mincho" panose="02020609040205080304" pitchFamily="49" charset="-128"/>
                <a:cs typeface="Arial" panose="020B0604020202020204" pitchFamily="34" charset="0"/>
              </a:rPr>
              <a:t>våre forventninger til </a:t>
            </a:r>
            <a:r>
              <a:rPr lang="nb-NO" sz="700" err="1">
                <a:effectLst/>
                <a:latin typeface="Arial" panose="020B0604020202020204" pitchFamily="34" charset="0"/>
                <a:ea typeface="MS Mincho" panose="02020609040205080304" pitchFamily="49" charset="-128"/>
                <a:cs typeface="Arial" panose="020B0604020202020204" pitchFamily="34" charset="0"/>
              </a:rPr>
              <a:t>chatboter</a:t>
            </a:r>
            <a:r>
              <a:rPr lang="nb-NO" sz="700">
                <a:effectLst/>
                <a:latin typeface="Arial" panose="020B0604020202020204" pitchFamily="34" charset="0"/>
                <a:ea typeface="MS Mincho" panose="02020609040205080304" pitchFamily="49" charset="-128"/>
                <a:cs typeface="Arial" panose="020B0604020202020204" pitchFamily="34" charset="0"/>
              </a:rPr>
              <a:t> og lignende former for kommunikasjon.</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Den teknologiske utviklingen tror vi fører til at folk vil vente at NAV tar i bruk nye former for kommunikasjon, der det digitale og analoge i økende grad vil smelte sammen. Selv om teknologier som utvidet/virtuell virkelighet (AR/VR) og «metavers» kan virke fremmed i dag, tror vi at innbyggerne i økende grad vil forvente å kunne komme i kontakt med NAV gjennom nye kanaler, dersom de blir allment tilgjengelig ellers i samfunnet. Hvordan slike kanaler vil se ut er uklart, men hensikten er at digitale møter skal minne mer om fysiske møter.</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Selv om mye vil endre seg fram mot 2035, tror vi at innbyggernes og arbeidsgivernes forventninger til møter med det offentlige vil ligne mye på dagens forventninger om å bli møtt med respekt av et tilgjengelig og kompetent NAV. Automatiseringen av enklere henvendelser kan innebære større forventninger til </a:t>
            </a:r>
            <a:r>
              <a:rPr lang="nb-NO" sz="700" err="1">
                <a:effectLst/>
                <a:latin typeface="Arial" panose="020B0604020202020204" pitchFamily="34" charset="0"/>
                <a:ea typeface="MS Mincho" panose="02020609040205080304" pitchFamily="49" charset="-128"/>
                <a:cs typeface="Arial" panose="020B0604020202020204" pitchFamily="34" charset="0"/>
              </a:rPr>
              <a:t>NAVs</a:t>
            </a:r>
            <a:r>
              <a:rPr lang="nb-NO" sz="700">
                <a:effectLst/>
                <a:latin typeface="Arial" panose="020B0604020202020204" pitchFamily="34" charset="0"/>
                <a:ea typeface="MS Mincho" panose="02020609040205080304" pitchFamily="49" charset="-128"/>
                <a:cs typeface="Arial" panose="020B0604020202020204" pitchFamily="34" charset="0"/>
              </a:rPr>
              <a:t> fagkompetanse og </a:t>
            </a:r>
            <a:r>
              <a:rPr lang="nb-NO" sz="700" err="1">
                <a:effectLst/>
                <a:latin typeface="Arial" panose="020B0604020202020204" pitchFamily="34" charset="0"/>
                <a:ea typeface="MS Mincho" panose="02020609040205080304" pitchFamily="49" charset="-128"/>
                <a:cs typeface="Arial" panose="020B0604020202020204" pitchFamily="34" charset="0"/>
              </a:rPr>
              <a:t>relasjonskompetanse</a:t>
            </a:r>
            <a:r>
              <a:rPr lang="nb-NO" sz="700">
                <a:effectLst/>
                <a:latin typeface="Arial" panose="020B0604020202020204" pitchFamily="34" charset="0"/>
                <a:ea typeface="MS Mincho" panose="02020609040205080304" pitchFamily="49" charset="-128"/>
                <a:cs typeface="Arial" panose="020B0604020202020204" pitchFamily="34" charset="0"/>
              </a:rPr>
              <a:t> i møte med mennesker. I et arbeidsliv i omstilling tror vi både arbeidsgivere og innbyggere i større grad vil forvente at NAV gir råd om framtidas kompetansebehov.</a:t>
            </a:r>
          </a:p>
        </p:txBody>
      </p:sp>
      <p:sp>
        <p:nvSpPr>
          <p:cNvPr id="4" name="Plassholder for lysbildenummer 3"/>
          <p:cNvSpPr>
            <a:spLocks noGrp="1"/>
          </p:cNvSpPr>
          <p:nvPr>
            <p:ph type="sldNum" sz="quarter" idx="10"/>
          </p:nvPr>
        </p:nvSpPr>
        <p:spPr/>
        <p:txBody>
          <a:bodyPr/>
          <a:lstStyle/>
          <a:p>
            <a:fld id="{CC095B44-202A-4978-9C5A-42D88216F05F}" type="slidenum">
              <a:rPr lang="nb-NO" smtClean="0"/>
              <a:t>27</a:t>
            </a:fld>
            <a:endParaRPr lang="nb-NO"/>
          </a:p>
        </p:txBody>
      </p:sp>
    </p:spTree>
    <p:extLst>
      <p:ext uri="{BB962C8B-B14F-4D97-AF65-F5344CB8AC3E}">
        <p14:creationId xmlns:p14="http://schemas.microsoft.com/office/powerpoint/2010/main" val="156340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rPr>
              <a:t>Brukerforventninger kan defineres som de antakelser en person legger til grunn for en tjeneste før de tar den i bruk. For bedre å forstå hvilke faktorer som påvirker forventninger, og dermed evalueringen av tjenester, har vi laget en modell hvor vi kombinerer modeller og teori fra tjeneste- og tjenestekvalitetsforskningen.</a:t>
            </a:r>
            <a:endParaRPr lang="nb-NO" sz="900"/>
          </a:p>
        </p:txBody>
      </p:sp>
      <p:sp>
        <p:nvSpPr>
          <p:cNvPr id="4" name="Plassholder for lysbildenummer 3"/>
          <p:cNvSpPr>
            <a:spLocks noGrp="1"/>
          </p:cNvSpPr>
          <p:nvPr>
            <p:ph type="sldNum" sz="quarter" idx="5"/>
          </p:nvPr>
        </p:nvSpPr>
        <p:spPr/>
        <p:txBody>
          <a:bodyPr/>
          <a:lstStyle/>
          <a:p>
            <a:fld id="{19FC9FE1-E7E6-4945-A9A5-CCC28D65005B}" type="slidenum">
              <a:rPr lang="nb-NO" smtClean="0"/>
              <a:t>28</a:t>
            </a:fld>
            <a:endParaRPr lang="nb-NO"/>
          </a:p>
        </p:txBody>
      </p:sp>
    </p:spTree>
    <p:extLst>
      <p:ext uri="{BB962C8B-B14F-4D97-AF65-F5344CB8AC3E}">
        <p14:creationId xmlns:p14="http://schemas.microsoft.com/office/powerpoint/2010/main" val="35632723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800">
                <a:effectLst/>
                <a:latin typeface="Arial" panose="020B0604020202020204" pitchFamily="34" charset="0"/>
                <a:ea typeface="MS Mincho" panose="02020609040205080304" pitchFamily="49" charset="-128"/>
                <a:cs typeface="Arial" panose="020B0604020202020204" pitchFamily="34" charset="0"/>
              </a:rPr>
              <a:t>Innbyggernes og arbeidsgivernes forventninger til offentlige tjenester vil endre seg i takt med digitaliseringen og utviklingen i samfunnet ellers.</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800">
                <a:effectLst/>
                <a:latin typeface="Arial" panose="020B0604020202020204" pitchFamily="34" charset="0"/>
                <a:ea typeface="MS Mincho" panose="02020609040205080304" pitchFamily="49" charset="-128"/>
                <a:cs typeface="Arial" panose="020B0604020202020204" pitchFamily="34" charset="0"/>
              </a:rPr>
              <a:t>Den teknologiske utviklingen tror vi fører til at folk vil vente at NAV tar i bruk nye former for kommunikasjon, der det digitale og analoge i økende grad vil smelte sammen. Selv om teknologier som utvidet/virtuell virkelighet (AR/VR) og «metavers» kan virke fremmed i dag, tror vi innbyggerne i økende grad vil forvente å kunne komme i kontakt med NAV gjennom nye kanaler dersom de blir allment tilgjengelig ellers i samfunnet. Hvordan slike kanaler kan se ut er uklart, men hensikten vil være at digitale møter skal minne mer om fysiske møter.</a:t>
            </a:r>
          </a:p>
          <a:p>
            <a:endParaRPr lang="nb-NO" sz="8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800">
                <a:effectLst/>
                <a:latin typeface="Arial" panose="020B0604020202020204" pitchFamily="34" charset="0"/>
                <a:ea typeface="MS Mincho" panose="02020609040205080304" pitchFamily="49" charset="-128"/>
                <a:cs typeface="Arial" panose="020B0604020202020204" pitchFamily="34" charset="0"/>
              </a:rPr>
              <a:t>Digitalt utenforskap påvirkes av mer enn mangel på digital kompetanse. Hindre for å ta i bruk digitale tjenester omfatter blant annet utfordringer knyttet til helse, tillit og manglende kjennskap til prosesser, språk og regelverk i offentlig sektor (byråkratisk kompetanse). Fram mot 2035 tror vi folk vil forvente at NAV utformer tjenester som inkluderer flere og tar hensyn til ulike hindre vi vet at folk kan oppleve. I tillegg vil innbyggerne forvente fullgode og tilgjengelige alternativer for de som likevel ønsker eller trenger personlig bistand. </a:t>
            </a:r>
          </a:p>
          <a:p>
            <a:endParaRPr lang="nb-NO" sz="8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800">
                <a:effectLst/>
                <a:latin typeface="Arial" panose="020B0604020202020204" pitchFamily="34" charset="0"/>
                <a:ea typeface="MS Mincho" panose="02020609040205080304" pitchFamily="49" charset="-128"/>
                <a:cs typeface="Arial" panose="020B0604020202020204" pitchFamily="34" charset="0"/>
              </a:rPr>
              <a:t>De kommende årene tror vi innbyggerne i økende grad vil forvente at offentlig sektor setter mennesket i sentrum i tjenesteutviklingen og jobber aktivt for mer sammenhengende tjenester bygget rundt livssituasjoner. Blant annet digitaliseringsstrategien for offentlig sektor og den pågående tillitsreformen gir grunnlag for disse forventningene, og vi tror forventningene også vil øke som følge av at folk opplever stadig bedre og mer tilgjengelige tjenester i privat sektor. Lanseringen av tjenesten </a:t>
            </a:r>
            <a:r>
              <a:rPr lang="nb-NO" sz="800" err="1">
                <a:effectLst/>
                <a:latin typeface="Arial" panose="020B0604020202020204" pitchFamily="34" charset="0"/>
                <a:ea typeface="MS Mincho" panose="02020609040205080304" pitchFamily="49" charset="-128"/>
                <a:cs typeface="Arial" panose="020B0604020202020204" pitchFamily="34" charset="0"/>
              </a:rPr>
              <a:t>ChatGPT</a:t>
            </a:r>
            <a:r>
              <a:rPr lang="nb-NO" sz="800">
                <a:effectLst/>
                <a:latin typeface="Arial" panose="020B0604020202020204" pitchFamily="34" charset="0"/>
                <a:ea typeface="MS Mincho" panose="02020609040205080304" pitchFamily="49" charset="-128"/>
                <a:cs typeface="Arial" panose="020B0604020202020204" pitchFamily="34" charset="0"/>
              </a:rPr>
              <a:t> mot slutten av 2022, kan for eksempel tenkes </a:t>
            </a:r>
            <a:r>
              <a:rPr lang="nb-NO" sz="800">
                <a:solidFill>
                  <a:srgbClr val="000000"/>
                </a:solidFill>
                <a:effectLst/>
                <a:latin typeface="Arial" panose="020B0604020202020204" pitchFamily="34" charset="0"/>
                <a:ea typeface="MS Mincho" panose="02020609040205080304" pitchFamily="49" charset="-128"/>
                <a:cs typeface="Arial" panose="020B0604020202020204" pitchFamily="34" charset="0"/>
              </a:rPr>
              <a:t>å endre </a:t>
            </a:r>
            <a:r>
              <a:rPr lang="nb-NO" sz="800">
                <a:effectLst/>
                <a:latin typeface="Arial" panose="020B0604020202020204" pitchFamily="34" charset="0"/>
                <a:ea typeface="MS Mincho" panose="02020609040205080304" pitchFamily="49" charset="-128"/>
                <a:cs typeface="Arial" panose="020B0604020202020204" pitchFamily="34" charset="0"/>
              </a:rPr>
              <a:t>våre forventninger til </a:t>
            </a:r>
            <a:r>
              <a:rPr lang="nb-NO" sz="800" err="1">
                <a:effectLst/>
                <a:latin typeface="Arial" panose="020B0604020202020204" pitchFamily="34" charset="0"/>
                <a:ea typeface="MS Mincho" panose="02020609040205080304" pitchFamily="49" charset="-128"/>
                <a:cs typeface="Arial" panose="020B0604020202020204" pitchFamily="34" charset="0"/>
              </a:rPr>
              <a:t>chatboter</a:t>
            </a:r>
            <a:r>
              <a:rPr lang="nb-NO" sz="800">
                <a:effectLst/>
                <a:latin typeface="Arial" panose="020B0604020202020204" pitchFamily="34" charset="0"/>
                <a:ea typeface="MS Mincho" panose="02020609040205080304" pitchFamily="49" charset="-128"/>
                <a:cs typeface="Arial" panose="020B0604020202020204" pitchFamily="34" charset="0"/>
              </a:rPr>
              <a:t> og lignende former for kommunikasjon.</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Selv om mye vil endre seg frem mot 2035, tror vi samtidig at innbyggernes og arbeidsgivernes forventninger til møter med det offentlige vil ligne mye på dagens situasjon. Det innebærer forventninger om å bli møtt med respekt av et tilgjengelig og kompetent NAV. Automatiseringen av enklere henvendelser innebærer større forventninger til </a:t>
            </a:r>
            <a:r>
              <a:rPr lang="nb-NO" sz="800" err="1">
                <a:effectLst/>
                <a:latin typeface="Arial" panose="020B0604020202020204" pitchFamily="34" charset="0"/>
                <a:ea typeface="MS Mincho" panose="02020609040205080304" pitchFamily="49" charset="-128"/>
                <a:cs typeface="Arial" panose="020B0604020202020204" pitchFamily="34" charset="0"/>
              </a:rPr>
              <a:t>NAVs</a:t>
            </a:r>
            <a:r>
              <a:rPr lang="nb-NO" sz="800">
                <a:effectLst/>
                <a:latin typeface="Arial" panose="020B0604020202020204" pitchFamily="34" charset="0"/>
                <a:ea typeface="MS Mincho" panose="02020609040205080304" pitchFamily="49" charset="-128"/>
                <a:cs typeface="Arial" panose="020B0604020202020204" pitchFamily="34" charset="0"/>
              </a:rPr>
              <a:t> fagkompetanse og </a:t>
            </a:r>
            <a:r>
              <a:rPr lang="nb-NO" sz="800" err="1">
                <a:effectLst/>
                <a:latin typeface="Arial" panose="020B0604020202020204" pitchFamily="34" charset="0"/>
                <a:ea typeface="MS Mincho" panose="02020609040205080304" pitchFamily="49" charset="-128"/>
                <a:cs typeface="Arial" panose="020B0604020202020204" pitchFamily="34" charset="0"/>
              </a:rPr>
              <a:t>relasjonskompetanse</a:t>
            </a:r>
            <a:r>
              <a:rPr lang="nb-NO" sz="800">
                <a:effectLst/>
                <a:latin typeface="Arial" panose="020B0604020202020204" pitchFamily="34" charset="0"/>
                <a:ea typeface="MS Mincho" panose="02020609040205080304" pitchFamily="49" charset="-128"/>
                <a:cs typeface="Arial" panose="020B0604020202020204" pitchFamily="34" charset="0"/>
              </a:rPr>
              <a:t> i møte med mennesker. I et arbeidsliv i omstilling tror vi både arbeidsgivere og innbyggere i større grad vil forvente at NAV gir råd om framtidas kompetansebehov.</a:t>
            </a:r>
          </a:p>
        </p:txBody>
      </p:sp>
      <p:sp>
        <p:nvSpPr>
          <p:cNvPr id="4" name="Plassholder for lysbildenummer 3"/>
          <p:cNvSpPr>
            <a:spLocks noGrp="1"/>
          </p:cNvSpPr>
          <p:nvPr>
            <p:ph type="sldNum" sz="quarter" idx="5"/>
          </p:nvPr>
        </p:nvSpPr>
        <p:spPr/>
        <p:txBody>
          <a:bodyPr/>
          <a:lstStyle/>
          <a:p>
            <a:fld id="{071B4BBF-70B9-8047-B02F-2484F1EA6A40}" type="slidenum">
              <a:rPr lang="nb-NO" smtClean="0"/>
              <a:t>29</a:t>
            </a:fld>
            <a:endParaRPr lang="nb-NO"/>
          </a:p>
        </p:txBody>
      </p:sp>
    </p:spTree>
    <p:extLst>
      <p:ext uri="{BB962C8B-B14F-4D97-AF65-F5344CB8AC3E}">
        <p14:creationId xmlns:p14="http://schemas.microsoft.com/office/powerpoint/2010/main" val="1293938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a:solidFill>
                  <a:schemeClr val="tx1"/>
                </a:solidFill>
                <a:effectLst/>
                <a:latin typeface="Arial" panose="020B0604020202020204" pitchFamily="34" charset="0"/>
                <a:ea typeface="+mn-ea"/>
                <a:cs typeface="Arial" panose="020B0604020202020204" pitchFamily="34" charset="0"/>
              </a:rPr>
              <a:t>NAVs omverdensanalyse tar for seg de viktigste samfunnstrendene som vil påvirke arbeids- og velferdsområdet til 2035, hvilke trender som er mest usikre og hvilke konsekvenser de kan få for NAV.</a:t>
            </a:r>
            <a:endParaRPr lang="nb-NO" sz="1200" kern="1200">
              <a:solidFill>
                <a:schemeClr val="tx1"/>
              </a:solidFill>
              <a:effectLst/>
              <a:latin typeface="Arial" panose="020B0604020202020204" pitchFamily="34" charset="0"/>
              <a:cs typeface="Arial" panose="020B0604020202020204" pitchFamily="34" charset="0"/>
            </a:endParaRP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3</a:t>
            </a:fld>
            <a:endParaRPr lang="nb-NO"/>
          </a:p>
        </p:txBody>
      </p:sp>
    </p:spTree>
    <p:extLst>
      <p:ext uri="{BB962C8B-B14F-4D97-AF65-F5344CB8AC3E}">
        <p14:creationId xmlns:p14="http://schemas.microsoft.com/office/powerpoint/2010/main" val="1670600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rPr>
              <a:t>De kommende årene tror vi innbyggerne i økende grad vil forvente at offentlig sektor setter mennesket i sentrum i tjenesteutviklingen og jobber aktivt for mer sammenhengende tjenester bygget rundt livssituasjoner. Blant annet digitaliseringsstrategien for offentlig sektor og den pågående tillitsreformen gir grunnlag for disse forventningene, og vi tror forventningene også vil øke som følge av at folk opplever stadig bedre og mer tilgjengelige tjenester i privat sektor. Lanseringen av tjenesten </a:t>
            </a:r>
            <a:r>
              <a:rPr lang="nb-NO" sz="900" err="1">
                <a:effectLst/>
                <a:latin typeface="Arial" panose="020B0604020202020204" pitchFamily="34" charset="0"/>
                <a:ea typeface="MS Mincho" panose="02020609040205080304" pitchFamily="49" charset="-128"/>
              </a:rPr>
              <a:t>ChatGPT</a:t>
            </a:r>
            <a:r>
              <a:rPr lang="nb-NO" sz="900">
                <a:effectLst/>
                <a:latin typeface="Arial" panose="020B0604020202020204" pitchFamily="34" charset="0"/>
                <a:ea typeface="MS Mincho" panose="02020609040205080304" pitchFamily="49" charset="-128"/>
              </a:rPr>
              <a:t> mot slutten av 2022, kan for eksempel tenkes </a:t>
            </a:r>
            <a:r>
              <a:rPr lang="nb-NO" sz="900">
                <a:solidFill>
                  <a:srgbClr val="000000"/>
                </a:solidFill>
                <a:effectLst/>
                <a:latin typeface="Arial" panose="020B0604020202020204" pitchFamily="34" charset="0"/>
                <a:ea typeface="MS Mincho" panose="02020609040205080304" pitchFamily="49" charset="-128"/>
              </a:rPr>
              <a:t>å endre </a:t>
            </a:r>
            <a:r>
              <a:rPr lang="nb-NO" sz="900">
                <a:effectLst/>
                <a:latin typeface="Arial" panose="020B0604020202020204" pitchFamily="34" charset="0"/>
                <a:ea typeface="MS Mincho" panose="02020609040205080304" pitchFamily="49" charset="-128"/>
              </a:rPr>
              <a:t>våre forventninger til </a:t>
            </a:r>
            <a:r>
              <a:rPr lang="nb-NO" sz="900" err="1">
                <a:effectLst/>
                <a:latin typeface="Arial" panose="020B0604020202020204" pitchFamily="34" charset="0"/>
                <a:ea typeface="MS Mincho" panose="02020609040205080304" pitchFamily="49" charset="-128"/>
              </a:rPr>
              <a:t>chatboter</a:t>
            </a:r>
            <a:r>
              <a:rPr lang="nb-NO" sz="900">
                <a:effectLst/>
                <a:latin typeface="Arial" panose="020B0604020202020204" pitchFamily="34" charset="0"/>
                <a:ea typeface="MS Mincho" panose="02020609040205080304" pitchFamily="49" charset="-128"/>
              </a:rPr>
              <a:t> og lignende former for kommunikasjon.</a:t>
            </a:r>
          </a:p>
          <a:p>
            <a:endParaRPr lang="nb-NO" sz="900">
              <a:effectLst/>
              <a:latin typeface="Arial" panose="020B0604020202020204" pitchFamily="34" charset="0"/>
              <a:ea typeface="MS Mincho" panose="02020609040205080304"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900">
                <a:effectLst/>
                <a:latin typeface="Arial" panose="020B0604020202020204" pitchFamily="34" charset="0"/>
                <a:ea typeface="MS Mincho" panose="02020609040205080304" pitchFamily="49" charset="-128"/>
              </a:rPr>
              <a:t>Den teknologiske utviklingen tror vi fører til at folk vil vente at NAV tar i bruk nye former for kommunikasjon, der det digitale og analoge i økende grad vil smelte sammen. Selv om teknologier som utvidet/virtuell virkelighet (AR/VR) og «metavers» kan virke fremmed i dag, tror vi innbyggerne i økende grad vil forvente å kunne komme i kontakt med NAV gjennom nye kanaler dersom de blir allment tilgjengelig ellers i samfunnet. Hvordan slike kanaler kan se ut er uklart, men hensikten vil være at digitale møter skal minne mer på fysiske møter.</a:t>
            </a:r>
            <a:endParaRPr lang="nb-NO" sz="900">
              <a:effectLst/>
              <a:latin typeface="Times New Roman" panose="02020603050405020304" pitchFamily="18" charset="0"/>
              <a:ea typeface="MS Mincho" panose="02020609040205080304" pitchFamily="49" charset="-128"/>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46800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effectLst/>
                <a:latin typeface="Arial" panose="020B0604020202020204" pitchFamily="34" charset="0"/>
                <a:ea typeface="MS Mincho" panose="02020609040205080304" pitchFamily="49" charset="-128"/>
              </a:rPr>
              <a:t>Digitalt utenforskap påvirkes av mer enn mangel på digital kompetanse. Hindre for å ta i bruk digitale tjenester omfatter blant annet utfordringer knyttet til helse, tillit og manglende kjennskap til prosesser, språk og regelverk i offentlig sektor (byråkratisk kompetanse). Fram mot 2035 tror vi folk vil forvente at NAV utformer tjenester som inkluderer flere og tar hensyn til ulike hindre vi vet at folk kan oppleve. I tillegg vil innbyggerne forvente fullgode og tilgjengelige alternativer for de som likevel ønsker eller trenger personlig bistand. </a:t>
            </a:r>
            <a:endParaRPr lang="nb-NO" sz="900">
              <a:effectLst/>
              <a:latin typeface="Times New Roman" panose="02020603050405020304" pitchFamily="18" charset="0"/>
              <a:ea typeface="MS Mincho" panose="02020609040205080304" pitchFamily="49" charset="-128"/>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3935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rPr>
              <a:t>Selv om mye vil endre seg frem mot 2035, tror vi samtidig at innbyggernes og arbeidsgivernes forventninger til møter med det offentlige vil ligne mye på dagens situasjon. Det innebærer forventninger om å bli møtt med respekt av et tilgjengelig og kompetent NAV. Automatiseringen av enklere henvendelser innebærer større forventninger til </a:t>
            </a:r>
            <a:r>
              <a:rPr lang="nb-NO" sz="900" err="1">
                <a:effectLst/>
                <a:latin typeface="Arial" panose="020B0604020202020204" pitchFamily="34" charset="0"/>
                <a:ea typeface="MS Mincho" panose="02020609040205080304" pitchFamily="49" charset="-128"/>
              </a:rPr>
              <a:t>NAVs</a:t>
            </a:r>
            <a:r>
              <a:rPr lang="nb-NO" sz="900">
                <a:effectLst/>
                <a:latin typeface="Arial" panose="020B0604020202020204" pitchFamily="34" charset="0"/>
                <a:ea typeface="MS Mincho" panose="02020609040205080304" pitchFamily="49" charset="-128"/>
              </a:rPr>
              <a:t> fagkompetanse og </a:t>
            </a:r>
            <a:r>
              <a:rPr lang="nb-NO" sz="900" err="1">
                <a:effectLst/>
                <a:latin typeface="Arial" panose="020B0604020202020204" pitchFamily="34" charset="0"/>
                <a:ea typeface="MS Mincho" panose="02020609040205080304" pitchFamily="49" charset="-128"/>
              </a:rPr>
              <a:t>relasjonskompetanse</a:t>
            </a:r>
            <a:r>
              <a:rPr lang="nb-NO" sz="900">
                <a:effectLst/>
                <a:latin typeface="Arial" panose="020B0604020202020204" pitchFamily="34" charset="0"/>
                <a:ea typeface="MS Mincho" panose="02020609040205080304" pitchFamily="49" charset="-128"/>
              </a:rPr>
              <a:t> i møte med mennesker. I et arbeidsliv i omstilling tror vi både arbeidsgivere og innbyggere i større grad vil forvente at NAV gir råd om framtidas kompetansebehov.</a:t>
            </a:r>
            <a:endParaRPr lang="nb-NO" sz="900">
              <a:effectLst/>
              <a:latin typeface="Times New Roman" panose="02020603050405020304" pitchFamily="18" charset="0"/>
              <a:ea typeface="MS Mincho" panose="02020609040205080304" pitchFamily="49" charset="-128"/>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25901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rPr>
              <a:t>Arbeidsgivere er også innbyggere og vil i stor grad ha de samme forventningene som personbrukere. </a:t>
            </a:r>
            <a:r>
              <a:rPr lang="nb-NO" sz="900" u="none">
                <a:solidFill>
                  <a:srgbClr val="000000"/>
                </a:solidFill>
                <a:effectLst/>
                <a:latin typeface="Arial" panose="020B0604020202020204" pitchFamily="34" charset="0"/>
                <a:ea typeface="MS Mincho" panose="02020609040205080304" pitchFamily="49" charset="-128"/>
                <a:cs typeface="Arial" panose="020B0604020202020204" pitchFamily="34" charset="0"/>
              </a:rPr>
              <a:t>Samtidig er det slik at tjenestene arbeidsgivere benytter seg av skiller seg fra de tjenestene personbrukerne bruker. Dette har konsekvenser for arbeidsgivernes forventninger til NAV.</a:t>
            </a:r>
          </a:p>
          <a:p>
            <a:r>
              <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900" err="1">
                <a:solidFill>
                  <a:srgbClr val="000000"/>
                </a:solidFill>
                <a:effectLst/>
                <a:latin typeface="Arial" panose="020B0604020202020204" pitchFamily="34" charset="0"/>
                <a:ea typeface="MS Mincho" panose="02020609040205080304" pitchFamily="49" charset="-128"/>
                <a:cs typeface="Arial" panose="020B0604020202020204" pitchFamily="34" charset="0"/>
              </a:rPr>
              <a:t>NAVs</a:t>
            </a:r>
            <a:r>
              <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rPr>
              <a:t> arbeidsgiverundersøkelse viser at et viktig aspekt for arbeidsgiveres tilfredshet med NAV er om NAV har forståelse for deres behov. Det kan tolkes som at også arbeidsgiverne forventer tjenester som er skreddersydd til deres situasjon og at NAV-ansatte forventes å sette seg godt inn i bedriftens virke. God kjennskap til bedriften er trolig essensielt ved rekruttering, tiltak og omstilling. Det tror vi vil være viktig også framover. </a:t>
            </a:r>
          </a:p>
          <a:p>
            <a:r>
              <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rPr>
              <a:t>For noen tjenester, for eksempel innen rekruttering eller forebygging av sykefravær, vil arbeidsgivere kunne velge andre tjenestetilbydere enn NAV. Det kan bety at virksomhetene stiller samme forventninger til tjenester enten tilbyderen er offentlig eller privat. Gode tjenester som dekker arbeidsgivernes behov vil trolig bli viktig for at NAV skal være en foretrukken samarbeidspartner for arbeidsgivere i årene fremover.</a:t>
            </a:r>
          </a:p>
          <a:p>
            <a:endPar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p>
            <a:r>
              <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rPr>
              <a:t>I et arbeidsliv i omstilling tror vi også arbeidsgiverne i større grad vil forvente at NAV er en rådgiver om framtidige kompetansebehov, </a:t>
            </a:r>
            <a:r>
              <a:rPr lang="nb-NO" sz="900">
                <a:effectLst/>
                <a:latin typeface="Arial" panose="020B0604020202020204" pitchFamily="34" charset="0"/>
                <a:ea typeface="MS Mincho" panose="02020609040205080304" pitchFamily="49" charset="-128"/>
                <a:cs typeface="Arial" panose="020B0604020202020204" pitchFamily="34" charset="0"/>
              </a:rPr>
              <a:t>slik vi også bør være det overfor innbyggerne.</a:t>
            </a:r>
            <a:endParaRPr lang="nb-NO" sz="90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2406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34</a:t>
            </a:fld>
            <a:endParaRPr lang="nb-NO"/>
          </a:p>
        </p:txBody>
      </p:sp>
    </p:spTree>
    <p:extLst>
      <p:ext uri="{BB962C8B-B14F-4D97-AF65-F5344CB8AC3E}">
        <p14:creationId xmlns:p14="http://schemas.microsoft.com/office/powerpoint/2010/main" val="34364414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800" b="1">
                <a:effectLst/>
                <a:latin typeface="Arial" panose="020B0604020202020204" pitchFamily="34" charset="0"/>
                <a:ea typeface="MS Mincho" panose="02020609040205080304" pitchFamily="49" charset="-128"/>
                <a:cs typeface="Arial" panose="020B0604020202020204" pitchFamily="34" charset="0"/>
              </a:rPr>
              <a:t>Digitalisering og kunstig intelligens gir store muligheter</a:t>
            </a:r>
          </a:p>
          <a:p>
            <a:r>
              <a:rPr lang="nb-NO" sz="800">
                <a:effectLst/>
                <a:latin typeface="Arial" panose="020B0604020202020204" pitchFamily="34" charset="0"/>
                <a:ea typeface="MS Mincho" panose="02020609040205080304" pitchFamily="49" charset="-128"/>
                <a:cs typeface="Arial" panose="020B0604020202020204" pitchFamily="34" charset="0"/>
              </a:rPr>
              <a:t>Samfunnet blir mer preget av hvordan data produseres, samles inn, analyseres og omsettes i tjenester og produksjon. Utviklingen drives av billigere og mer fleksibel datakraft, større og lettere tilgang til data og rask utvikling i tjenester som bygger på avanserte algoritmer og kunstig intelligens.</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Vi står foran et girskifte innen kunstig intelligens, med modeller som er bredt anvendelige og som med mindre justeringer og tilpassinger kan anvendes på en rekke ulike områder. Det forventes også at fysiske og digitale møter smelter sammen med hjelp av teknologier som virtuell/utvidet virkelighet (VR/AR) og metaverset.</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Teknologiutviklingen gir NAV store muligheter til å forbedre og effektivisere dagens prosesser, og til å skape nye forretningsmodeller. For å kunne utnytte mulighetene må NAV utvikle hele bredden av virksomheten: Tjenestetilbud, brukermøter, regelverk, organisering, samhandling med andre, arbeidsprosesser, kultur og kompetanse. De viktigste mulighetene er knyttet til:</a:t>
            </a:r>
          </a:p>
          <a:p>
            <a:pPr marL="342900" lvl="0" indent="-342900">
              <a:lnSpc>
                <a:spcPct val="115000"/>
              </a:lnSpc>
              <a:buFont typeface="Symbol" panose="05050102010706020507" pitchFamily="18" charset="2"/>
              <a:buChar char=""/>
            </a:pPr>
            <a:r>
              <a:rPr lang="nb-NO" sz="800">
                <a:effectLst/>
                <a:latin typeface="Arial" panose="020B0604020202020204" pitchFamily="34" charset="0"/>
                <a:ea typeface="Calibri" panose="020F0502020204030204" pitchFamily="34" charset="0"/>
                <a:cs typeface="Arial" panose="020B0604020202020204" pitchFamily="34" charset="0"/>
              </a:rPr>
              <a:t>Digitalisering av brukerkontakt: NAV har stort potensial for å digitalisere mer av brukerkontakten og oppfølging av brukere. At skillet mellom det fysiske og digitale viskes ut, kan gi større innslag av hybride løsninger, det vil si kombinasjoner av automatiserte tjenester og personlig kontakt gjennom sammensmeltingen av digitale og fysiske brukermøter.</a:t>
            </a:r>
          </a:p>
          <a:p>
            <a:pPr marL="342900" lvl="0" indent="-342900">
              <a:lnSpc>
                <a:spcPct val="115000"/>
              </a:lnSpc>
              <a:buFont typeface="Symbol" panose="05050102010706020507" pitchFamily="18" charset="2"/>
              <a:buChar char=""/>
            </a:pPr>
            <a:r>
              <a:rPr lang="nb-NO" sz="800">
                <a:effectLst/>
                <a:latin typeface="Arial" panose="020B0604020202020204" pitchFamily="34" charset="0"/>
                <a:ea typeface="Calibri" panose="020F0502020204030204" pitchFamily="34" charset="0"/>
                <a:cs typeface="Arial" panose="020B0604020202020204" pitchFamily="34" charset="0"/>
              </a:rPr>
              <a:t>Digitalisering av forvaltningen: I tillegg til potensialet for økt selvbetjening og automatisering av ytelsesforvaltningen og manuelle arbeidsprosesser, har NAV muligheten til å utvikle mer proaktive tjenester der innbyggere med rett til ytelser fra NAV får ytelsen automatisk, eller får et forslag om å søke.</a:t>
            </a:r>
          </a:p>
          <a:p>
            <a:pPr marL="342900" lvl="0" indent="-342900">
              <a:lnSpc>
                <a:spcPct val="115000"/>
              </a:lnSpc>
              <a:buFont typeface="Symbol" panose="05050102010706020507" pitchFamily="18" charset="2"/>
              <a:buChar char=""/>
            </a:pPr>
            <a:r>
              <a:rPr lang="nb-NO" sz="800">
                <a:effectLst/>
                <a:latin typeface="Arial" panose="020B0604020202020204" pitchFamily="34" charset="0"/>
                <a:ea typeface="Calibri" panose="020F0502020204030204" pitchFamily="34" charset="0"/>
                <a:cs typeface="Arial" panose="020B0604020202020204" pitchFamily="34" charset="0"/>
              </a:rPr>
              <a:t>Sammenhengende og tilpassede tjenester: Større bruk og deling av data kan møte brukernes forventninger om mer sammenhengende tjenester og tjenester tilpasset den enkeltes behov.</a:t>
            </a:r>
          </a:p>
          <a:p>
            <a:pPr marL="342900" lvl="0" indent="-342900">
              <a:lnSpc>
                <a:spcPct val="115000"/>
              </a:lnSpc>
              <a:buFont typeface="Symbol" panose="05050102010706020507" pitchFamily="18" charset="2"/>
              <a:buChar char=""/>
            </a:pPr>
            <a:r>
              <a:rPr lang="nb-NO" sz="800">
                <a:effectLst/>
                <a:latin typeface="Arial" panose="020B0604020202020204" pitchFamily="34" charset="0"/>
                <a:ea typeface="Calibri" panose="020F0502020204030204" pitchFamily="34" charset="0"/>
                <a:cs typeface="Arial" panose="020B0604020202020204" pitchFamily="34" charset="0"/>
              </a:rPr>
              <a:t>Kunstig intelligens som beslutningsstøtte: De nye mulighetene innen kunstig intelligens vil kunne gi råd og støtte både for </a:t>
            </a:r>
            <a:r>
              <a:rPr lang="nb-NO" sz="800" err="1">
                <a:effectLst/>
                <a:latin typeface="Arial" panose="020B0604020202020204" pitchFamily="34" charset="0"/>
                <a:ea typeface="Calibri" panose="020F0502020204030204" pitchFamily="34" charset="0"/>
                <a:cs typeface="Arial" panose="020B0604020202020204" pitchFamily="34" charset="0"/>
              </a:rPr>
              <a:t>NAVs</a:t>
            </a:r>
            <a:r>
              <a:rPr lang="nb-NO" sz="800">
                <a:effectLst/>
                <a:latin typeface="Arial" panose="020B0604020202020204" pitchFamily="34" charset="0"/>
                <a:ea typeface="Calibri" panose="020F0502020204030204" pitchFamily="34" charset="0"/>
                <a:cs typeface="Arial" panose="020B0604020202020204" pitchFamily="34" charset="0"/>
              </a:rPr>
              <a:t> brukere og for veiledere og sakshandlere. Eksempelvis kan veiledere få anbefaling om hvilke brukere som bør prioriteres først for oppfølging (såkalt profilering), eller arbeidsledige kan få anbefaling om hvilke kompetansetiltak som mest sannsynlig vil øke deres muligheter på arbeidsmarkedet.</a:t>
            </a:r>
          </a:p>
          <a:p>
            <a:pPr marL="342900" lvl="0" indent="-342900">
              <a:lnSpc>
                <a:spcPct val="115000"/>
              </a:lnSpc>
              <a:spcAft>
                <a:spcPts val="1000"/>
              </a:spcAft>
              <a:buFont typeface="Symbol" panose="05050102010706020507" pitchFamily="18" charset="2"/>
              <a:buChar char=""/>
            </a:pPr>
            <a:r>
              <a:rPr lang="nb-NO" sz="800">
                <a:effectLst/>
                <a:latin typeface="Arial" panose="020B0604020202020204" pitchFamily="34" charset="0"/>
                <a:ea typeface="Calibri" panose="020F0502020204030204" pitchFamily="34" charset="0"/>
                <a:cs typeface="Arial" panose="020B0604020202020204" pitchFamily="34" charset="0"/>
              </a:rPr>
              <a:t>Plattformaktør: NAV vil kunne tilby plattformer som åpner for at også andre aktører kan utvikle og tilby tjenester til ulike brukergrupper. Jo flere som deltar, desto større vil nettverkseffektene av slike plattformer kunne bli.</a:t>
            </a:r>
          </a:p>
          <a:p>
            <a:r>
              <a:rPr lang="nb-NO" sz="800">
                <a:effectLst/>
                <a:latin typeface="Arial" panose="020B0604020202020204" pitchFamily="34" charset="0"/>
                <a:ea typeface="MS Mincho" panose="02020609040205080304" pitchFamily="49" charset="-128"/>
                <a:cs typeface="Arial" panose="020B0604020202020204" pitchFamily="34" charset="0"/>
              </a:rPr>
              <a:t>Hvilke muligheter NAV kan og bør bruke må avstemmes med personvernregler, lovverk, etikk og sosial aksept. Oppmerksomheten om disse spørsmålene vil være økende, og EUs politikk (og dermed Norges politikk) på felt som kunstig intelligens og datadeling er en mer restriktiv og ansvarlig linje enn den vi ser blant annet i USA og Kina. Som en sentral aktør på velferdsområdet, vil det for NAV være særlig viktig med en etisk og ansvarlig tilnærming til bruk av datadrevne tjenester med bred aksept i befolkningen.</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Det vil også være andre utfordringer som kan hindre eller forsinke digitaliseringen. Kompetansebehovet innen IKT og regelverksutvikling er stort og kan bli vanskelig å fylle.  Det er heller ikke sikkert at de teknologiske gjennombruddene kommer så raskt som ventet, eller på de områdene som spås. Ny teknologi kan medføre utilsiktede virkninger, og gir nye sårbarheter og sikkerhetsutfordringer som vil utgjøre en økende trussel for NAV.</a:t>
            </a:r>
          </a:p>
        </p:txBody>
      </p:sp>
      <p:sp>
        <p:nvSpPr>
          <p:cNvPr id="4" name="Plassholder for lysbildenummer 3"/>
          <p:cNvSpPr>
            <a:spLocks noGrp="1"/>
          </p:cNvSpPr>
          <p:nvPr>
            <p:ph type="sldNum" sz="quarter" idx="10"/>
          </p:nvPr>
        </p:nvSpPr>
        <p:spPr/>
        <p:txBody>
          <a:bodyPr/>
          <a:lstStyle/>
          <a:p>
            <a:fld id="{CC095B44-202A-4978-9C5A-42D88216F05F}" type="slidenum">
              <a:rPr lang="nb-NO" smtClean="0"/>
              <a:t>35</a:t>
            </a:fld>
            <a:endParaRPr lang="nb-NO"/>
          </a:p>
        </p:txBody>
      </p:sp>
    </p:spTree>
    <p:extLst>
      <p:ext uri="{BB962C8B-B14F-4D97-AF65-F5344CB8AC3E}">
        <p14:creationId xmlns:p14="http://schemas.microsoft.com/office/powerpoint/2010/main" val="41807378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cs typeface="Arial" panose="020B0604020202020204" pitchFamily="34" charset="0"/>
              </a:rPr>
              <a:t>En gjennomgripende trend er at verden blir mer preget av hvordan data produseres, samles inn, analyseres og omsettes i tjenester og produksjon. Utviklingen ventes å fortsette i minst samme takt som følge av billigere og mer fleksibel datakraft, større og lettere tilgang til data og rask utvikling i tjenester bygger på avanserte algoritmer og kunstig intellige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900" kern="1200" noProof="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900" kern="1200" noProof="0">
                <a:solidFill>
                  <a:schemeClr val="tx1"/>
                </a:solidFill>
                <a:effectLst/>
                <a:latin typeface="Arial" panose="020B0604020202020204" pitchFamily="34" charset="0"/>
                <a:ea typeface="+mn-ea"/>
                <a:cs typeface="Arial" panose="020B0604020202020204" pitchFamily="34" charset="0"/>
              </a:rPr>
              <a:t>Minste tre sammenfallende faktorer som forsterker hverandre forventes å gi utviklingen tiltagende tyngde og kraft i </a:t>
            </a:r>
            <a:r>
              <a:rPr lang="nb-NO" sz="900" kern="1200" noProof="0" err="1">
                <a:solidFill>
                  <a:schemeClr val="tx1"/>
                </a:solidFill>
                <a:effectLst/>
                <a:latin typeface="Arial" panose="020B0604020202020204" pitchFamily="34" charset="0"/>
                <a:ea typeface="+mn-ea"/>
                <a:cs typeface="Arial" panose="020B0604020202020204" pitchFamily="34" charset="0"/>
              </a:rPr>
              <a:t>årene</a:t>
            </a:r>
            <a:r>
              <a:rPr lang="nb-NO" sz="900" kern="1200" noProof="0">
                <a:solidFill>
                  <a:schemeClr val="tx1"/>
                </a:solidFill>
                <a:effectLst/>
                <a:latin typeface="Arial" panose="020B0604020202020204" pitchFamily="34" charset="0"/>
                <a:ea typeface="+mn-ea"/>
                <a:cs typeface="Arial" panose="020B0604020202020204" pitchFamily="34" charset="0"/>
              </a:rPr>
              <a:t> som kom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kern="1200" noProof="0">
                <a:solidFill>
                  <a:schemeClr val="tx1"/>
                </a:solidFill>
                <a:effectLst/>
                <a:latin typeface="Arial" panose="020B0604020202020204" pitchFamily="34" charset="0"/>
                <a:ea typeface="+mn-ea"/>
                <a:cs typeface="Arial" panose="020B0604020202020204" pitchFamily="34" charset="0"/>
              </a:rPr>
              <a:t>Billigere og mer fleksibel datakraft: Skytjenester gjør det allerede mulig for små </a:t>
            </a:r>
            <a:r>
              <a:rPr lang="nb-NO" sz="900" kern="1200" noProof="0" err="1">
                <a:solidFill>
                  <a:schemeClr val="tx1"/>
                </a:solidFill>
                <a:effectLst/>
                <a:latin typeface="Arial" panose="020B0604020202020204" pitchFamily="34" charset="0"/>
                <a:ea typeface="+mn-ea"/>
                <a:cs typeface="Arial" panose="020B0604020202020204" pitchFamily="34" charset="0"/>
              </a:rPr>
              <a:t>startups</a:t>
            </a:r>
            <a:r>
              <a:rPr lang="nb-NO" sz="900" kern="1200" noProof="0">
                <a:solidFill>
                  <a:schemeClr val="tx1"/>
                </a:solidFill>
                <a:effectLst/>
                <a:latin typeface="Arial" panose="020B0604020202020204" pitchFamily="34" charset="0"/>
                <a:ea typeface="+mn-ea"/>
                <a:cs typeface="Arial" panose="020B0604020202020204" pitchFamily="34" charset="0"/>
              </a:rPr>
              <a:t> å få tilgang til samme datakraft som store selskaper. Og nå tar også NAV og flere andre offentlige aktører sine første steg ut i skyen. Og selv om det foreløpig kanskje er en kuriositet, kan du nå kjøpe datakraft fra kvantedatamaskiner hos de store skyleverandørene. Når denne teknologien modnes, spås en helt annen ytelse og kra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kern="1200" noProof="0">
                <a:solidFill>
                  <a:schemeClr val="tx1"/>
                </a:solidFill>
                <a:effectLst/>
                <a:latin typeface="Arial" panose="020B0604020202020204" pitchFamily="34" charset="0"/>
                <a:ea typeface="+mn-ea"/>
                <a:cs typeface="Arial" panose="020B0604020202020204" pitchFamily="34" charset="0"/>
              </a:rPr>
              <a:t>Bredere og lettere tilgang til data: vi bruker teknologi mer enn noensinne, og produserer mer data enn noen gang. Ingen grunn til å tro at det vil avta: nå har vi rullet vi ut 5G og senere vil 6G komme – og åpner ikke minst for at nye gjenstander kan komme på nett – sensorer fra biler, sykler, til kraftanlegg og varetraller – alt er på nett og produserer data som kan brukes til å utvikle nye varer og tjenes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kern="1200" noProof="0">
                <a:solidFill>
                  <a:schemeClr val="tx1"/>
                </a:solidFill>
                <a:effectLst/>
                <a:latin typeface="Arial" panose="020B0604020202020204" pitchFamily="34" charset="0"/>
                <a:ea typeface="+mn-ea"/>
                <a:cs typeface="Arial" panose="020B0604020202020204" pitchFamily="34" charset="0"/>
              </a:rPr>
              <a:t>Og mens alt får en digital dataskygge, ser vi at stadig nye verktøy/teknikker for å nyttiggjøre seg av slike data brer om seg eller anvendes på nye områder  - kanskje kan vi lage  en digital tvilling av bilen som kan brukes til testing og utvikling? Kanskje kan kunstig intelligens i sin bredeste forstand brukes til å lage persontilpassede råd og anbefalinger eller til og med kjøre deg hjem en sen kveld. (Glemt nøkkelen, fortvil ikke – døra åpnes ved bildegjenkjenning.)</a:t>
            </a:r>
          </a:p>
        </p:txBody>
      </p:sp>
      <p:sp>
        <p:nvSpPr>
          <p:cNvPr id="4" name="Slide Number Placeholder 3"/>
          <p:cNvSpPr>
            <a:spLocks noGrp="1"/>
          </p:cNvSpPr>
          <p:nvPr>
            <p:ph type="sldNum" sz="quarter" idx="5"/>
          </p:nvPr>
        </p:nvSpPr>
        <p:spPr/>
        <p:txBody>
          <a:bodyPr/>
          <a:lstStyle/>
          <a:p>
            <a:fld id="{071B4BBF-70B9-8047-B02F-2484F1EA6A40}" type="slidenum">
              <a:rPr lang="nb-NO" smtClean="0"/>
              <a:t>36</a:t>
            </a:fld>
            <a:endParaRPr lang="nb-NO"/>
          </a:p>
        </p:txBody>
      </p:sp>
    </p:spTree>
    <p:extLst>
      <p:ext uri="{BB962C8B-B14F-4D97-AF65-F5344CB8AC3E}">
        <p14:creationId xmlns:p14="http://schemas.microsoft.com/office/powerpoint/2010/main" val="37065238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0" kern="1200" noProof="0">
                <a:solidFill>
                  <a:schemeClr val="tx1"/>
                </a:solidFill>
                <a:effectLst/>
                <a:latin typeface="+mn-lt"/>
                <a:ea typeface="+mn-ea"/>
                <a:cs typeface="+mn-cs"/>
              </a:rPr>
              <a:t>Noen nye utviklingstrekk de siste få årene.</a:t>
            </a:r>
          </a:p>
          <a:p>
            <a:pPr marL="171450" indent="-171450">
              <a:buFont typeface="Arial" panose="020B0604020202020204" pitchFamily="34" charset="0"/>
              <a:buChar char="•"/>
            </a:pPr>
            <a:r>
              <a:rPr lang="nb-NO" sz="1200" b="0" kern="1200" noProof="0">
                <a:solidFill>
                  <a:schemeClr val="tx1"/>
                </a:solidFill>
                <a:effectLst/>
                <a:latin typeface="+mn-lt"/>
                <a:ea typeface="+mn-ea"/>
                <a:cs typeface="+mn-cs"/>
              </a:rPr>
              <a:t>Det fysiske og digitale veves tettere sammen. Her illustrert med VR-briller. Det er kanskje ikke akkurat det vi tror blir førende for NAV, men vi tror at det kan bli flere hybride løsninger, med blanding av digitale løsninger og fysisk kontakt. Hensikten er at digitale løsninger skal oppleves mer likt som løsninger med personlig kontakt.</a:t>
            </a:r>
          </a:p>
          <a:p>
            <a:pPr marL="171450" indent="-171450">
              <a:buFont typeface="Arial" panose="020B0604020202020204" pitchFamily="34" charset="0"/>
              <a:buChar char="•"/>
            </a:pPr>
            <a:r>
              <a:rPr lang="nb-NO" sz="1200" b="0" kern="1200" noProof="0">
                <a:solidFill>
                  <a:schemeClr val="tx1"/>
                </a:solidFill>
                <a:effectLst/>
                <a:latin typeface="+mn-lt"/>
                <a:ea typeface="+mn-ea"/>
                <a:cs typeface="+mn-cs"/>
              </a:rPr>
              <a:t>I tillegg mener vi at kunstig intelligens har blitt en mer moden teknologi. Det er her sagt “blir som forbrenningsmotoren”, vi mener egentlig bare at den blir mer anvendelig og lettere å ta i bruk på nye områder uten store tilpasninger. Et eksempel er </a:t>
            </a:r>
            <a:r>
              <a:rPr lang="nb-NO" sz="1200" b="0" kern="1200" noProof="0" err="1">
                <a:solidFill>
                  <a:schemeClr val="tx1"/>
                </a:solidFill>
                <a:effectLst/>
                <a:latin typeface="+mn-lt"/>
                <a:ea typeface="+mn-ea"/>
                <a:cs typeface="+mn-cs"/>
              </a:rPr>
              <a:t>ChatGpt</a:t>
            </a:r>
            <a:r>
              <a:rPr lang="nb-NO" sz="1200" b="0" kern="1200" noProof="0">
                <a:solidFill>
                  <a:schemeClr val="tx1"/>
                </a:solidFill>
                <a:effectLst/>
                <a:latin typeface="+mn-lt"/>
                <a:ea typeface="+mn-ea"/>
                <a:cs typeface="+mn-cs"/>
              </a:rPr>
              <a:t>. At anvendeligheten har økt tror vi gjør at slike løsninger i større grad vil bli tatt i bruk også i NAV.</a:t>
            </a:r>
          </a:p>
          <a:p>
            <a:pPr marL="171450" indent="-171450">
              <a:buFont typeface="Arial" panose="020B0604020202020204" pitchFamily="34" charset="0"/>
              <a:buChar char="•"/>
            </a:pPr>
            <a:r>
              <a:rPr lang="nb-NO" b="0" noProof="0"/>
              <a:t>Videre ser vi at EU ser til å bli førende når det gjelder reguleringen av kunstig intelligens, datadrevne tjenester også videre. Eksempler er for eksempel forordningen om digitale tjenester (Digital Services </a:t>
            </a:r>
            <a:r>
              <a:rPr lang="nb-NO" b="0" noProof="0" err="1"/>
              <a:t>Act</a:t>
            </a:r>
            <a:r>
              <a:rPr lang="nb-NO" b="0" noProof="0"/>
              <a:t>), dataforordningen (Data </a:t>
            </a:r>
            <a:r>
              <a:rPr lang="nb-NO" b="0" noProof="0" err="1"/>
              <a:t>Act</a:t>
            </a:r>
            <a:r>
              <a:rPr lang="nb-NO" b="0" noProof="0"/>
              <a:t>) og forordningen om kunstig intelligens (AI </a:t>
            </a:r>
            <a:r>
              <a:rPr lang="nb-NO" b="0" noProof="0" err="1"/>
              <a:t>act</a:t>
            </a:r>
            <a:r>
              <a:rPr lang="nb-NO" b="0" noProof="0"/>
              <a:t>), som skal sørge for at disse nye teknologiene kan bli tatt i bruk på en etisk og forsvarlig måte. Det er jo bra, fordi det for NAV som er så avhengige av tillit er særlig viktig med en etisk og ansvarlig tilnærming til bruk av data, men samtidig gir dette en rekke krav og føringer som også vil gi noen utfordringer.</a:t>
            </a:r>
          </a:p>
        </p:txBody>
      </p:sp>
      <p:sp>
        <p:nvSpPr>
          <p:cNvPr id="4" name="Plassholder for lysbildenummer 3"/>
          <p:cNvSpPr>
            <a:spLocks noGrp="1"/>
          </p:cNvSpPr>
          <p:nvPr>
            <p:ph type="sldNum" sz="quarter" idx="5"/>
          </p:nvPr>
        </p:nvSpPr>
        <p:spPr/>
        <p:txBody>
          <a:bodyPr/>
          <a:lstStyle/>
          <a:p>
            <a:fld id="{071B4BBF-70B9-8047-B02F-2484F1EA6A40}" type="slidenum">
              <a:rPr lang="nb-NO" smtClean="0"/>
              <a:t>37</a:t>
            </a:fld>
            <a:endParaRPr lang="nb-NO"/>
          </a:p>
        </p:txBody>
      </p:sp>
    </p:spTree>
    <p:extLst>
      <p:ext uri="{BB962C8B-B14F-4D97-AF65-F5344CB8AC3E}">
        <p14:creationId xmlns:p14="http://schemas.microsoft.com/office/powerpoint/2010/main" val="38515293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800">
                <a:latin typeface="Arial" panose="020B0604020202020204" pitchFamily="34" charset="0"/>
                <a:cs typeface="Arial" panose="020B0604020202020204" pitchFamily="34" charset="0"/>
              </a:rPr>
              <a:t>Mer konkret for NAV betyr dette at vi vil se en tiltakende digitalisering av både brukerkontakt og forvaltning. For brukerkontakten tror vi det kan bli flere hybride løsninger. Det betyr ikke nødvendigvis VR-briller som vist her, men en blanding av fysiske og digitale løsninger. Hvordan dette vil si ut, er noe uklart. I sin enkleste form er det en blanding av automatiserte løsninger og kontakt med en veileder. Men det kan også være digitale løsninger, nye former for videomøter, som minner mer om fysiske møter.</a:t>
            </a:r>
          </a:p>
          <a:p>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I forvaltningen vil vi se løsninger som innfrir brukerforventningene om sammenhengende tjenester tilpasset hver enkelt. Det vil kreve </a:t>
            </a:r>
            <a:r>
              <a:rPr lang="nb-NO" sz="800">
                <a:effectLst/>
                <a:latin typeface="Arial" panose="020B0604020202020204" pitchFamily="34" charset="0"/>
                <a:ea typeface="Calibri" panose="020F0502020204030204" pitchFamily="34" charset="0"/>
                <a:cs typeface="Arial" panose="020B0604020202020204" pitchFamily="34" charset="0"/>
              </a:rPr>
              <a:t>deling av data på tvers av offentlig sektor, og ved at vi bruker data for å tilpasse tjenestene til hver enkelt. I tillegg tror vi beslutningsstøtte vil bli stadig mer viktig – det vil si at tjenestene gir råd både til brukerne våre og til de ansatte, f.eks. om hvem vi bør prioritere i oppfølgingsarbeidet, hvilke tiltak som er best for å øke jobbmulighetene osv.</a:t>
            </a:r>
            <a:endParaRPr lang="en-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Kunstig intelligens vil neppe ta viktige beslutninger selv, men fungere som en slags personlig assistent både for brukere og ansatte. Det kan skje gjennom løsninger for beslutningsstøtte.</a:t>
            </a:r>
          </a:p>
          <a:p>
            <a:endParaRPr lang="nb-NO" sz="8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800">
                <a:effectLst/>
                <a:latin typeface="Arial" panose="020B0604020202020204" pitchFamily="34" charset="0"/>
                <a:ea typeface="MS Mincho" panose="02020609040205080304" pitchFamily="49" charset="-128"/>
                <a:cs typeface="Arial" panose="020B0604020202020204" pitchFamily="34" charset="0"/>
              </a:rPr>
              <a:t>Hvilke muligheter NAV kan og bør bruke, når det gjelder bruk og deling av data og kunstig intelligens, må tilpasses til personvernregler og annet lovverk, etikk og sosial aksept. Oppmerksomheten om disse spørsmålene vil være økende, og EUs politikk på feltet, bygget en mer restriktiv og ansvarlig linje enn vi ser blant annet i USA og Kina, vil trolig være førende også for Norge. Som den mest sentrale aktøren på velferdsområdet, vil det for NAV være særlig viktig med en etisk og ansvarlig tilnærming til bruk av datadrevne tjenester med bred aksept i befolknin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8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800">
                <a:effectLst/>
                <a:latin typeface="Arial" panose="020B0604020202020204" pitchFamily="34" charset="0"/>
                <a:ea typeface="MS Mincho" panose="02020609040205080304" pitchFamily="49" charset="-128"/>
                <a:cs typeface="Arial" panose="020B0604020202020204" pitchFamily="34" charset="0"/>
              </a:rPr>
              <a:t>Ny teknologi gir også sårbarheter og sikkerhetsutfordringer, og politisk og økonomisk motiverte dataangrep ventes å utgjøre en økende trussel, også for NAV. Det gir også økt risiko for trygdesvindel basert på avansert teknologi.</a:t>
            </a:r>
          </a:p>
          <a:p>
            <a:r>
              <a:rPr lang="nb-NO" sz="800">
                <a:latin typeface="Arial" panose="020B0604020202020204" pitchFamily="34" charset="0"/>
                <a:cs typeface="Arial" panose="020B0604020202020204" pitchFamily="34" charset="0"/>
              </a:rPr>
              <a:t>World </a:t>
            </a:r>
            <a:r>
              <a:rPr lang="nb-NO" sz="800" err="1">
                <a:latin typeface="Arial" panose="020B0604020202020204" pitchFamily="34" charset="0"/>
                <a:cs typeface="Arial" panose="020B0604020202020204" pitchFamily="34" charset="0"/>
              </a:rPr>
              <a:t>Economic</a:t>
            </a:r>
            <a:r>
              <a:rPr lang="nb-NO" sz="800">
                <a:latin typeface="Arial" panose="020B0604020202020204" pitchFamily="34" charset="0"/>
                <a:cs typeface="Arial" panose="020B0604020202020204" pitchFamily="34" charset="0"/>
              </a:rPr>
              <a:t> Forum peker for eksempel på </a:t>
            </a:r>
            <a:r>
              <a:rPr lang="nb-NO" sz="800" err="1">
                <a:latin typeface="Arial" panose="020B0604020202020204" pitchFamily="34" charset="0"/>
                <a:cs typeface="Arial" panose="020B0604020202020204" pitchFamily="34" charset="0"/>
              </a:rPr>
              <a:t>nettkriminialtet</a:t>
            </a:r>
            <a:r>
              <a:rPr lang="nb-NO" sz="800">
                <a:latin typeface="Arial" panose="020B0604020202020204" pitchFamily="34" charset="0"/>
                <a:cs typeface="Arial" panose="020B0604020202020204" pitchFamily="34" charset="0"/>
              </a:rPr>
              <a:t> som den største bedrageri-trusselen for virksomheter framover.</a:t>
            </a:r>
            <a:endParaRPr lang="en-NO" sz="8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0200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rPr>
              <a:t>Det vil være noen utfordringer som kan hindre eller forsinke digitalisering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a:effectLst/>
                <a:latin typeface="Arial" panose="020B0604020202020204" pitchFamily="34" charset="0"/>
                <a:ea typeface="MS Mincho" panose="02020609040205080304" pitchFamily="49" charset="-128"/>
              </a:rPr>
              <a:t>Kompetansebehovet innen IKT og regelverksutvikling er stort og kan bli vanskelig å fylle. </a:t>
            </a:r>
            <a:r>
              <a:rPr lang="nb-NO" sz="900">
                <a:latin typeface="Arial" panose="020B0604020202020204" pitchFamily="34" charset="0"/>
                <a:cs typeface="Arial" panose="020B0604020202020204" pitchFamily="34" charset="0"/>
              </a:rPr>
              <a:t>4 av 5 offentlige virksomheter melder for eksempel om utfordringer med å rekruttere IKT-kompetanse det siste året. Den største mangelen gjelder IT-utviklere ifølge </a:t>
            </a:r>
            <a:r>
              <a:rPr lang="nb-NO" sz="900" err="1">
                <a:latin typeface="Arial" panose="020B0604020202020204" pitchFamily="34" charset="0"/>
                <a:cs typeface="Arial" panose="020B0604020202020204" pitchFamily="34" charset="0"/>
              </a:rPr>
              <a:t>NAVs</a:t>
            </a:r>
            <a:r>
              <a:rPr lang="nb-NO" sz="900">
                <a:latin typeface="Arial" panose="020B0604020202020204" pitchFamily="34" charset="0"/>
                <a:cs typeface="Arial" panose="020B0604020202020204" pitchFamily="34" charset="0"/>
              </a:rPr>
              <a:t> bedriftsundersøkelse. Kompetanse i skjæringspunktet mellom  jus og IT er også mangelvare.</a:t>
            </a:r>
          </a:p>
          <a:p>
            <a:pPr marL="285750" indent="-285750">
              <a:buFont typeface="Arial" panose="020B0604020202020204" pitchFamily="34" charset="0"/>
              <a:buChar char="•"/>
            </a:pPr>
            <a:r>
              <a:rPr lang="nb-NO" sz="900">
                <a:effectLst/>
                <a:latin typeface="Arial" panose="020B0604020202020204" pitchFamily="34" charset="0"/>
                <a:ea typeface="MS Mincho" panose="02020609040205080304" pitchFamily="49" charset="-128"/>
              </a:rPr>
              <a:t>Det er heller ikke sikkert at de teknologiske gjennombruddene kommer så raskt som ventet, eller på de områdene som spås. Ny teknologi kan medføre utilsiktede virkninger, og gir nye sårbarheter og sikkerhetsutfordringer som vil utgjøre en økende trussel for NAV.</a:t>
            </a:r>
            <a:endParaRPr lang="nb-NO" sz="900">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nb-NO" sz="900">
                <a:latin typeface="Arial" panose="020B0604020202020204" pitchFamily="34" charset="0"/>
                <a:cs typeface="Arial" panose="020B0604020202020204" pitchFamily="34" charset="0"/>
              </a:rPr>
              <a:t>Rammebetingelser: Gjelder blant annet at det mangler gode finansieringsmodeller for sammenhengende tjenester og for smidig utvikling, og at det er utfordrende å få til nødvendig regelverksutvikling for økt automatisering og bedre sammenhengende tjenester.</a:t>
            </a: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39</a:t>
            </a:fld>
            <a:endParaRPr lang="nb-NO"/>
          </a:p>
        </p:txBody>
      </p:sp>
    </p:spTree>
    <p:extLst>
      <p:ext uri="{BB962C8B-B14F-4D97-AF65-F5344CB8AC3E}">
        <p14:creationId xmlns:p14="http://schemas.microsoft.com/office/powerpoint/2010/main" val="3833324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b="0" i="0">
                <a:solidFill>
                  <a:srgbClr val="000000"/>
                </a:solidFill>
                <a:effectLst/>
                <a:latin typeface="Arial" panose="020B0604020202020204" pitchFamily="34" charset="0"/>
                <a:cs typeface="Arial" panose="020B0604020202020204" pitchFamily="34" charset="0"/>
              </a:rPr>
              <a:t>Formålet med analysen er å bidra til mer treffsikkerhet ved implementering av og senere oppdateringer av NAVs virksomhetsstrategi samt de treårige prioriteringene for NAV. Analysen skal også bidra til refleksjon og diskusjon om hvordan samfunnstrendene kan treffe NAV i stort og der den enkelte jobber.</a:t>
            </a:r>
            <a:endParaRPr lang="nb-NO" sz="1200">
              <a:effectLst/>
              <a:latin typeface="Arial" panose="020B0604020202020204" pitchFamily="34" charset="0"/>
              <a:ea typeface="MS Mincho" panose="02020609040205080304" pitchFamily="49" charset="-128"/>
              <a:cs typeface="Arial" panose="020B0604020202020204" pitchFamily="34" charset="0"/>
            </a:endParaRPr>
          </a:p>
          <a:p>
            <a:endParaRPr lang="nb-NO"/>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783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40</a:t>
            </a:fld>
            <a:endParaRPr lang="nb-NO"/>
          </a:p>
        </p:txBody>
      </p:sp>
    </p:spTree>
    <p:extLst>
      <p:ext uri="{BB962C8B-B14F-4D97-AF65-F5344CB8AC3E}">
        <p14:creationId xmlns:p14="http://schemas.microsoft.com/office/powerpoint/2010/main" val="6058025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800" b="1">
                <a:effectLst/>
                <a:latin typeface="Arial" panose="020B0604020202020204" pitchFamily="34" charset="0"/>
                <a:ea typeface="MS Mincho" panose="02020609040205080304" pitchFamily="49" charset="-128"/>
                <a:cs typeface="Arial" panose="020B0604020202020204" pitchFamily="34" charset="0"/>
              </a:rPr>
              <a:t>Unge voksne og flyktninger mest utsatt – usikker utvikling framover</a:t>
            </a:r>
          </a:p>
          <a:p>
            <a:r>
              <a:rPr lang="nb-NO" sz="800">
                <a:effectLst/>
                <a:latin typeface="Arial" panose="020B0604020202020204" pitchFamily="34" charset="0"/>
                <a:ea typeface="MS Mincho" panose="02020609040205080304" pitchFamily="49" charset="-128"/>
                <a:cs typeface="Arial" panose="020B0604020202020204" pitchFamily="34" charset="0"/>
              </a:rPr>
              <a:t>De siste ti årene sett under ett har vi hatt en velstandsvekst der alle grupper i inntektsfordelingen har opplevd økt reallønn, selv om økningen har vært svak de siste årene. Mye har endret seg det siste året, og i løpet av 2022 har økte priser, særlig på strøm, matvarer og drivstoff, ført til en betydelig økning i nettoutgiftene til husholdningene. Også renten har økt, noe som har ført til en økning i boutgiftene for de som eier egen bolig. Om økt inflasjon og høyt rentenivå vil bli en mer varig trend framover er usikkert og avhenger av utviklingen internasjonalt og på arbeidsmarkedet.</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Andelen med varig lavinntekt etter EU-60 har gått ned det siste året vi har tall for (2021), og innenfor de fleste aldersgrupper er det en stabil utvikling. Andelen med lavinntekt er lavere blant de eldste enn gjennomsnittet i befolkningen, og det er de yngste voksne i alderen 18 til 34 år som er mest utsatt for varig lavinntekt. Personer med innvandrerbakgrunn eller som mottar stønader fra NAV er overrepresentert i lavinntektsgruppen. De siste årene har andelen med lavinntekt vært stabil blant personer med innvandrerbakgrunn. Andelen med lavinntekt er høyest blant innvandrere fra land det kommer mange flyktninger fra, og avtar med botid i Norge.</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Blant husholdninger der minst ett medlem har en stabil tilknytning til arbeidslivet, har andelen med lavinntekt vært stabilt lav de siste årene. I husholdninger der hovedinntektstaker mottar stønader fra NAV, er andelen med lavinntekt høy for de fleste stønadsmottakere totalt sett, bortsett fra blant alderspensjonister. Blant uføretrygdede har andelen med lavinntekt doblet seg de siste ti årene. Blant minstepensjonister med alderspensjon eller uføretrygd har 7–8 av 10 lavinntekt.</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Levekårsundersøkelsen viser at personer i lavinntektsgruppen oftere rapporterer om mangel på økonomiske og sosiale goder enn den øvrige befolkningen. 30 prosent av de med lavinntekt rapporterte i 2021 at de manglet tilgang til privatbil, og 23 prosent oppgav at de ikke hadde råd til å bytte ut utslitte møbler. Blant de sosiale godene som lavinntektsgruppen rapporterte om, var det å ikke ha råd til en ukes ferie mest utbredt, dette gjaldt om lag én av fire i lavinntektsgruppen.</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effectLst/>
                <a:latin typeface="Arial" panose="020B0604020202020204" pitchFamily="34" charset="0"/>
                <a:ea typeface="MS Mincho" panose="02020609040205080304" pitchFamily="49" charset="-128"/>
                <a:cs typeface="Arial" panose="020B0604020202020204" pitchFamily="34" charset="0"/>
              </a:rPr>
              <a:t>Andelen som mottar økonomisk sosialhjelp falt fra 2018 til 2021, til tross for tidvis høy ledighet under koronapandemien. Det skyldes at ordninger som sikret inntektskompensasjon, ble utvidet. Andelen mottakere av sosialhjelp blant innvandrere har blitt redusert de siste årene til og med 2021 på grunn av færre nyankomne flyktninger i denne perioden. Foreløpige tall viser at antallet mottakere av økonomisk sosialhjelp økte med 9 prosent fra 2021 til 2022, som følge av høyere utgifter for husholdningene i 2022, samt økt tilstrømming av flyktninger. En utvalgsundersøkelse viser at økningen var enda sterkere mot slutten av året.</a:t>
            </a:r>
          </a:p>
          <a:p>
            <a:r>
              <a:rPr lang="nb-NO" sz="800">
                <a:effectLst/>
                <a:latin typeface="Arial" panose="020B0604020202020204" pitchFamily="34" charset="0"/>
                <a:ea typeface="MS Mincho" panose="02020609040205080304" pitchFamily="49" charset="-128"/>
                <a:cs typeface="Arial" panose="020B0604020202020204" pitchFamily="34" charset="0"/>
              </a:rPr>
              <a:t> </a:t>
            </a:r>
          </a:p>
          <a:p>
            <a:r>
              <a:rPr lang="nb-NO" sz="800">
                <a:solidFill>
                  <a:srgbClr val="000000"/>
                </a:solidFill>
                <a:effectLst/>
                <a:latin typeface="Arial" panose="020B0604020202020204" pitchFamily="34" charset="0"/>
                <a:ea typeface="Segoe UI" panose="020B0502040204020203" pitchFamily="34" charset="0"/>
                <a:cs typeface="Arial" panose="020B0604020202020204" pitchFamily="34" charset="0"/>
              </a:rPr>
              <a:t>Det er stor usikkerhet om levekårsutviklingen framover, avhengig av økonomisk vekst, utviklingen på arbeidsmarkedet, framtidig regulering av trygdeytelser og nivået på innvandringen, særlig av flyktninger. Utfordringene vil bli størst dersom vi får en situasjon der inntektsforskjellene øker i kombinasjon med lav økonomisk vekst. En mulig fortsatt høy tilstrømming av flyktninger, og dersom omstillingene på arbeidsmarkedet gir vedvarende ubalanser, er blant forholdene som kan gi økte inntektsforskjeller. Svakere vekst i befolkningen i yrkesaktiv alder og risiko for fortsatt krig og konflikt, er blant forholdene som kan gi svakere økonomisk vekst. Kombinasjonen av større forskjeller i inntekt, lav generell inntektsvekst, og eventuelt at høy prisvekst og høyt rentenivå vedvarer, kan føre til at flere får behov for økonomisk sosialhjelp og andre sosiale tjenester fra NAV som økonomisk rådgivning eller hjelp til å finne bolig.</a:t>
            </a:r>
            <a:endParaRPr lang="nb-NO" sz="8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071B4BBF-70B9-8047-B02F-2484F1EA6A40}" type="slidenum">
              <a:rPr lang="nb-NO" smtClean="0"/>
              <a:t>41</a:t>
            </a:fld>
            <a:endParaRPr lang="nb-NO"/>
          </a:p>
        </p:txBody>
      </p:sp>
    </p:spTree>
    <p:extLst>
      <p:ext uri="{BB962C8B-B14F-4D97-AF65-F5344CB8AC3E}">
        <p14:creationId xmlns:p14="http://schemas.microsoft.com/office/powerpoint/2010/main" val="9862503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Figuren viser utviklingen i disponibelt inntekt for de 20 prosent med høyest inntekt i Norge (høyeste kvintil, blå kurve) og de 20 prosent med lavest inntekt i Norge (laveste kvintil, rød kurve). Den lyseblå kurven viser tall for hele befolkningen. Tallene går til og med 2020, som er siste år det er publisert tall for. Tallene er indeksert slik at 1986 er satt lik 100, og er justert for prisvekst og det er brukt inntekt etter skatt. Tallene viser dermed i praksis endringen i hvor mye de ulike gruppene har å rutte med.</a:t>
            </a:r>
          </a:p>
          <a:p>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Tallene viser at både de med høy inntekt og lav inntekt har fått det bedre de siste tiårene. Men økt sprik mellom kurvene illustrerer at de økonomiske forskjellene har økt.</a:t>
            </a:r>
          </a:p>
          <a:p>
            <a:r>
              <a:rPr lang="nb-NO" sz="900">
                <a:latin typeface="Arial" panose="020B0604020202020204" pitchFamily="34" charset="0"/>
                <a:cs typeface="Arial" panose="020B0604020202020204" pitchFamily="34" charset="0"/>
              </a:rPr>
              <a:t>Utflating av kurvene siden midt på 2010-tallet viser at den økonomiske veksten har vært lavere i denne perioden, og at inntektsveksten dermed har vært lavere.</a:t>
            </a:r>
          </a:p>
          <a:p>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Økte forskjeller vil alltid være en utfordring, men det er en mindre utfordring så lenge de fleste får det bedre. Vi er nå i en helt annen situasjon, med høy prisveksten, og der mange sliter med å få inntekten til å strekke til. Konsekvensene av økte forskjeller blir da mye større.</a:t>
            </a:r>
          </a:p>
        </p:txBody>
      </p:sp>
      <p:sp>
        <p:nvSpPr>
          <p:cNvPr id="4" name="Plassholder for lysbildenummer 3"/>
          <p:cNvSpPr>
            <a:spLocks noGrp="1"/>
          </p:cNvSpPr>
          <p:nvPr>
            <p:ph type="sldNum" sz="quarter" idx="5"/>
          </p:nvPr>
        </p:nvSpPr>
        <p:spPr/>
        <p:txBody>
          <a:bodyPr/>
          <a:lstStyle/>
          <a:p>
            <a:fld id="{071B4BBF-70B9-8047-B02F-2484F1EA6A40}" type="slidenum">
              <a:rPr lang="nb-NO" smtClean="0"/>
              <a:t>42</a:t>
            </a:fld>
            <a:endParaRPr lang="nb-NO"/>
          </a:p>
        </p:txBody>
      </p:sp>
    </p:spTree>
    <p:extLst>
      <p:ext uri="{BB962C8B-B14F-4D97-AF65-F5344CB8AC3E}">
        <p14:creationId xmlns:p14="http://schemas.microsoft.com/office/powerpoint/2010/main" val="6568645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nb-NO" sz="700" kern="1200">
                <a:solidFill>
                  <a:schemeClr val="tx1"/>
                </a:solidFill>
                <a:effectLst/>
                <a:latin typeface="Arial" panose="020B0604020202020204" pitchFamily="34" charset="0"/>
                <a:ea typeface="+mn-ea"/>
                <a:cs typeface="Arial" panose="020B0604020202020204" pitchFamily="34" charset="0"/>
              </a:rPr>
              <a:t>Et vanlig mål på utviklingen i inntektsforskjeller er utviklingen i såkalt vedvarende lavinntekt, som også er et relativt mål på risikoen for fattigdom etter EUs definisjon. Det innebærer at husholdningen har en inntekt under 60 prosent av medianinntekten i Norge i en treårsperiode, og der man også tar hensyn til antall barn og voksne i husholdningen. </a:t>
            </a:r>
          </a:p>
          <a:p>
            <a:pPr marL="171450" lvl="0" indent="-171450">
              <a:buFont typeface="Arial" panose="020B0604020202020204" pitchFamily="34" charset="0"/>
              <a:buChar char="•"/>
            </a:pPr>
            <a:endParaRPr lang="nb-NO" sz="7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700">
                <a:effectLst/>
                <a:latin typeface="Arial" panose="020B0604020202020204" pitchFamily="34" charset="0"/>
                <a:ea typeface="MS Mincho" panose="02020609040205080304" pitchFamily="49" charset="-128"/>
                <a:cs typeface="Arial" panose="020B0604020202020204" pitchFamily="34" charset="0"/>
              </a:rPr>
              <a:t>Andelen med varig lavinntekt etter EU-60 har gått ned det siste året vi har tall for (2021), og er nå rundt 10 prosent. Vi har dessverre ikke nyere tall enn til 2021 for akkurat dette, men jeg skal likevel si litt om den aktuelle situasjonen også. Personer med innvandrerbakgrunn, særlig flyktninger med kort botid, er overrepresentert. </a:t>
            </a:r>
            <a:r>
              <a:rPr lang="nb-NO" sz="700" kern="1200">
                <a:solidFill>
                  <a:schemeClr val="tx1"/>
                </a:solidFill>
                <a:effectLst/>
                <a:latin typeface="Arial" panose="020B0604020202020204" pitchFamily="34" charset="0"/>
                <a:ea typeface="+mn-ea"/>
                <a:cs typeface="Arial" panose="020B0604020202020204" pitchFamily="34" charset="0"/>
              </a:rPr>
              <a:t>Det positive er at det er høy sosial mobilitet blant etterkommere av innvandrere, og at de fleste klarer seg bra.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700" kern="1200">
                <a:solidFill>
                  <a:schemeClr val="tx1"/>
                </a:solidFill>
                <a:effectLst/>
                <a:latin typeface="Arial" panose="020B0604020202020204" pitchFamily="34" charset="0"/>
                <a:ea typeface="+mn-ea"/>
                <a:cs typeface="Arial" panose="020B0604020202020204" pitchFamily="34" charset="0"/>
              </a:rPr>
              <a:t>Andre grupper som er overrepresentert er enslige forsørgere, </a:t>
            </a:r>
            <a:r>
              <a:rPr lang="nb-NO" sz="700">
                <a:effectLst/>
                <a:latin typeface="Arial" panose="020B0604020202020204" pitchFamily="34" charset="0"/>
                <a:ea typeface="MS Mincho" panose="02020609040205080304" pitchFamily="49" charset="-128"/>
                <a:cs typeface="Arial" panose="020B0604020202020204" pitchFamily="34" charset="0"/>
              </a:rPr>
              <a:t>personer som mottar sosialhjelp eller andre ytelser fra NAV. Og vi vet jo at vi det siste året (2022) har fått en kraftig økning i antall mottakere av sosialhjelp.</a:t>
            </a:r>
            <a:endParaRPr lang="nb-NO" sz="7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7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700" kern="1200">
                <a:solidFill>
                  <a:schemeClr val="tx1"/>
                </a:solidFill>
                <a:effectLst/>
                <a:latin typeface="Arial" panose="020B0604020202020204" pitchFamily="34" charset="0"/>
                <a:ea typeface="+mn-ea"/>
                <a:cs typeface="Arial" panose="020B0604020202020204" pitchFamily="34" charset="0"/>
              </a:rPr>
              <a:t>Barn og unge voksne under 35 år er også til en viss grad overrepresentert. I 2021 var det drøyt 110 000 barn som bodde i </a:t>
            </a:r>
            <a:r>
              <a:rPr lang="nb-NO" sz="800" u="none">
                <a:solidFill>
                  <a:srgbClr val="000000"/>
                </a:solidFill>
                <a:effectLst/>
                <a:latin typeface="Arial" panose="020B0604020202020204" pitchFamily="34" charset="0"/>
                <a:ea typeface="Segoe UI" panose="020B0502040204020203" pitchFamily="34" charset="0"/>
                <a:cs typeface="Arial" panose="020B0604020202020204" pitchFamily="34" charset="0"/>
              </a:rPr>
              <a:t>en husholdning med vedvarende lavinntekt. Det er en liten nedgang fra toppårene 2019-2020, men tallet kan nok øke når barn av ukrainske flyktninger kommer med i statistikken. </a:t>
            </a:r>
            <a:r>
              <a:rPr lang="nb-NO" sz="800" u="none">
                <a:solidFill>
                  <a:srgbClr val="000000"/>
                </a:solidFill>
                <a:effectLst/>
                <a:latin typeface="Arial" panose="020B0604020202020204" pitchFamily="34" charset="0"/>
                <a:ea typeface="Times New Roman" panose="02020603050405020304" pitchFamily="18" charset="0"/>
                <a:cs typeface="Arial" panose="020B0604020202020204" pitchFamily="34" charset="0"/>
              </a:rPr>
              <a:t>Barn i lavinntektsfamilier har også dårligere levekår enn andre barn på flere områder. De deltar sjeldnere i fritidsaktiviteter og har oftere dårlige boforhold. De har også mindre sannsynlighet for å fullføre videregående skole og få seg jobb senere, sammenlignet med andre barn. Det gir fare for at fattigdom går i arv.</a:t>
            </a:r>
            <a:endParaRPr lang="nb-NO" sz="7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700" kern="1200">
              <a:solidFill>
                <a:schemeClr val="tx1"/>
              </a:solidFill>
              <a:effectLst/>
              <a:latin typeface="Arial" panose="020B0604020202020204" pitchFamily="34" charset="0"/>
              <a:ea typeface="+mn-ea"/>
              <a:cs typeface="Arial" panose="020B0604020202020204" pitchFamily="34" charset="0"/>
            </a:endParaRPr>
          </a:p>
          <a:p>
            <a:r>
              <a:rPr lang="nb-NO" sz="700">
                <a:effectLst/>
                <a:latin typeface="Arial" panose="020B0604020202020204" pitchFamily="34" charset="0"/>
                <a:ea typeface="MS Mincho" panose="02020609040205080304" pitchFamily="49" charset="-128"/>
                <a:cs typeface="Arial" panose="020B0604020202020204" pitchFamily="34" charset="0"/>
              </a:rPr>
              <a:t>Der minst én i husholdningen har stabil tilknytning til arbeidslivet har andelen med lavinntekt vært stabil og veldig lav de siste årene. Det viser hvor viktig stabil arbeidstilknytning er, og at vi i Norge i liten grad i hvert fall så langt har utfordringer man snakker om internasjonal med såkalte </a:t>
            </a:r>
            <a:r>
              <a:rPr lang="nb-NO" sz="700" err="1">
                <a:effectLst/>
                <a:latin typeface="Arial" panose="020B0604020202020204" pitchFamily="34" charset="0"/>
                <a:ea typeface="MS Mincho" panose="02020609040205080304" pitchFamily="49" charset="-128"/>
                <a:cs typeface="Arial" panose="020B0604020202020204" pitchFamily="34" charset="0"/>
              </a:rPr>
              <a:t>working</a:t>
            </a:r>
            <a:r>
              <a:rPr lang="nb-NO" sz="700">
                <a:effectLst/>
                <a:latin typeface="Arial" panose="020B0604020202020204" pitchFamily="34" charset="0"/>
                <a:ea typeface="MS Mincho" panose="02020609040205080304" pitchFamily="49" charset="-128"/>
                <a:cs typeface="Arial" panose="020B0604020202020204" pitchFamily="34" charset="0"/>
              </a:rPr>
              <a:t> </a:t>
            </a:r>
            <a:r>
              <a:rPr lang="nb-NO" sz="700" err="1">
                <a:effectLst/>
                <a:latin typeface="Arial" panose="020B0604020202020204" pitchFamily="34" charset="0"/>
                <a:ea typeface="MS Mincho" panose="02020609040205080304" pitchFamily="49" charset="-128"/>
                <a:cs typeface="Arial" panose="020B0604020202020204" pitchFamily="34" charset="0"/>
              </a:rPr>
              <a:t>poor</a:t>
            </a:r>
            <a:r>
              <a:rPr lang="nb-NO" sz="700">
                <a:effectLst/>
                <a:latin typeface="Arial" panose="020B0604020202020204" pitchFamily="34" charset="0"/>
                <a:ea typeface="MS Mincho" panose="02020609040205080304" pitchFamily="49" charset="-128"/>
                <a:cs typeface="Arial" panose="020B0604020202020204" pitchFamily="34" charset="0"/>
              </a:rPr>
              <a:t> – eller arbeidende fattige.</a:t>
            </a:r>
          </a:p>
          <a:p>
            <a:endParaRPr lang="nb-NO" sz="7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700" kern="1200">
                <a:solidFill>
                  <a:schemeClr val="tx1"/>
                </a:solidFill>
                <a:effectLst/>
                <a:latin typeface="Arial" panose="020B0604020202020204" pitchFamily="34" charset="0"/>
                <a:ea typeface="+mn-ea"/>
                <a:cs typeface="Arial" panose="020B0604020202020204" pitchFamily="34" charset="0"/>
              </a:rPr>
              <a:t>Ettersom dette er et relativt mål på risikoen for fattigdom, vil ikke nødvendigvis den høye prisveksten i 2022 og 2023 føre til økt andel med lavinntekt. Det betyr jo selvsagt ikke at ikke høy prisvekst er en utfordring for levekårene.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700" kern="1200">
                <a:solidFill>
                  <a:schemeClr val="tx1"/>
                </a:solidFill>
                <a:effectLst/>
                <a:latin typeface="Arial" panose="020B0604020202020204" pitchFamily="34" charset="0"/>
                <a:ea typeface="+mn-ea"/>
                <a:cs typeface="Arial" panose="020B0604020202020204" pitchFamily="34" charset="0"/>
              </a:rPr>
              <a:t>Vi ser av SIFOs siste forbruksundersøkelse for i fjor at 5 prosent av befolkningen har alvorlige økonomiske problemer som er en dobling fra 2021 og at det i tillegg er 11 prosent som sliter økonomisk. </a:t>
            </a:r>
          </a:p>
        </p:txBody>
      </p:sp>
      <p:sp>
        <p:nvSpPr>
          <p:cNvPr id="4" name="Slide Number Placeholder 3"/>
          <p:cNvSpPr>
            <a:spLocks noGrp="1"/>
          </p:cNvSpPr>
          <p:nvPr>
            <p:ph type="sldNum" sz="quarter" idx="5"/>
          </p:nvPr>
        </p:nvSpPr>
        <p:spPr/>
        <p:txBody>
          <a:bodyPr/>
          <a:lstStyle/>
          <a:p>
            <a:fld id="{071B4BBF-70B9-8047-B02F-2484F1EA6A40}" type="slidenum">
              <a:rPr lang="nb-NO" smtClean="0"/>
              <a:t>43</a:t>
            </a:fld>
            <a:endParaRPr lang="nb-NO"/>
          </a:p>
        </p:txBody>
      </p:sp>
    </p:spTree>
    <p:extLst>
      <p:ext uri="{BB962C8B-B14F-4D97-AF65-F5344CB8AC3E}">
        <p14:creationId xmlns:p14="http://schemas.microsoft.com/office/powerpoint/2010/main" val="7563494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u="none">
                <a:solidFill>
                  <a:srgbClr val="000000"/>
                </a:solidFill>
                <a:effectLst/>
                <a:latin typeface="Arial" panose="020B0604020202020204" pitchFamily="34" charset="0"/>
                <a:ea typeface="Segoe UI" panose="020B0502040204020203" pitchFamily="34" charset="0"/>
                <a:cs typeface="Arial" panose="020B0604020202020204" pitchFamily="34" charset="0"/>
              </a:rPr>
              <a:t>Andelen med lavinntekt er høyest blant unge mellom 18 og 34 år</a:t>
            </a:r>
            <a:r>
              <a:rPr lang="nb-NO" sz="900" u="none">
                <a:effectLst/>
                <a:latin typeface="Arial" panose="020B0604020202020204" pitchFamily="34" charset="0"/>
                <a:ea typeface="MS Mincho" panose="02020609040205080304" pitchFamily="49" charset="-128"/>
                <a:cs typeface="Arial" panose="020B0604020202020204" pitchFamily="34" charset="0"/>
              </a:rPr>
              <a:t> </a:t>
            </a:r>
            <a:r>
              <a:rPr lang="nb-NO" sz="900" u="none">
                <a:solidFill>
                  <a:srgbClr val="000000"/>
                </a:solidFill>
                <a:effectLst/>
                <a:latin typeface="Arial" panose="020B0604020202020204" pitchFamily="34" charset="0"/>
                <a:ea typeface="Segoe UI" panose="020B0502040204020203" pitchFamily="34" charset="0"/>
                <a:cs typeface="Arial" panose="020B0604020202020204" pitchFamily="34" charset="0"/>
              </a:rPr>
              <a:t>. De siste årene har andelen gått litt ned også i denne aldersgruppen, og i 2021 var 14,1 prosent av de mellom 18 og 34 år i lavinntektsgruppen. Den høye andelen unge med lavinntekt skyldes trolig at flere har en periode med ustabil yrkestilknytning eller deltidsarbeid før de lykkes med å etablere seg stabilt i arbeidslivet. En annen forklaring er at finanskrisen i 2008 spesielt rammet sysselsettingen blant unge. Den store etterspørselen etter arbeidskraft i etterkant av koronakrisen førte til at sysselsettingsandelen blant unge under 30 år i 2021 var på det høyeste nivået på 14 år. Andelen unge utenfor både arbeid og utdanning</a:t>
            </a:r>
            <a:r>
              <a:rPr lang="nb-NO" sz="900" u="none">
                <a:effectLst/>
                <a:latin typeface="Arial" panose="020B0604020202020204" pitchFamily="34" charset="0"/>
                <a:ea typeface="MS Mincho" panose="02020609040205080304" pitchFamily="49" charset="-128"/>
                <a:cs typeface="Arial" panose="020B0604020202020204" pitchFamily="34" charset="0"/>
              </a:rPr>
              <a:t> </a:t>
            </a:r>
            <a:r>
              <a:rPr lang="nb-NO" sz="900" u="none">
                <a:solidFill>
                  <a:srgbClr val="000000"/>
                </a:solidFill>
                <a:effectLst/>
                <a:latin typeface="Arial" panose="020B0604020202020204" pitchFamily="34" charset="0"/>
                <a:ea typeface="Segoe UI" panose="020B0502040204020203" pitchFamily="34" charset="0"/>
                <a:cs typeface="Arial" panose="020B0604020202020204" pitchFamily="34" charset="0"/>
              </a:rPr>
              <a:t> var på det laveste nivået siden 2008. Dette</a:t>
            </a:r>
            <a:r>
              <a:rPr lang="nb-NO" sz="900" u="none">
                <a:effectLst/>
                <a:latin typeface="Arial" panose="020B0604020202020204" pitchFamily="34" charset="0"/>
                <a:ea typeface="MS Mincho" panose="02020609040205080304" pitchFamily="49" charset="-128"/>
                <a:cs typeface="Arial" panose="020B0604020202020204" pitchFamily="34" charset="0"/>
              </a:rPr>
              <a:t> </a:t>
            </a:r>
            <a:r>
              <a:rPr lang="nb-NO" sz="900" u="none">
                <a:solidFill>
                  <a:srgbClr val="000000"/>
                </a:solidFill>
                <a:effectLst/>
                <a:latin typeface="Arial" panose="020B0604020202020204" pitchFamily="34" charset="0"/>
                <a:ea typeface="Segoe UI" panose="020B0502040204020203" pitchFamily="34" charset="0"/>
                <a:cs typeface="Arial" panose="020B0604020202020204" pitchFamily="34" charset="0"/>
              </a:rPr>
              <a:t>kan være med på å forklare nedgangen i andelen med lavinntekt blant de yngste voksne.</a:t>
            </a:r>
            <a:endParaRPr lang="nb-NO" sz="900" u="none">
              <a:effectLst/>
              <a:latin typeface="Arial" panose="020B0604020202020204" pitchFamily="34" charset="0"/>
              <a:ea typeface="MS Mincho" panose="02020609040205080304" pitchFamily="49" charset="-128"/>
              <a:cs typeface="Arial" panose="020B0604020202020204" pitchFamily="34" charset="0"/>
            </a:endParaRPr>
          </a:p>
          <a:p>
            <a:r>
              <a:rPr lang="nb-NO" sz="900" u="none">
                <a:solidFill>
                  <a:srgbClr val="000000"/>
                </a:solidFill>
                <a:effectLst/>
                <a:latin typeface="Arial" panose="020B0604020202020204" pitchFamily="34" charset="0"/>
                <a:ea typeface="Segoe UI" panose="020B0502040204020203" pitchFamily="34" charset="0"/>
                <a:cs typeface="Arial" panose="020B0604020202020204" pitchFamily="34" charset="0"/>
              </a:rPr>
              <a:t> </a:t>
            </a:r>
            <a:endParaRPr lang="nb-NO" sz="900" u="none">
              <a:effectLst/>
              <a:latin typeface="Arial" panose="020B0604020202020204" pitchFamily="34" charset="0"/>
              <a:ea typeface="MS Mincho" panose="02020609040205080304" pitchFamily="49" charset="-128"/>
              <a:cs typeface="Arial" panose="020B0604020202020204" pitchFamily="34" charset="0"/>
            </a:endParaRPr>
          </a:p>
          <a:p>
            <a:r>
              <a:rPr lang="nb-NO" sz="900" u="none">
                <a:solidFill>
                  <a:srgbClr val="000000"/>
                </a:solidFill>
                <a:effectLst/>
                <a:latin typeface="Arial" panose="020B0604020202020204" pitchFamily="34" charset="0"/>
                <a:ea typeface="Times New Roman" panose="02020603050405020304" pitchFamily="18" charset="0"/>
                <a:cs typeface="Arial" panose="020B0604020202020204" pitchFamily="34" charset="0"/>
              </a:rPr>
              <a:t>Ofte brukes andelen barn i husholdninger med vedvarende lavinntekt (EU-60) som et mål på barnefattigdom. </a:t>
            </a:r>
            <a:r>
              <a:rPr lang="nb-NO" sz="900" u="none">
                <a:solidFill>
                  <a:srgbClr val="000000"/>
                </a:solidFill>
                <a:effectLst/>
                <a:latin typeface="Arial" panose="020B0604020202020204" pitchFamily="34" charset="0"/>
                <a:ea typeface="Segoe UI" panose="020B0502040204020203" pitchFamily="34" charset="0"/>
                <a:cs typeface="Arial" panose="020B0604020202020204" pitchFamily="34" charset="0"/>
              </a:rPr>
              <a:t>I 2021 tilhørte 11,3 prosent, eller 110 700 barn, en husholdning med vedvarende lavinntekt. Dette er en like stor andel som i 2018, og en nedgang på 0,4 prosentpoeng fra toppnivået i 2019 og 2020.  Etter en periode med dels kraftig vekst i andelen barn i husholdninger med vedvarende lavinntekt, er det første gang på 10 år at vi ser en nedgang i denne andelen. Barn med innvandrerbakgrunn og barn i husholdninger med eneforsørger er overrepresentert blant de med lavinntekt. </a:t>
            </a:r>
            <a:r>
              <a:rPr lang="nb-NO" sz="900" u="none">
                <a:solidFill>
                  <a:srgbClr val="000000"/>
                </a:solidFill>
                <a:effectLst/>
                <a:latin typeface="Arial" panose="020B0604020202020204" pitchFamily="34" charset="0"/>
                <a:ea typeface="Times New Roman" panose="02020603050405020304" pitchFamily="18" charset="0"/>
                <a:cs typeface="Arial" panose="020B0604020202020204" pitchFamily="34" charset="0"/>
              </a:rPr>
              <a:t>Voksne i lavinntektsfamilier med barn kjennetegnes ved at de har svak tiknytning til arbeidsmarkedet. De har få og kortvarige jobber, lav lønn og kort arbeidstid. Barn i lavinntektsfamilier har dårligere levekår enn andre barn på flere områder. De opplever blant annet oftere materielle mangler, deltar sjeldnere i fritidsaktiviteter og har oftere dårlige boforhold. Barn som vokser opp i familier med vedvarende lavinntekt har mindre sannsynlighet for å fullføre videregående skole og få seg jobb senere, sammenlignet med andre barn. Imidlertid er det flere norskfødte med innvandrerforeldre i lavinntektsgruppen som fullfører videregående skole, sammenlignet med andre barn i lavinntektsgruppen.</a:t>
            </a:r>
            <a:endParaRPr lang="nb-NO" sz="900" u="none">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071B4BBF-70B9-8047-B02F-2484F1EA6A40}" type="slidenum">
              <a:rPr lang="nb-NO" smtClean="0"/>
              <a:t>44</a:t>
            </a:fld>
            <a:endParaRPr lang="nb-NO"/>
          </a:p>
        </p:txBody>
      </p:sp>
    </p:spTree>
    <p:extLst>
      <p:ext uri="{BB962C8B-B14F-4D97-AF65-F5344CB8AC3E}">
        <p14:creationId xmlns:p14="http://schemas.microsoft.com/office/powerpoint/2010/main" val="7783366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latin typeface="Arial" panose="020B0604020202020204" pitchFamily="34" charset="0"/>
                <a:cs typeface="Arial" panose="020B0604020202020204" pitchFamily="34" charset="0"/>
              </a:rPr>
              <a:t>Hva tror vi framover mot 2035?</a:t>
            </a:r>
          </a:p>
          <a:p>
            <a:r>
              <a:rPr lang="nb-NO" sz="1200">
                <a:latin typeface="Arial" panose="020B0604020202020204" pitchFamily="34" charset="0"/>
                <a:cs typeface="Arial" panose="020B0604020202020204" pitchFamily="34" charset="0"/>
              </a:rPr>
              <a:t>På kort sikt er det sannsynlig at situasjonen med økt behov for sosialhjelp og andre sosiale tjenester fra NAV vil vedvare i noe tid.</a:t>
            </a:r>
          </a:p>
          <a:p>
            <a:endParaRPr lang="nb-NO" sz="1200">
              <a:latin typeface="Arial" panose="020B0604020202020204" pitchFamily="34" charset="0"/>
              <a:cs typeface="Arial" panose="020B0604020202020204" pitchFamily="34" charset="0"/>
            </a:endParaRPr>
          </a:p>
          <a:p>
            <a:r>
              <a:rPr lang="nb-NO" sz="1200">
                <a:latin typeface="Arial" panose="020B0604020202020204" pitchFamily="34" charset="0"/>
                <a:cs typeface="Arial" panose="020B0604020202020204" pitchFamily="34" charset="0"/>
              </a:rPr>
              <a:t>På lengre sikt bli levekårsutfordringene størst dersom vi får en kombinasjon av økte inntektsforskjeller og lavere økonomisk vekst, som i grunn er situasjonen akkurat nå.</a:t>
            </a:r>
          </a:p>
          <a:p>
            <a:r>
              <a:rPr lang="nb-NO" sz="1200">
                <a:latin typeface="Arial" panose="020B0604020202020204" pitchFamily="34" charset="0"/>
                <a:cs typeface="Arial" panose="020B0604020202020204" pitchFamily="34" charset="0"/>
              </a:rPr>
              <a:t>Det er da det vil bli særlig utfordrende for gruppene med lav inntekt.</a:t>
            </a:r>
          </a:p>
          <a:p>
            <a:r>
              <a:rPr lang="nb-NO" sz="1200">
                <a:latin typeface="Arial" panose="020B0604020202020204" pitchFamily="34" charset="0"/>
                <a:cs typeface="Arial" panose="020B0604020202020204" pitchFamily="34" charset="0"/>
              </a:rPr>
              <a:t>Det som kan gi økte inntektsforskjeller er bl.a. omstilling på arbeidsmarkedet, særlig hvis omstillingene ikke blir håndtert godt. Om det fortsatt blir høy tilstrømming av flyktninger er også noe som kan bidra til økte forskjeller, ettersom flyktninger med kort botid ofte har svak tilknytning til arbeidslivet.</a:t>
            </a:r>
          </a:p>
          <a:p>
            <a:r>
              <a:rPr lang="nb-NO" sz="1200">
                <a:latin typeface="Arial" panose="020B0604020202020204" pitchFamily="34" charset="0"/>
                <a:cs typeface="Arial" panose="020B0604020202020204" pitchFamily="34" charset="0"/>
              </a:rPr>
              <a:t>Det som kan gi lavere økonomisk vekst er blant annet aldringen av befolkningen, og at vi har en mer usikker verden.</a:t>
            </a:r>
          </a:p>
          <a:p>
            <a:endParaRPr lang="nb-NO" sz="1200">
              <a:latin typeface="Arial" panose="020B0604020202020204" pitchFamily="34" charset="0"/>
              <a:cs typeface="Arial" panose="020B0604020202020204" pitchFamily="34" charset="0"/>
            </a:endParaRPr>
          </a:p>
          <a:p>
            <a:r>
              <a:rPr lang="nb-NO" sz="1200">
                <a:latin typeface="Arial" panose="020B0604020202020204" pitchFamily="34" charset="0"/>
                <a:cs typeface="Arial" panose="020B0604020202020204" pitchFamily="34" charset="0"/>
              </a:rPr>
              <a:t>Men hvor lenge situasjonen med høy inflasjon og høyt rentenivå vil vedvare har vi heller ikke vi noe godt svar på, og det vil avhenge veldig av situasjonen internasjonalt.</a:t>
            </a: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45</a:t>
            </a:fld>
            <a:endParaRPr lang="nb-NO"/>
          </a:p>
        </p:txBody>
      </p:sp>
    </p:spTree>
    <p:extLst>
      <p:ext uri="{BB962C8B-B14F-4D97-AF65-F5344CB8AC3E}">
        <p14:creationId xmlns:p14="http://schemas.microsoft.com/office/powerpoint/2010/main" val="24898874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46</a:t>
            </a:fld>
            <a:endParaRPr lang="nb-NO"/>
          </a:p>
        </p:txBody>
      </p:sp>
    </p:spTree>
    <p:extLst>
      <p:ext uri="{BB962C8B-B14F-4D97-AF65-F5344CB8AC3E}">
        <p14:creationId xmlns:p14="http://schemas.microsoft.com/office/powerpoint/2010/main" val="1449253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700" b="1">
                <a:solidFill>
                  <a:srgbClr val="000000"/>
                </a:solidFill>
                <a:effectLst/>
                <a:latin typeface="Arial" panose="020B0604020202020204" pitchFamily="34" charset="0"/>
                <a:ea typeface="MS Mincho" panose="02020609040205080304" pitchFamily="49" charset="-128"/>
                <a:cs typeface="Arial" panose="020B0604020202020204" pitchFamily="34" charset="0"/>
              </a:rPr>
              <a:t>Bedre folkehelse, venter stabil utvikling for helserelaterte trygdeytelser</a:t>
            </a:r>
          </a:p>
          <a:p>
            <a:r>
              <a:rPr lang="nb-NO" sz="700">
                <a:effectLst/>
                <a:latin typeface="Arial" panose="020B0604020202020204" pitchFamily="34" charset="0"/>
                <a:ea typeface="MS Mincho" panose="02020609040205080304" pitchFamily="49" charset="-128"/>
                <a:cs typeface="Arial" panose="020B0604020202020204" pitchFamily="34" charset="0"/>
              </a:rPr>
              <a:t>Forventet levealder i Norge har økt jevnt de siste 20 årene, og det ventes fortsatt økning fram mot 2035. Folkehelsen har også blitt klart bedre i samme periode, og særlig for menn. Dette vises ved at befolkningens sykdomsbyrde, som omfatter helsetap både i form av død og svekket helse, har blitt markant redusert.</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For befolkningen som helhet ventes en svak økning i sykdomsbyrden fram mot 2035, til tross for at det forventes en bedring i nesten alle aldersgrupper. Det skyldes den sterke økningen i antall eldre. Det vil føre til økt behov for helse- og omsorgstjenester, herunder blant annet hjelpemidler fra NAV. Usikkerheten er særlig stor for smittsomme sykdommer, og det skyldes mulige framtidige pandemier, konsekvenser av klima- og miljøendringer, og risikoen for økt </a:t>
            </a:r>
            <a:r>
              <a:rPr lang="nb-NO" sz="700" err="1">
                <a:effectLst/>
                <a:latin typeface="Arial" panose="020B0604020202020204" pitchFamily="34" charset="0"/>
                <a:ea typeface="MS Mincho" panose="02020609040205080304" pitchFamily="49" charset="-128"/>
                <a:cs typeface="Arial" panose="020B0604020202020204" pitchFamily="34" charset="0"/>
              </a:rPr>
              <a:t>antibiotikaresistens</a:t>
            </a:r>
            <a:r>
              <a:rPr lang="nb-NO" sz="700">
                <a:effectLst/>
                <a:latin typeface="Arial" panose="020B0604020202020204" pitchFamily="34" charset="0"/>
                <a:ea typeface="MS Mincho" panose="02020609040205080304" pitchFamily="49" charset="-128"/>
                <a:cs typeface="Arial" panose="020B0604020202020204" pitchFamily="34" charset="0"/>
              </a:rPr>
              <a:t>.</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For befolkningen i arbeidsfør alder (her 20–69 år) ventes det fortsatt reduksjon i sykdomsbyrden fram mot 2035, selv om den kan bli noe svakere enn før. Denne aldersgruppen er særlig viktig for NAV, siden det i stor grad er den som mottar helserelaterte trygdeytelser og som ofte får omfattende oppfølging i forbindelse med dette, med sikte på å komme i arbeid. Reduksjonen gjelder særlig hjerte- og karsykdommer, men også kreft. Det ventes uendret sykdomsbyrde for muskel-/skjelettlidelser og psykiske lidelser. Forekomsten av psykiske lidelser i befolkningen har vært stabil over tid, selv om andelen av befolkningen som er i kontakt med helsetjenesten for psykiske lidelser, har økt noe. Likevel har psykiske lidelser økt som årsak til mottak av helserelaterte trygdeytelser fra NAV. Det er mulig at denne trenden vil fortsette, da det blant annet kan henge sammen med økte krav i arbeidslivet, økt åpenhet om psykiske lidelser og økt tendens til å forklare sammensatte problemer med helseutfordringer.</a:t>
            </a:r>
          </a:p>
          <a:p>
            <a:r>
              <a:rPr lang="nb-NO" sz="700">
                <a:effectLst/>
                <a:highlight>
                  <a:srgbClr val="FFFF00"/>
                </a:highlight>
                <a:latin typeface="Arial" panose="020B0604020202020204" pitchFamily="34" charset="0"/>
                <a:ea typeface="MS Mincho" panose="02020609040205080304" pitchFamily="49" charset="-128"/>
                <a:cs typeface="Arial" panose="020B0604020202020204" pitchFamily="34" charset="0"/>
              </a:rPr>
              <a:t> </a:t>
            </a:r>
            <a:endParaRPr lang="nb-NO" sz="700">
              <a:effectLst/>
              <a:latin typeface="Arial" panose="020B0604020202020204" pitchFamily="34" charset="0"/>
              <a:ea typeface="MS Mincho" panose="02020609040205080304" pitchFamily="49" charset="-128"/>
              <a:cs typeface="Arial" panose="020B0604020202020204" pitchFamily="34" charset="0"/>
            </a:endParaRPr>
          </a:p>
          <a:p>
            <a:r>
              <a:rPr lang="nb-NO" sz="700">
                <a:effectLst/>
                <a:latin typeface="Arial" panose="020B0604020202020204" pitchFamily="34" charset="0"/>
                <a:ea typeface="MS Mincho" panose="02020609040205080304" pitchFamily="49" charset="-128"/>
                <a:cs typeface="Arial" panose="020B0604020202020204" pitchFamily="34" charset="0"/>
              </a:rPr>
              <a:t>De siste 10 årene før koronapandemien var det en klar nedgang i andelen av befolkningen 18–66 år som mottok helserelaterte ytelser fra NAV. Nedgangen forklares gjerne med bedre folkehelse, høyere utdanningsnivå og flere arbeidsinnvandrere, samt innstrammingene i regelverket for arbeidsavklaringspenger i 2018. Under pandemien har andelen økt nesten tilbake til det tidligere nivået, og ved utgangen av 2021 mottok knapt 18 prosent av befolkningen i alderen 18–66 år helserelaterte ytelser. For unge under 30 år var denne andelen stabil før pandemien, men andelen med uføretrygd økte likevel kraftig, samtidig som færre mottok sykepenger og AAP. Økningen i andelen med uføretrygd blant de unge skyldes økt tilstrømming av nye uføretrygdede under 25 år, og særlig i alderen 18–19 år. Denne økningen knyttes til et økt antall unge med diagnoser innen psykisk utviklingshemming og autisme. En viktig forklaring kan være at flere blir født med funksjonshemminger fordi flere kvinner får barn senere i livet, og/eller fordi flere for tidlig fødte barn overlever med nevrologiske og psykiske senskader.</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Framskrivinger som blant annet tar hensyn til demografiske endringer, anslår at andelen av befolkningen 18–66 år som mottar helserelaterte ytelser vil være stabil fram mot 2035. Bedring av folkehelsen kan isolert sett forventes å bidra til en nedgang. At høy etterspørsel etter arbeidskraft gir gode vilkår for arbeidsinkludering, trekker også i samme retning. Det økende antallet unge uføretrygdede og risiko for at omstillinger på arbeidsmarkedet gir utstøting fra arbeidslivet, kan trekke i motsatt retning. Anslagene er usikre.</a:t>
            </a:r>
          </a:p>
          <a:p>
            <a:r>
              <a:rPr lang="nb-NO" sz="700">
                <a:effectLst/>
                <a:latin typeface="Arial" panose="020B0604020202020204" pitchFamily="34" charset="0"/>
                <a:ea typeface="MS Mincho" panose="02020609040205080304" pitchFamily="49" charset="-128"/>
                <a:cs typeface="Arial" panose="020B0604020202020204" pitchFamily="34" charset="0"/>
              </a:rPr>
              <a:t> </a:t>
            </a:r>
          </a:p>
          <a:p>
            <a:r>
              <a:rPr lang="nb-NO" sz="700">
                <a:effectLst/>
                <a:latin typeface="Arial" panose="020B0604020202020204" pitchFamily="34" charset="0"/>
                <a:ea typeface="MS Mincho" panose="02020609040205080304" pitchFamily="49" charset="-128"/>
                <a:cs typeface="Arial" panose="020B0604020202020204" pitchFamily="34" charset="0"/>
              </a:rPr>
              <a:t>For å bidra til å sikre høy sysselsetting og begrense mottaket av trygd, vil det være behov for mer systematisk kunnskap om hvordan oppfølgingen virker, og en mer målrettet bruk av ulike virkemidler. Oppfølgingen bør i større grad være uavhengig av ytelse og diagnose, og foregå i samarbeid med den enkelte bruker, arbeidsgivere, helsesektoren og utdanningssektoren.</a:t>
            </a:r>
          </a:p>
        </p:txBody>
      </p:sp>
      <p:sp>
        <p:nvSpPr>
          <p:cNvPr id="4" name="Slide Number Placeholder 3"/>
          <p:cNvSpPr>
            <a:spLocks noGrp="1"/>
          </p:cNvSpPr>
          <p:nvPr>
            <p:ph type="sldNum" sz="quarter" idx="5"/>
          </p:nvPr>
        </p:nvSpPr>
        <p:spPr/>
        <p:txBody>
          <a:bodyPr/>
          <a:lstStyle/>
          <a:p>
            <a:fld id="{071B4BBF-70B9-8047-B02F-2484F1EA6A40}" type="slidenum">
              <a:rPr lang="nb-NO" smtClean="0"/>
              <a:t>47</a:t>
            </a:fld>
            <a:endParaRPr lang="nb-NO"/>
          </a:p>
        </p:txBody>
      </p:sp>
    </p:spTree>
    <p:extLst>
      <p:ext uri="{BB962C8B-B14F-4D97-AF65-F5344CB8AC3E}">
        <p14:creationId xmlns:p14="http://schemas.microsoft.com/office/powerpoint/2010/main" val="40989315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nb-NO" sz="900" kern="1200">
                <a:solidFill>
                  <a:schemeClr val="tx1"/>
                </a:solidFill>
                <a:effectLst/>
                <a:latin typeface="Arial" panose="020B0604020202020204" pitchFamily="34" charset="0"/>
                <a:ea typeface="+mn-ea"/>
                <a:cs typeface="Arial" panose="020B0604020202020204" pitchFamily="34" charset="0"/>
              </a:rPr>
              <a:t>Forventet levealder økte med 4 år fra 2000 til 2022 og ventes å øke like raskt framover. Det gjelder til tross for den uvanlige nedgangen i 2022, som var en ettervirkning av koronapandemien.</a:t>
            </a:r>
          </a:p>
          <a:p>
            <a:pPr marL="0" lvl="0" indent="0">
              <a:buFont typeface="Arial" panose="020B0604020202020204" pitchFamily="34" charset="0"/>
              <a:buNone/>
            </a:pPr>
            <a:r>
              <a:rPr lang="nb-NO" sz="900" kern="1200">
                <a:solidFill>
                  <a:schemeClr val="tx1"/>
                </a:solidFill>
                <a:effectLst/>
                <a:latin typeface="Arial" panose="020B0604020202020204" pitchFamily="34" charset="0"/>
                <a:ea typeface="+mn-ea"/>
                <a:cs typeface="Arial" panose="020B0604020202020204" pitchFamily="34" charset="0"/>
              </a:rPr>
              <a:t>Forventet antall friske leveår er vanskelig å måle, dette er tall fra Global </a:t>
            </a:r>
            <a:r>
              <a:rPr lang="nb-NO" sz="900" kern="1200" err="1">
                <a:solidFill>
                  <a:schemeClr val="tx1"/>
                </a:solidFill>
                <a:effectLst/>
                <a:latin typeface="Arial" panose="020B0604020202020204" pitchFamily="34" charset="0"/>
                <a:ea typeface="+mn-ea"/>
                <a:cs typeface="Arial" panose="020B0604020202020204" pitchFamily="34" charset="0"/>
              </a:rPr>
              <a:t>Burden</a:t>
            </a:r>
            <a:r>
              <a:rPr lang="nb-NO" sz="900" kern="1200">
                <a:solidFill>
                  <a:schemeClr val="tx1"/>
                </a:solidFill>
                <a:effectLst/>
                <a:latin typeface="Arial" panose="020B0604020202020204" pitchFamily="34" charset="0"/>
                <a:ea typeface="+mn-ea"/>
                <a:cs typeface="Arial" panose="020B0604020202020204" pitchFamily="34" charset="0"/>
              </a:rPr>
              <a:t> </a:t>
            </a:r>
            <a:r>
              <a:rPr lang="nb-NO" sz="900" kern="1200" err="1">
                <a:solidFill>
                  <a:schemeClr val="tx1"/>
                </a:solidFill>
                <a:effectLst/>
                <a:latin typeface="Arial" panose="020B0604020202020204" pitchFamily="34" charset="0"/>
                <a:ea typeface="+mn-ea"/>
                <a:cs typeface="Arial" panose="020B0604020202020204" pitchFamily="34" charset="0"/>
              </a:rPr>
              <a:t>of</a:t>
            </a:r>
            <a:r>
              <a:rPr lang="nb-NO" sz="900" kern="1200">
                <a:solidFill>
                  <a:schemeClr val="tx1"/>
                </a:solidFill>
                <a:effectLst/>
                <a:latin typeface="Arial" panose="020B0604020202020204" pitchFamily="34" charset="0"/>
                <a:ea typeface="+mn-ea"/>
                <a:cs typeface="Arial" panose="020B0604020202020204" pitchFamily="34" charset="0"/>
              </a:rPr>
              <a:t> </a:t>
            </a:r>
            <a:r>
              <a:rPr lang="nb-NO" sz="900" kern="1200" err="1">
                <a:solidFill>
                  <a:schemeClr val="tx1"/>
                </a:solidFill>
                <a:effectLst/>
                <a:latin typeface="Arial" panose="020B0604020202020204" pitchFamily="34" charset="0"/>
                <a:ea typeface="+mn-ea"/>
                <a:cs typeface="Arial" panose="020B0604020202020204" pitchFamily="34" charset="0"/>
              </a:rPr>
              <a:t>Disease</a:t>
            </a:r>
            <a:r>
              <a:rPr lang="nb-NO" sz="900" kern="1200">
                <a:solidFill>
                  <a:schemeClr val="tx1"/>
                </a:solidFill>
                <a:effectLst/>
                <a:latin typeface="Arial" panose="020B0604020202020204" pitchFamily="34" charset="0"/>
                <a:ea typeface="+mn-ea"/>
                <a:cs typeface="Arial" panose="020B0604020202020204" pitchFamily="34" charset="0"/>
              </a:rPr>
              <a:t> (som WHO baserer seg på). Her ser vi også en svak økning, men lavere enn for forventet levealder. Dette er riktignok usikre tall.</a:t>
            </a:r>
          </a:p>
          <a:p>
            <a:pPr marL="0" lvl="0" indent="0">
              <a:buFont typeface="Arial" panose="020B0604020202020204" pitchFamily="34" charset="0"/>
              <a:buNone/>
            </a:pPr>
            <a:r>
              <a:rPr lang="nb-NO" sz="900" kern="1200">
                <a:solidFill>
                  <a:schemeClr val="tx1"/>
                </a:solidFill>
                <a:effectLst/>
                <a:latin typeface="Arial" panose="020B0604020202020204" pitchFamily="34" charset="0"/>
                <a:ea typeface="+mn-ea"/>
                <a:cs typeface="Arial" panose="020B0604020202020204" pitchFamily="34" charset="0"/>
              </a:rPr>
              <a:t>Økningen i forventet levealder har vært sterkere enn i våre naboland. Norge har nå tatt igjen både Sverige og Island, som tidligere har levd lengre enn oss. </a:t>
            </a:r>
          </a:p>
        </p:txBody>
      </p:sp>
      <p:sp>
        <p:nvSpPr>
          <p:cNvPr id="4" name="Slide Number Placeholder 3"/>
          <p:cNvSpPr>
            <a:spLocks noGrp="1"/>
          </p:cNvSpPr>
          <p:nvPr>
            <p:ph type="sldNum" sz="quarter" idx="5"/>
          </p:nvPr>
        </p:nvSpPr>
        <p:spPr/>
        <p:txBody>
          <a:bodyPr/>
          <a:lstStyle/>
          <a:p>
            <a:fld id="{071B4BBF-70B9-8047-B02F-2484F1EA6A40}" type="slidenum">
              <a:rPr lang="nb-NO" smtClean="0"/>
              <a:t>48</a:t>
            </a:fld>
            <a:endParaRPr lang="nb-NO"/>
          </a:p>
        </p:txBody>
      </p:sp>
    </p:spTree>
    <p:extLst>
      <p:ext uri="{BB962C8B-B14F-4D97-AF65-F5344CB8AC3E}">
        <p14:creationId xmlns:p14="http://schemas.microsoft.com/office/powerpoint/2010/main" val="4526128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Dette vi ser her er tall for såkalt sykdomsbyrde i befolkningen. Dette er definert ut fra hvor mange som dør og hvor mange som har ulike sykdommer, der sykdommer blir vektet ut fra hvor alvorlige de er. </a:t>
            </a:r>
          </a:p>
          <a:p>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Det ventes bedre folkehelse for hver aldersgruppe. Men at vi får veldig mange flere eldre framover, trekker likevel opp sykdomsbyrden og fører til svak økning fram mot 2035. Vi får altså totalt sett mer sykdom i samfunnet pga. flere eldre – det er jo i grunn ikke overraskende. Men hvis vi ser på folk i yrkesaktiv alder, her markert som aldersgruppen 20-69 år, så ventes det nedgang i sykdomsbyrden, til tross at folk også innad i gruppen yrkesaktiv alder i gjennomsnitt blir eldre. Folk i arbeidsfør alder kommer altså til å bli friskere framover, som isolert sett taler for at færre vil stå utenfor arbeidslivet pga. sykdom.</a:t>
            </a:r>
            <a:endParaRPr lang="nb-NO" sz="900"/>
          </a:p>
        </p:txBody>
      </p:sp>
      <p:sp>
        <p:nvSpPr>
          <p:cNvPr id="4" name="Plassholder for lysbildenummer 3"/>
          <p:cNvSpPr>
            <a:spLocks noGrp="1"/>
          </p:cNvSpPr>
          <p:nvPr>
            <p:ph type="sldNum" sz="quarter" idx="5"/>
          </p:nvPr>
        </p:nvSpPr>
        <p:spPr/>
        <p:txBody>
          <a:bodyPr/>
          <a:lstStyle/>
          <a:p>
            <a:fld id="{071B4BBF-70B9-8047-B02F-2484F1EA6A40}" type="slidenum">
              <a:rPr lang="nb-NO" smtClean="0"/>
              <a:t>49</a:t>
            </a:fld>
            <a:endParaRPr lang="nb-NO"/>
          </a:p>
        </p:txBody>
      </p:sp>
    </p:spTree>
    <p:extLst>
      <p:ext uri="{BB962C8B-B14F-4D97-AF65-F5344CB8AC3E}">
        <p14:creationId xmlns:p14="http://schemas.microsoft.com/office/powerpoint/2010/main" val="943645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b="0">
                <a:latin typeface="Arial" panose="020B0604020202020204" pitchFamily="34" charset="0"/>
                <a:cs typeface="Arial" panose="020B0604020202020204" pitchFamily="34" charset="0"/>
              </a:rPr>
              <a:t>Omverdensanalysen </a:t>
            </a:r>
            <a:r>
              <a:rPr lang="nb-NO" sz="900">
                <a:latin typeface="Arial" panose="020B0604020202020204" pitchFamily="34" charset="0"/>
                <a:cs typeface="Arial" panose="020B0604020202020204" pitchFamily="34" charset="0"/>
              </a:rPr>
              <a:t>er basert på en gjennomgang av forskning og analyser på ulike samfunnsområder, for å finne de samfunnstrendene som kan få størst betydning for NAV framover. I tillegg har analysen vurderinger av hvilke muligheter og utfordringer samfunnstrendene gir NAV framover. Hvilken retning NAV faktisk skal velge, blir tatt ned i virksomhetsstrategien, lansert juni 2022.</a:t>
            </a:r>
          </a:p>
          <a:p>
            <a:endParaRPr lang="nb-NO" sz="900">
              <a:latin typeface="Arial" panose="020B0604020202020204" pitchFamily="34" charset="0"/>
              <a:cs typeface="Arial" panose="020B0604020202020204" pitchFamily="34" charset="0"/>
            </a:endParaRPr>
          </a:p>
          <a:p>
            <a:r>
              <a:rPr lang="nb-NO" sz="900" b="0" i="0">
                <a:solidFill>
                  <a:srgbClr val="000000"/>
                </a:solidFill>
                <a:effectLst/>
                <a:latin typeface="Arial" panose="020B0604020202020204" pitchFamily="34" charset="0"/>
                <a:cs typeface="Arial" panose="020B0604020202020204" pitchFamily="34" charset="0"/>
              </a:rPr>
              <a:t>Formålet med omverdensanalysen er å bidra til mer treffsikkerhet ved implementering av og senere oppdateringer av virksomhetsstrategien samt de treårige prioriteringene.</a:t>
            </a:r>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Selve strategien gjelder for 10 år framover, og det er også utarbeidet strategiske prioriteringer for de kommende tre årene. Og de vil igjen påvirke de årlige prioriteringene i mål- og disponeringsbrev som brukes i den interne styringen i NAV og i driftsbudsjettet for NAV, slik at vi beveger NAV i riktig retning år for år.</a:t>
            </a:r>
          </a:p>
        </p:txBody>
      </p:sp>
      <p:sp>
        <p:nvSpPr>
          <p:cNvPr id="4" name="Slide Number Placeholder 3"/>
          <p:cNvSpPr>
            <a:spLocks noGrp="1"/>
          </p:cNvSpPr>
          <p:nvPr>
            <p:ph type="sldNum" sz="quarter" idx="5"/>
          </p:nvPr>
        </p:nvSpPr>
        <p:spPr/>
        <p:txBody>
          <a:bodyPr/>
          <a:lstStyle/>
          <a:p>
            <a:fld id="{071B4BBF-70B9-8047-B02F-2484F1EA6A40}" type="slidenum">
              <a:rPr lang="nb-NO" smtClean="0"/>
              <a:t>5</a:t>
            </a:fld>
            <a:endParaRPr lang="nb-NO"/>
          </a:p>
        </p:txBody>
      </p:sp>
    </p:spTree>
    <p:extLst>
      <p:ext uri="{BB962C8B-B14F-4D97-AF65-F5344CB8AC3E}">
        <p14:creationId xmlns:p14="http://schemas.microsoft.com/office/powerpoint/2010/main" val="327509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cs typeface="Arial" panose="020B0604020202020204" pitchFamily="34" charset="0"/>
              </a:rPr>
              <a:t>Under koronapandemien har Norge hatt færre dødsfall og sykehusinnleggelser enn de fleste land vi vanligvis sammenligner oss med. Fra høsten 2021 til januar 2023 har antall døde likevel ligget en del over et normalår. Ifølge Folkehelseinstituttet har det under pandemien vært en periodevis økning i psykiske plager og en nedgang i livskvalitet, men lite tyder på at det har vært en varig forverring i befolkningens psykiske helse. Covid-19 gir imidlertid risiko for senvirkninger og følgetilstander, og særlig for dem som har vært innlagt på sykehus. Slike senvirkninger kan være en av årsakene til at antall langtidssykmeldte har økt under pandemien. Det kan fortsatt komme nye bølger av koronapandemien, og risikoen for alvorlig sykdom er særlig stor for uvaksinerte, men også for andre som tilhører risikogrupper på grunnlag av alder eller eksisterende sykdom.</a:t>
            </a:r>
            <a:endParaRPr lang="nb-NO" sz="9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44111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cs typeface="Arial" panose="020B0604020202020204" pitchFamily="34" charset="0"/>
              </a:rPr>
              <a:t>De siste 10 årene før koronapandemien var det en relativt klar nedgang i andelen av befolkningen 18–66 år som mottar helserelaterte ytelser fra NAV. Viktige forklaringer på nedgangen er trolig bedre folkehelse, høyere utdanningsnivå og flere arbeidsinnvandrere, samt innstrammingene i regelverket for arbeidsavklaringspenger i 2018. Under pandemien har andelen økt nesten tilbake til det tidligere nivået, og ved utgangen av 2021 mottok knapt 18 prosent av befolkningen i alderen 18–66 år helserelaterte ytelser (og det ligger an til økning også i 2022, tallene vil først komme høsten 2023). </a:t>
            </a:r>
            <a:r>
              <a:rPr lang="nb-NO" sz="900">
                <a:effectLst/>
                <a:highlight>
                  <a:srgbClr val="FFFF00"/>
                </a:highlight>
                <a:latin typeface="Arial" panose="020B0604020202020204" pitchFamily="34" charset="0"/>
                <a:ea typeface="MS Mincho" panose="02020609040205080304" pitchFamily="49" charset="-128"/>
                <a:cs typeface="Arial" panose="020B0604020202020204" pitchFamily="34" charset="0"/>
              </a:rPr>
              <a:t> </a:t>
            </a:r>
            <a:endParaRPr lang="nb-NO" sz="900">
              <a:effectLst/>
              <a:latin typeface="Arial" panose="020B0604020202020204" pitchFamily="34" charset="0"/>
              <a:ea typeface="MS Mincho" panose="02020609040205080304" pitchFamily="49" charset="-128"/>
              <a:cs typeface="Arial" panose="020B0604020202020204" pitchFamily="34" charset="0"/>
            </a:endParaRPr>
          </a:p>
          <a:p>
            <a:r>
              <a:rPr lang="nb-NO" sz="900">
                <a:effectLst/>
                <a:latin typeface="Arial" panose="020B0604020202020204" pitchFamily="34" charset="0"/>
                <a:ea typeface="MS Mincho" panose="02020609040205080304" pitchFamily="49" charset="-128"/>
                <a:cs typeface="Arial" panose="020B0604020202020204" pitchFamily="34" charset="0"/>
              </a:rPr>
              <a:t>Til tross for en positiv utvikling før pandemien, har Norge fortsatt en høy andel mottakere av helserelaterte ytelser sammenliknet med andre land, og andelen har økt igjen under pandemien. Den høyere andelen i Norge kan henge sammen med at de norske trygdeytelsene gjennomgående gir høyere inntekt når sykdom er årsak til manglende inntekt enn når årsaken er sosiale problemer og arbeidsledighet. Dette kan føre til en form for «medikalisering» i betydningen at sosiale problemer tolkes som medisinske, og kan innebære mer langvarig trygdemottak og redusert sannsynlighet for å komme i arbeid eller tilbake til arbeid.</a:t>
            </a:r>
          </a:p>
        </p:txBody>
      </p:sp>
    </p:spTree>
    <p:extLst>
      <p:ext uri="{BB962C8B-B14F-4D97-AF65-F5344CB8AC3E}">
        <p14:creationId xmlns:p14="http://schemas.microsoft.com/office/powerpoint/2010/main" val="28736226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effectLst/>
                <a:latin typeface="Arial" panose="020B0604020202020204" pitchFamily="34" charset="0"/>
                <a:ea typeface="MS Mincho" panose="02020609040205080304" pitchFamily="49" charset="-128"/>
              </a:rPr>
              <a:t>For unge under 30 år var andelen med helserelaterte trygdeytelser stabil før pandemien, men andelen med uføretrygd økte likevel kraftig, samtidig som færre mottok sykepenger og AAP. Økningen i andelen med uføretrygd blant de unge skyldes økt tilstrømming av nye uføretrygdede under 25 år, og særlig i alderen 18–19 år. Denne økningen knyttes til et økt antall unge med diagnoser innen psykisk utviklingshemming og autisme. En viktig forklaring kan være at flere blir født med funksjonshemminger fordi flere kvinner får barn senere i livet, eller fordi flere for tidlig fødte barn overlever med nevrologiske og psykiske senskader.</a:t>
            </a:r>
            <a:endParaRPr lang="nb-NO" sz="1200">
              <a:effectLst/>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7026662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La meg nevne noen usikkerheter når det gjelder folkehelsen framover. Vi tror koronapandemien har gått mot slutten, men det er fortsatt noe usikkert. I tillegg er det risiko for framtidige pandemier, der noen mener at risikoen er høyere enn før, og vi har risiko knyttet til økt </a:t>
            </a:r>
            <a:r>
              <a:rPr lang="nb-NO" sz="900" err="1">
                <a:effectLst/>
                <a:latin typeface="Arial" panose="020B0604020202020204" pitchFamily="34" charset="0"/>
                <a:ea typeface="MS Mincho" panose="02020609040205080304" pitchFamily="49" charset="-128"/>
                <a:cs typeface="Arial" panose="020B0604020202020204" pitchFamily="34" charset="0"/>
              </a:rPr>
              <a:t>antibiotikaresistens</a:t>
            </a:r>
            <a:r>
              <a:rPr lang="nb-NO" sz="900">
                <a:effectLst/>
                <a:latin typeface="Arial" panose="020B0604020202020204" pitchFamily="34" charset="0"/>
                <a:ea typeface="MS Mincho" panose="02020609040205080304" pitchFamily="49" charset="-128"/>
                <a:cs typeface="Arial" panose="020B0604020202020204" pitchFamily="34" charset="0"/>
              </a:rPr>
              <a:t>.</a:t>
            </a:r>
          </a:p>
          <a:p>
            <a:pPr marL="0" indent="0">
              <a:buFont typeface="Arial" panose="020B0604020202020204" pitchFamily="34" charset="0"/>
              <a:buNone/>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At folk blir friskere skulle vi tro betyr at færre vil mottar helserelaterte trygdeytelser fra NAV, dvs. sykepenger, AAP og uføretrygd. </a:t>
            </a: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Men det er ikke gitt, ettersom utviklingen for de ytelsene påvirkes av mer enn helse.</a:t>
            </a: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Bl.a. er det slik at omstillinger på arbeidsmarkedet gir risiko for utstøting fra arbeidslivet. Det er noe vi må prøve å forhindre.</a:t>
            </a: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Samtidig, som jeg allerede har nevnt, gir mangelen på arbeidskraft gode vilkår for inkludering.</a:t>
            </a: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Psykiske lidelser har over tid vært en økende årsak til helserelaterte ytelser, selv om tall fra Folkehelseinstituttet viser at forekomsten av psykiske lidelser i befolkningen ikke har økt. Riktignok er det en økt andel unge som opplever psykiske plager.</a:t>
            </a: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Det kan være flere grunner til at folk med ytelser fra NAV oftere har psykiske lidelser som diagnose. Det kan f.eks. skyldes at høyere krav i arbeidslivet har gjort det mer krevende for psykisk syke, eller at det har blitt mer åpenhet om psykiske lidelser og at diagnosesettingen har endret seg. I tillegg kan det skyldes det vi kaller medikalisering, som handler om at man i større grad setter et helsestempel på sammensatte problemer som både gjelder helse og andre ting (f.eks. arbeidsledighet eller sosiale problemer). </a:t>
            </a: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Vi frykter i hvert fall at trenden med at psykiske lidelser blir mer og mer vanlig som diagnose for helserelaterte ytelser vil fortsette.</a:t>
            </a:r>
          </a:p>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Men alt i alt tror vi at andelen av befolkningen som mottar disse helserelaterte ytelsene fra NAV, vil holde seg stabil framover. Bedre folkehelse trekker ned, mens de andre faktorene jeg har nevnt her trekker opp.</a:t>
            </a:r>
          </a:p>
          <a:p>
            <a:pPr marL="0" indent="0">
              <a:buFont typeface="Arial" panose="020B0604020202020204" pitchFamily="34" charset="0"/>
              <a:buNone/>
            </a:pPr>
            <a:endParaRPr lang="nb-NO" sz="9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8973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54</a:t>
            </a:fld>
            <a:endParaRPr lang="nb-NO"/>
          </a:p>
        </p:txBody>
      </p:sp>
    </p:spTree>
    <p:extLst>
      <p:ext uri="{BB962C8B-B14F-4D97-AF65-F5344CB8AC3E}">
        <p14:creationId xmlns:p14="http://schemas.microsoft.com/office/powerpoint/2010/main" val="7963160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700" b="1">
                <a:solidFill>
                  <a:srgbClr val="000000"/>
                </a:solidFill>
                <a:effectLst/>
                <a:latin typeface="Arial" panose="020B0604020202020204" pitchFamily="34" charset="0"/>
                <a:ea typeface="MS Mincho" panose="02020609040205080304" pitchFamily="49" charset="-128"/>
                <a:cs typeface="Arial" panose="020B0604020202020204" pitchFamily="34" charset="0"/>
              </a:rPr>
              <a:t>Omstilling, inkludering og velferdsstatens bærekraft blir viktige politiske utfordringer</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Det politiske omlandet har endret seg raskt de siste få årene, eksempelvis med koronapandemien, en pågående krig i Ukraina og økt inflasjon. Det er en usikker geopolitisk situasjon, og vi merker konsekvensene i form av endrede rammebetingelser internasjonalt og sterkere vektlegging av sikkerhet og beredskap.</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Den norske arbeidslivs- og velferdsmodellen forutsetter at innbyggerne har tillit til politikere og institusjoner. Internasjonalt har synkende politisk tillit, økt polarisering og populisme vært mye omtalt de siste årene, men dette er i mindre grad observert i norsk sammenheng. Økte energi- og råvarepriser gir en vanskelig økonomisk hverdag for mange, med økte forskjeller og en skarpere tone i debatten. Det gir risiko for økt polarisering og en politikk som i større grad enn i dag styres som respons på kriser og akutte situasjoner. For NAV kan dette bety hyppigere regelendringer og større uforutsigbarhet. På kort sikt kan vi få mer politisk styring og en mer ekspansiv politikk, mens på lang sikt er det lite sannsynlig at arbeids- og velferdspolitikken vil få økte budsjetter og rammer.</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Tillitsreformer i flere naboland, etterfulgt av den pågående norske tillitsreformen, viser en trend med mindre sentral styring og økt satsing på lokal tjenesteutvikling for å nå målene for offentlig forvaltning. Det gir større forventninger til at </a:t>
            </a:r>
            <a:r>
              <a:rPr lang="nb-NO" sz="700" err="1">
                <a:solidFill>
                  <a:srgbClr val="000000"/>
                </a:solidFill>
                <a:effectLst/>
                <a:latin typeface="Arial" panose="020B0604020202020204" pitchFamily="34" charset="0"/>
                <a:ea typeface="MS Mincho" panose="02020609040205080304" pitchFamily="49" charset="-128"/>
                <a:cs typeface="Arial" panose="020B0604020202020204" pitchFamily="34" charset="0"/>
              </a:rPr>
              <a:t>NAVs</a:t>
            </a:r>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lokale og nasjonale satsinger innenfor tjenesteutvikling skal ha dokumenterte sosiale og økonomiske effekter. Det krever en kunnskapsbasert tilnærming gjennom forsøk fulgt opp av evalueringer.</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Forholdet til Europa blir trolig viktigere i årene som kommer. EU fører en mer aktiv politikk innen områder med relevans for NAV, som arbeids- og velferdspolitikk, kompetansepolitikk og IKT-/digitaliseringspolitikk. Det skjer delvis gjennom regelverk som gjelder alle medlemslandene og som ofte vil gjelde Norge gjennom EØS-avtalen, og delvis indirekte i form av anbefalinger til medlemslandene.</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En viktig politisk utfordring fram mot 2035, blir å sikre velferdsstatens bærekraft. I avveiningen mellom trygge velferdsordninger og økonomisk bærekraft står politikerne overfor harde prioriteringer. Handlingsalternativene er lavere velferdsytelser/redusert tjenestetilbud, økte skatter og avgifter, tiltak som gir økt sysselsetting og/eller effektivisering av offentlig sektor.</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Kompetansepolitikken blir trolig enda viktigere framover, spesielt som følge av teknologisk utvikling og det grønne skiftet. Her forventer vi økt satsing på etter- og videreutdanning. Inkludering av personer utenfor arbeidslivet vil også være høyt prioritert for å motvirke fattigdom og håndtere arbeidskraftbehovet. Dette gjelder særlig enkelte grupper av innvandrere og unge med manglende formell kompetanse. Innvandring krever både integrering og kompetanseutvikling, hvor bedre og tidligere tilgang til videregående utdanning og fagbrev kan være aktuelle tiltak. Aktuelle tiltak for unge i fare for å bli stående varig utenfor arbeidsmarkedet, vil være blant annet lettere tilgang til læreplasser og tettere oppfølging.</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Hovedmålene for arbeids- og velferdspolitikken er et velfungerende arbeidsmarked, inntektssikringsordninger som gir økonomisk trygghet og samtidig stimulerer til arbeid, inkludering av utsatte grupper i arbeidsmarkedet, og gode levekår for de vanskeligst stilte. Det ventes å være fortsatt tverrpolitisk enighet om disse målene, men noen konfliktlinjer vil trolig gjøre seg gjeldende også framover:</a:t>
            </a:r>
          </a:p>
          <a:p>
            <a:pPr marL="342900" lvl="0" indent="-342900">
              <a:lnSpc>
                <a:spcPct val="115000"/>
              </a:lnSpc>
              <a:buFont typeface="Symbol" panose="05050102010706020507" pitchFamily="18" charset="2"/>
              <a:buChar char=""/>
            </a:pPr>
            <a:r>
              <a:rPr lang="nb-NO" sz="700">
                <a:solidFill>
                  <a:srgbClr val="000000"/>
                </a:solidFill>
                <a:effectLst/>
                <a:latin typeface="Arial" panose="020B0604020202020204" pitchFamily="34" charset="0"/>
                <a:ea typeface="Calibri" panose="020F0502020204030204" pitchFamily="34" charset="0"/>
                <a:cs typeface="Arial" panose="020B0604020202020204" pitchFamily="34" charset="0"/>
              </a:rPr>
              <a:t>Større behov for helse- og omsorgstjenester og strammere økonomiske rammer vil trolig forsterke debatten om </a:t>
            </a:r>
            <a:r>
              <a:rPr lang="nb-NO" sz="700" b="1">
                <a:solidFill>
                  <a:srgbClr val="000000"/>
                </a:solidFill>
                <a:effectLst/>
                <a:latin typeface="Arial" panose="020B0604020202020204" pitchFamily="34" charset="0"/>
                <a:ea typeface="Calibri" panose="020F0502020204030204" pitchFamily="34" charset="0"/>
                <a:cs typeface="Arial" panose="020B0604020202020204" pitchFamily="34" charset="0"/>
              </a:rPr>
              <a:t>offentlige eller private løsninger</a:t>
            </a:r>
            <a:r>
              <a:rPr lang="nb-NO" sz="700">
                <a:solidFill>
                  <a:srgbClr val="000000"/>
                </a:solidFill>
                <a:effectLst/>
                <a:latin typeface="Arial" panose="020B0604020202020204" pitchFamily="34" charset="0"/>
                <a:ea typeface="Calibri" panose="020F0502020204030204" pitchFamily="34" charset="0"/>
                <a:cs typeface="Arial" panose="020B0604020202020204" pitchFamily="34" charset="0"/>
              </a:rPr>
              <a:t>, også for NAV. I befolkningen har det lenge vært økende skepsis til privatisering av offentlige tjenester, samtidig som mange er positive til private velferdstjenester som et supplement til offentlige tilbud.</a:t>
            </a:r>
          </a:p>
          <a:p>
            <a:pPr marL="342900" lvl="0" indent="-342900">
              <a:lnSpc>
                <a:spcPct val="115000"/>
              </a:lnSpc>
              <a:buFont typeface="Symbol" panose="05050102010706020507" pitchFamily="18" charset="2"/>
              <a:buChar char=""/>
            </a:pPr>
            <a:r>
              <a:rPr lang="nb-NO" sz="700">
                <a:solidFill>
                  <a:srgbClr val="000000"/>
                </a:solidFill>
                <a:effectLst/>
                <a:latin typeface="Arial" panose="020B0604020202020204" pitchFamily="34" charset="0"/>
                <a:ea typeface="Calibri" panose="020F0502020204030204" pitchFamily="34" charset="0"/>
                <a:cs typeface="Arial" panose="020B0604020202020204" pitchFamily="34" charset="0"/>
              </a:rPr>
              <a:t>De store universelle ordningene ventes å ligge fast, men det vil være uenighet om graden av </a:t>
            </a:r>
            <a:r>
              <a:rPr lang="nb-NO" sz="700" b="1">
                <a:solidFill>
                  <a:srgbClr val="000000"/>
                </a:solidFill>
                <a:effectLst/>
                <a:latin typeface="Arial" panose="020B0604020202020204" pitchFamily="34" charset="0"/>
                <a:ea typeface="Calibri" panose="020F0502020204030204" pitchFamily="34" charset="0"/>
                <a:cs typeface="Arial" panose="020B0604020202020204" pitchFamily="34" charset="0"/>
              </a:rPr>
              <a:t>universelle ytelser versus mer behovsprøving</a:t>
            </a:r>
            <a:r>
              <a:rPr lang="nb-NO" sz="700">
                <a:solidFill>
                  <a:srgbClr val="000000"/>
                </a:solidFill>
                <a:effectLst/>
                <a:latin typeface="Arial" panose="020B0604020202020204" pitchFamily="34" charset="0"/>
                <a:ea typeface="Calibri" panose="020F0502020204030204" pitchFamily="34" charset="0"/>
                <a:cs typeface="Arial" panose="020B0604020202020204" pitchFamily="34" charset="0"/>
              </a:rPr>
              <a:t> eller tilpasning til spesifikke målgrupper.</a:t>
            </a:r>
          </a:p>
          <a:p>
            <a:pPr marL="342900" lvl="0" indent="-342900">
              <a:lnSpc>
                <a:spcPct val="115000"/>
              </a:lnSpc>
              <a:spcAft>
                <a:spcPts val="1000"/>
              </a:spcAft>
              <a:buFont typeface="Symbol" panose="05050102010706020507" pitchFamily="18" charset="2"/>
              <a:buChar char=""/>
            </a:pPr>
            <a:r>
              <a:rPr lang="nb-NO" sz="700">
                <a:solidFill>
                  <a:srgbClr val="000000"/>
                </a:solidFill>
                <a:effectLst/>
                <a:latin typeface="Arial" panose="020B0604020202020204" pitchFamily="34" charset="0"/>
                <a:ea typeface="Calibri" panose="020F0502020204030204" pitchFamily="34" charset="0"/>
                <a:cs typeface="Arial" panose="020B0604020202020204" pitchFamily="34" charset="0"/>
              </a:rPr>
              <a:t>Avveiningen mellom </a:t>
            </a:r>
            <a:r>
              <a:rPr lang="nb-NO" sz="700" b="1">
                <a:solidFill>
                  <a:srgbClr val="000000"/>
                </a:solidFill>
                <a:effectLst/>
                <a:latin typeface="Arial" panose="020B0604020202020204" pitchFamily="34" charset="0"/>
                <a:ea typeface="Calibri" panose="020F0502020204030204" pitchFamily="34" charset="0"/>
                <a:cs typeface="Arial" panose="020B0604020202020204" pitchFamily="34" charset="0"/>
              </a:rPr>
              <a:t>ytelsesnivåer og insentiver</a:t>
            </a:r>
            <a:r>
              <a:rPr lang="nb-NO" sz="700">
                <a:solidFill>
                  <a:srgbClr val="000000"/>
                </a:solidFill>
                <a:effectLst/>
                <a:latin typeface="Arial" panose="020B0604020202020204" pitchFamily="34" charset="0"/>
                <a:ea typeface="Calibri" panose="020F0502020204030204" pitchFamily="34" charset="0"/>
                <a:cs typeface="Arial" panose="020B0604020202020204" pitchFamily="34" charset="0"/>
              </a:rPr>
              <a:t>, som gjelder politisk uenighet om hvor høye ytelsene bør være for å motvirke fattigdom og ulikhet uten i for stor grad å medføre negative arbeidsinsentiver. Dette handler om hvor man skal sette grensen for arbeidslinjens ambisjoner og om omfanget av aktivitetskrav.</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Andre politiske konfliktlinjer vil også berøre arbeids- og velferdspolitikken. Det gjelder blant annet </a:t>
            </a:r>
            <a:r>
              <a:rPr lang="nb-NO" sz="700" b="1">
                <a:solidFill>
                  <a:srgbClr val="000000"/>
                </a:solidFill>
                <a:effectLst/>
                <a:latin typeface="Arial" panose="020B0604020202020204" pitchFamily="34" charset="0"/>
                <a:ea typeface="MS Mincho" panose="02020609040205080304" pitchFamily="49" charset="-128"/>
                <a:cs typeface="Arial" panose="020B0604020202020204" pitchFamily="34" charset="0"/>
              </a:rPr>
              <a:t>klimapolitikken,</a:t>
            </a:r>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som har konsekvenser for tempo og virkemidler i omstillinger, og </a:t>
            </a:r>
            <a:r>
              <a:rPr lang="nb-NO" sz="700" b="1">
                <a:solidFill>
                  <a:srgbClr val="000000"/>
                </a:solidFill>
                <a:effectLst/>
                <a:latin typeface="Arial" panose="020B0604020202020204" pitchFamily="34" charset="0"/>
                <a:ea typeface="MS Mincho" panose="02020609040205080304" pitchFamily="49" charset="-128"/>
                <a:cs typeface="Arial" panose="020B0604020202020204" pitchFamily="34" charset="0"/>
              </a:rPr>
              <a:t>handels- og utenrikspolitikken,</a:t>
            </a:r>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der fare for nedskalering av brede internasjonale samarbeid kan gi mer regionalt samarbeid mellom land og debatt om Norges tilknytning til EU. På </a:t>
            </a:r>
            <a:r>
              <a:rPr lang="nb-NO" sz="700" b="1">
                <a:solidFill>
                  <a:srgbClr val="000000"/>
                </a:solidFill>
                <a:effectLst/>
                <a:latin typeface="Arial" panose="020B0604020202020204" pitchFamily="34" charset="0"/>
                <a:ea typeface="MS Mincho" panose="02020609040205080304" pitchFamily="49" charset="-128"/>
                <a:cs typeface="Arial" panose="020B0604020202020204" pitchFamily="34" charset="0"/>
              </a:rPr>
              <a:t>innvandringsfeltet</a:t>
            </a:r>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forventer vi fortsatt debatt om omfanget av innvandringen, integreringstiltak og kravene for å motta ytelser. I tillegg kan brå endringer skape situasjoner der myndighetene og NAV igjen må rigges for å ivareta flere nyankomne, noe som stiller større krav til koordinering. Vedvarende mangel på arbeidskraft kan også medføre endret politikk for arbeidsinnvandring fra land utenfor EU, slik man ser i enkelte andre EU-land.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Med økt sentralisering og en eldrebølge som rammer distriktene hardest, er det mye som tyder på at også </a:t>
            </a:r>
            <a:r>
              <a:rPr lang="nb-NO" sz="700" b="1">
                <a:solidFill>
                  <a:srgbClr val="000000"/>
                </a:solidFill>
                <a:effectLst/>
                <a:latin typeface="Arial" panose="020B0604020202020204" pitchFamily="34" charset="0"/>
                <a:ea typeface="MS Mincho" panose="02020609040205080304" pitchFamily="49" charset="-128"/>
                <a:cs typeface="Arial" panose="020B0604020202020204" pitchFamily="34" charset="0"/>
              </a:rPr>
              <a:t>sentrum/periferi</a:t>
            </a:r>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blir en sentral konfliktlinje. Her kan kommunesammenslåinger og sentralisering av NAV-kontorer og andre enheter i NAV bli sentrale stridsområder.</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 </a:t>
            </a:r>
          </a:p>
          <a:p>
            <a:r>
              <a:rPr lang="nb-NO" sz="700">
                <a:solidFill>
                  <a:srgbClr val="000000"/>
                </a:solidFill>
                <a:effectLst/>
                <a:latin typeface="Arial" panose="020B0604020202020204" pitchFamily="34" charset="0"/>
                <a:ea typeface="MS Mincho" panose="02020609040205080304" pitchFamily="49" charset="-128"/>
                <a:cs typeface="Arial" panose="020B0604020202020204" pitchFamily="34" charset="0"/>
              </a:rPr>
              <a:t>Innen digitaliseringspolitikken venter vi at ambisjonene om sammenhengende offentlige tjenester tilpasset den enkeltes livssituasjon, og at økt automatisering vil stå seg frem mot 2035. Det gir økt behov for datadeling, utvikling av regelverk og bedre finansieringsmodeller. Ambisjonen vil utfordres av styringsprinsipper som sektordeling og kommunalt selvstyre, hensyn til etikk og personvern, og ønsker om behovsprøving og målrettede ytelser.</a:t>
            </a:r>
            <a:endParaRPr lang="nb-NO" sz="700" u="none">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p:txBody>
      </p:sp>
      <p:sp>
        <p:nvSpPr>
          <p:cNvPr id="4" name="Plassholder for lysbildenummer 3"/>
          <p:cNvSpPr>
            <a:spLocks noGrp="1"/>
          </p:cNvSpPr>
          <p:nvPr>
            <p:ph type="sldNum" sz="quarter" idx="10"/>
          </p:nvPr>
        </p:nvSpPr>
        <p:spPr/>
        <p:txBody>
          <a:bodyPr/>
          <a:lstStyle/>
          <a:p>
            <a:fld id="{CC095B44-202A-4978-9C5A-42D88216F05F}" type="slidenum">
              <a:rPr lang="nb-NO" smtClean="0"/>
              <a:t>55</a:t>
            </a:fld>
            <a:endParaRPr lang="nb-NO"/>
          </a:p>
        </p:txBody>
      </p:sp>
    </p:spTree>
    <p:extLst>
      <p:ext uri="{BB962C8B-B14F-4D97-AF65-F5344CB8AC3E}">
        <p14:creationId xmlns:p14="http://schemas.microsoft.com/office/powerpoint/2010/main" val="11184551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cs typeface="Arial" panose="020B0604020202020204" pitchFamily="34" charset="0"/>
              </a:rPr>
              <a:t>Vi venter at de store samfunnsutfordringene knyttet til omstilling, inkludering og velferdsstatens bærekraft vil prege arbeids- og velferdspolitikken til 2035. </a:t>
            </a:r>
          </a:p>
          <a:p>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900">
                <a:effectLst/>
                <a:latin typeface="Arial" panose="020B0604020202020204" pitchFamily="34" charset="0"/>
                <a:ea typeface="MS Mincho" panose="02020609040205080304" pitchFamily="49" charset="-128"/>
                <a:cs typeface="Arial" panose="020B0604020202020204" pitchFamily="34" charset="0"/>
              </a:rPr>
              <a:t>Kompetansepolitikken blir trolig enda viktigere framover, spesielt som følge av teknologisk utvikling og det grønne skiftet. Her forventer vi økt satsing på etter- og videreutdanning. Når det gjelder inkludering av utsatte grupper i arbeidslivet, tror vi fortsatt enkelte grupper av innvandrere og unge med manglende formell kompetanse vil bli prioritert. Innvandring krever både integrering og kompetanseutvikling, hvor bedre og tidligere tilgang til videregående utdanning og fagbrev kan være aktuelle tiltak. For å fange opp unge som er i fare for å bli stående varig utenfor arbeidsmarkedet, vil aktuelle tiltak være lettere tilgang til læreplasser og tettere oppfølging.</a:t>
            </a:r>
          </a:p>
          <a:p>
            <a:endParaRPr lang="nb-NO" sz="900">
              <a:effectLst/>
              <a:latin typeface="Arial" panose="020B0604020202020204" pitchFamily="34" charset="0"/>
              <a:ea typeface="MS Mincho" panose="02020609040205080304" pitchFamily="49" charset="-128"/>
              <a:cs typeface="Arial" panose="020B0604020202020204" pitchFamily="34" charset="0"/>
            </a:endParaRPr>
          </a:p>
          <a:p>
            <a:r>
              <a:rPr lang="nb-NO" sz="900">
                <a:effectLst/>
                <a:latin typeface="Arial" panose="020B0604020202020204" pitchFamily="34" charset="0"/>
                <a:ea typeface="MS Mincho" panose="02020609040205080304" pitchFamily="49" charset="-128"/>
                <a:cs typeface="Arial" panose="020B0604020202020204" pitchFamily="34" charset="0"/>
              </a:rPr>
              <a:t>En av de dominerende politiske utfordringene frem mot 2035 blir å sikre velferdsstatens bærekraft. I avveiningen mellom trygge velferdsordninger og økonomisk bærekraft står politikerne overfor tøffe prioriteringer. Handlingsalternativene er lavere velferdsytelser/redusert tjenestetilbud, økte skatter og avgifter, tiltak som gir økt sysselsetting og effektivisering av offentlig sektor. Politiske partier har ulike syn på hvilke virkemidler som er best egnet, men utfordringene er så store at flere av virkemidlene må kombineres.</a:t>
            </a:r>
          </a:p>
          <a:p>
            <a:endParaRPr lang="nb-NO" sz="9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1802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effectLst/>
                <a:latin typeface="Arial" panose="020B0604020202020204" pitchFamily="34" charset="0"/>
                <a:ea typeface="MS Mincho" panose="02020609040205080304" pitchFamily="49" charset="-128"/>
                <a:cs typeface="Arial" panose="020B0604020202020204" pitchFamily="34" charset="0"/>
              </a:rPr>
              <a:t>Det ventes å fortsatt være tverrpolitisk enighet om mange av de grunnleggende trekkene i arbeids- og velferdspolitikken. Noen vedvarende konfliktlinjer ventes likevel å gjøre seg gjeldende også framover:</a:t>
            </a:r>
          </a:p>
          <a:p>
            <a:pPr marL="342900" lvl="0" indent="-342900">
              <a:lnSpc>
                <a:spcPct val="115000"/>
              </a:lnSpc>
              <a:buFont typeface="Symbol" panose="05050102010706020507" pitchFamily="18" charset="2"/>
              <a:buChar char=""/>
            </a:pPr>
            <a:r>
              <a:rPr lang="nb-NO" sz="900">
                <a:effectLst/>
                <a:latin typeface="Arial" panose="020B0604020202020204" pitchFamily="34" charset="0"/>
                <a:ea typeface="Calibri" panose="020F0502020204030204" pitchFamily="34" charset="0"/>
                <a:cs typeface="Arial" panose="020B0604020202020204" pitchFamily="34" charset="0"/>
              </a:rPr>
              <a:t>Større behov for helse- og omsorgstjenester og strammere økonomiske rammer vil trolig forsterke debatten om </a:t>
            </a:r>
            <a:r>
              <a:rPr lang="nb-NO" sz="900" b="1">
                <a:effectLst/>
                <a:latin typeface="Arial" panose="020B0604020202020204" pitchFamily="34" charset="0"/>
                <a:ea typeface="Calibri" panose="020F0502020204030204" pitchFamily="34" charset="0"/>
                <a:cs typeface="Arial" panose="020B0604020202020204" pitchFamily="34" charset="0"/>
              </a:rPr>
              <a:t>offentlige eller private løsninger</a:t>
            </a:r>
            <a:r>
              <a:rPr lang="nb-NO" sz="900">
                <a:effectLst/>
                <a:latin typeface="Arial" panose="020B0604020202020204" pitchFamily="34" charset="0"/>
                <a:ea typeface="Calibri" panose="020F0502020204030204" pitchFamily="34" charset="0"/>
                <a:cs typeface="Arial" panose="020B0604020202020204" pitchFamily="34" charset="0"/>
              </a:rPr>
              <a:t>, også for NAV. I befolkningen er det en sterk og økende skepsis til privatisering av offentlige tjenester, samtidig som mange er positive til private velferdstjenester som et supplement til offentlige tilbud.</a:t>
            </a:r>
            <a:r>
              <a:rPr lang="en-US" sz="900">
                <a:effectLst/>
                <a:latin typeface="Arial" panose="020B0604020202020204" pitchFamily="34" charset="0"/>
                <a:ea typeface="Times New Roman" panose="02020603050405020304" pitchFamily="18" charset="0"/>
                <a:cs typeface="Arial" panose="020B0604020202020204" pitchFamily="34" charset="0"/>
              </a:rPr>
              <a:t> </a:t>
            </a:r>
            <a:endParaRPr lang="nb-NO" sz="900">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nb-NO" sz="900">
                <a:effectLst/>
                <a:latin typeface="Arial" panose="020B0604020202020204" pitchFamily="34" charset="0"/>
                <a:ea typeface="Calibri" panose="020F0502020204030204" pitchFamily="34" charset="0"/>
                <a:cs typeface="Arial" panose="020B0604020202020204" pitchFamily="34" charset="0"/>
              </a:rPr>
              <a:t>De store universelle ordningene ventes å ligge fast, men det vil være uenighet om graden av </a:t>
            </a:r>
            <a:r>
              <a:rPr lang="nb-NO" sz="900" b="1">
                <a:effectLst/>
                <a:latin typeface="Arial" panose="020B0604020202020204" pitchFamily="34" charset="0"/>
                <a:ea typeface="Calibri" panose="020F0502020204030204" pitchFamily="34" charset="0"/>
                <a:cs typeface="Arial" panose="020B0604020202020204" pitchFamily="34" charset="0"/>
              </a:rPr>
              <a:t>universelle ytelser versus mer behovsprøving</a:t>
            </a:r>
            <a:r>
              <a:rPr lang="nb-NO" sz="900">
                <a:effectLst/>
                <a:latin typeface="Arial" panose="020B0604020202020204" pitchFamily="34" charset="0"/>
                <a:ea typeface="Calibri" panose="020F0502020204030204" pitchFamily="34" charset="0"/>
                <a:cs typeface="Arial" panose="020B0604020202020204" pitchFamily="34" charset="0"/>
              </a:rPr>
              <a:t> eller tilpasning til spesifikke målgrupper gjennom politisk detaljstyring.</a:t>
            </a:r>
          </a:p>
          <a:p>
            <a:pPr marL="342900" lvl="0" indent="-342900">
              <a:lnSpc>
                <a:spcPct val="115000"/>
              </a:lnSpc>
              <a:spcAft>
                <a:spcPts val="1000"/>
              </a:spcAft>
              <a:buFont typeface="Symbol" panose="05050102010706020507" pitchFamily="18" charset="2"/>
              <a:buChar char=""/>
            </a:pPr>
            <a:r>
              <a:rPr lang="nb-NO" sz="900">
                <a:effectLst/>
                <a:latin typeface="Arial" panose="020B0604020202020204" pitchFamily="34" charset="0"/>
                <a:ea typeface="Calibri" panose="020F0502020204030204" pitchFamily="34" charset="0"/>
                <a:cs typeface="Arial" panose="020B0604020202020204" pitchFamily="34" charset="0"/>
              </a:rPr>
              <a:t>Avveiningen mellom </a:t>
            </a:r>
            <a:r>
              <a:rPr lang="nb-NO" sz="900" b="1">
                <a:effectLst/>
                <a:latin typeface="Arial" panose="020B0604020202020204" pitchFamily="34" charset="0"/>
                <a:ea typeface="Calibri" panose="020F0502020204030204" pitchFamily="34" charset="0"/>
                <a:cs typeface="Arial" panose="020B0604020202020204" pitchFamily="34" charset="0"/>
              </a:rPr>
              <a:t>ytelsesnivåer og insentiver</a:t>
            </a:r>
            <a:r>
              <a:rPr lang="nb-NO" sz="900">
                <a:effectLst/>
                <a:latin typeface="Arial" panose="020B0604020202020204" pitchFamily="34" charset="0"/>
                <a:ea typeface="Calibri" panose="020F0502020204030204" pitchFamily="34" charset="0"/>
                <a:cs typeface="Arial" panose="020B0604020202020204" pitchFamily="34" charset="0"/>
              </a:rPr>
              <a:t>, som gjelder politisk uenighet om hvor høye ytelsene bør være for å motvirke fattigdom og ulikhet uten i for stor grad å medføre negative arbeidsinsentiver. Dette handler om hvor man skal sette grensen for arbeidslinjens ambisjoner. Det samme gjelder omfanget av aktivitetskrav og tiltak overfor de som står utenfor arbeidslivet.</a:t>
            </a:r>
          </a:p>
          <a:p>
            <a:r>
              <a:rPr lang="nb-NO" sz="900">
                <a:effectLst/>
                <a:latin typeface="Arial" panose="020B0604020202020204" pitchFamily="34" charset="0"/>
                <a:ea typeface="MS Mincho" panose="02020609040205080304" pitchFamily="49" charset="-128"/>
                <a:cs typeface="Arial" panose="020B0604020202020204" pitchFamily="34" charset="0"/>
              </a:rPr>
              <a:t>Andre viktige politiske konfliktlinjer vil også berøre arbeids- og velferdspolitikken:</a:t>
            </a:r>
          </a:p>
          <a:p>
            <a:pPr marL="342900" lvl="0" indent="-342900">
              <a:lnSpc>
                <a:spcPct val="115000"/>
              </a:lnSpc>
              <a:buFont typeface="Symbol" panose="05050102010706020507" pitchFamily="18" charset="2"/>
              <a:buChar char=""/>
            </a:pPr>
            <a:r>
              <a:rPr lang="nb-NO" sz="900" b="1">
                <a:effectLst/>
                <a:latin typeface="Arial" panose="020B0604020202020204" pitchFamily="34" charset="0"/>
                <a:ea typeface="Calibri" panose="020F0502020204030204" pitchFamily="34" charset="0"/>
                <a:cs typeface="Arial" panose="020B0604020202020204" pitchFamily="34" charset="0"/>
              </a:rPr>
              <a:t>Klimapolitikk</a:t>
            </a:r>
            <a:r>
              <a:rPr lang="nb-NO" sz="900">
                <a:effectLst/>
                <a:latin typeface="Arial" panose="020B0604020202020204" pitchFamily="34" charset="0"/>
                <a:ea typeface="Calibri" panose="020F0502020204030204" pitchFamily="34" charset="0"/>
                <a:cs typeface="Arial" panose="020B0604020202020204" pitchFamily="34" charset="0"/>
              </a:rPr>
              <a:t> og veivalg i tilknytning til det grønne skiftet vil ha konsekvenser for tempoet i omstillingene, virkemidlene som brukes og ansvarsfordelingen mellom næringslivet og myndigheter.</a:t>
            </a:r>
          </a:p>
          <a:p>
            <a:pPr marL="342900" lvl="0" indent="-342900">
              <a:lnSpc>
                <a:spcPct val="115000"/>
              </a:lnSpc>
              <a:buFont typeface="Symbol" panose="05050102010706020507" pitchFamily="18" charset="2"/>
              <a:buChar char=""/>
            </a:pPr>
            <a:r>
              <a:rPr lang="nb-NO" sz="900">
                <a:effectLst/>
                <a:latin typeface="Arial" panose="020B0604020202020204" pitchFamily="34" charset="0"/>
                <a:ea typeface="Calibri" panose="020F0502020204030204" pitchFamily="34" charset="0"/>
                <a:cs typeface="Arial" panose="020B0604020202020204" pitchFamily="34" charset="0"/>
              </a:rPr>
              <a:t>Usikre tider med fare for nedskalering eller endring av </a:t>
            </a:r>
            <a:r>
              <a:rPr lang="nb-NO" sz="900" b="1">
                <a:effectLst/>
                <a:latin typeface="Arial" panose="020B0604020202020204" pitchFamily="34" charset="0"/>
                <a:ea typeface="Calibri" panose="020F0502020204030204" pitchFamily="34" charset="0"/>
                <a:cs typeface="Arial" panose="020B0604020202020204" pitchFamily="34" charset="0"/>
              </a:rPr>
              <a:t>internasjonalt</a:t>
            </a:r>
            <a:r>
              <a:rPr lang="nb-NO" sz="900">
                <a:effectLst/>
                <a:latin typeface="Arial" panose="020B0604020202020204" pitchFamily="34" charset="0"/>
                <a:ea typeface="Calibri" panose="020F0502020204030204" pitchFamily="34" charset="0"/>
                <a:cs typeface="Arial" panose="020B0604020202020204" pitchFamily="34" charset="0"/>
              </a:rPr>
              <a:t> </a:t>
            </a:r>
            <a:r>
              <a:rPr lang="nb-NO" sz="900" b="1">
                <a:effectLst/>
                <a:latin typeface="Arial" panose="020B0604020202020204" pitchFamily="34" charset="0"/>
                <a:ea typeface="Calibri" panose="020F0502020204030204" pitchFamily="34" charset="0"/>
                <a:cs typeface="Arial" panose="020B0604020202020204" pitchFamily="34" charset="0"/>
              </a:rPr>
              <a:t>samarbeid</a:t>
            </a:r>
            <a:r>
              <a:rPr lang="nb-NO" sz="900">
                <a:effectLst/>
                <a:latin typeface="Arial" panose="020B0604020202020204" pitchFamily="34" charset="0"/>
                <a:ea typeface="Calibri" panose="020F0502020204030204" pitchFamily="34" charset="0"/>
                <a:cs typeface="Arial" panose="020B0604020202020204" pitchFamily="34" charset="0"/>
              </a:rPr>
              <a:t> vil gi debatt om Norges forhold til internasjonal handel og tilknytningen til EU, med konsekvensene dette kan ha for norsk arbeidsliv</a:t>
            </a:r>
            <a:r>
              <a:rPr lang="en-US" sz="900">
                <a:effectLst/>
                <a:latin typeface="Arial" panose="020B0604020202020204" pitchFamily="34" charset="0"/>
                <a:ea typeface="Times New Roman" panose="02020603050405020304" pitchFamily="18" charset="0"/>
                <a:cs typeface="Arial" panose="020B0604020202020204" pitchFamily="34" charset="0"/>
              </a:rPr>
              <a:t> </a:t>
            </a:r>
            <a:r>
              <a:rPr lang="nb-NO" sz="900">
                <a:effectLst/>
                <a:latin typeface="Arial" panose="020B0604020202020204" pitchFamily="34" charset="0"/>
                <a:ea typeface="Calibri" panose="020F0502020204030204" pitchFamily="34" charset="0"/>
                <a:cs typeface="Arial" panose="020B0604020202020204" pitchFamily="34" charset="0"/>
              </a:rPr>
              <a:t>.</a:t>
            </a:r>
          </a:p>
          <a:p>
            <a:pPr marL="342900" lvl="0" indent="-342900">
              <a:lnSpc>
                <a:spcPct val="115000"/>
              </a:lnSpc>
              <a:buFont typeface="Symbol" panose="05050102010706020507" pitchFamily="18" charset="2"/>
              <a:buChar char=""/>
            </a:pPr>
            <a:r>
              <a:rPr lang="nb-NO" sz="900">
                <a:effectLst/>
                <a:latin typeface="Arial" panose="020B0604020202020204" pitchFamily="34" charset="0"/>
                <a:ea typeface="Calibri" panose="020F0502020204030204" pitchFamily="34" charset="0"/>
                <a:cs typeface="Arial" panose="020B0604020202020204" pitchFamily="34" charset="0"/>
              </a:rPr>
              <a:t>På </a:t>
            </a:r>
            <a:r>
              <a:rPr lang="nb-NO" sz="900" b="1">
                <a:effectLst/>
                <a:latin typeface="Arial" panose="020B0604020202020204" pitchFamily="34" charset="0"/>
                <a:ea typeface="Calibri" panose="020F0502020204030204" pitchFamily="34" charset="0"/>
                <a:cs typeface="Arial" panose="020B0604020202020204" pitchFamily="34" charset="0"/>
              </a:rPr>
              <a:t>innvandringsfeltet</a:t>
            </a:r>
            <a:r>
              <a:rPr lang="nb-NO" sz="900">
                <a:effectLst/>
                <a:latin typeface="Arial" panose="020B0604020202020204" pitchFamily="34" charset="0"/>
                <a:ea typeface="Calibri" panose="020F0502020204030204" pitchFamily="34" charset="0"/>
                <a:cs typeface="Arial" panose="020B0604020202020204" pitchFamily="34" charset="0"/>
              </a:rPr>
              <a:t> forventer vi fortsatt debatt om omfang, integreringstiltak og hvilke krav som skal stilles for å motta ytelser. I tillegg kan brå endringer skape situasjoner der myndighetene og NAV igjen må rigges for å ivareta flere nyankomne, noe som stille større krav til koordinering mellom NAV og andre berørte parter</a:t>
            </a:r>
          </a:p>
          <a:p>
            <a:pPr marL="342900" lvl="0" indent="-342900">
              <a:lnSpc>
                <a:spcPct val="115000"/>
              </a:lnSpc>
              <a:spcAft>
                <a:spcPts val="1000"/>
              </a:spcAft>
              <a:buFont typeface="Symbol" panose="05050102010706020507" pitchFamily="18" charset="2"/>
              <a:buChar char=""/>
            </a:pPr>
            <a:r>
              <a:rPr lang="nb-NO" sz="900">
                <a:effectLst/>
                <a:latin typeface="Arial" panose="020B0604020202020204" pitchFamily="34" charset="0"/>
                <a:ea typeface="Calibri" panose="020F0502020204030204" pitchFamily="34" charset="0"/>
                <a:cs typeface="Arial" panose="020B0604020202020204" pitchFamily="34" charset="0"/>
              </a:rPr>
              <a:t>Med økt sentralisering og en eldrebølge som rammer distriktene hardest, er det mye som tyder på at også </a:t>
            </a:r>
            <a:r>
              <a:rPr lang="nb-NO" sz="900" b="1">
                <a:effectLst/>
                <a:latin typeface="Arial" panose="020B0604020202020204" pitchFamily="34" charset="0"/>
                <a:ea typeface="Calibri" panose="020F0502020204030204" pitchFamily="34" charset="0"/>
                <a:cs typeface="Arial" panose="020B0604020202020204" pitchFamily="34" charset="0"/>
              </a:rPr>
              <a:t>sentrum/periferi</a:t>
            </a:r>
            <a:r>
              <a:rPr lang="nb-NO" sz="900">
                <a:effectLst/>
                <a:latin typeface="Arial" panose="020B0604020202020204" pitchFamily="34" charset="0"/>
                <a:ea typeface="Calibri" panose="020F0502020204030204" pitchFamily="34" charset="0"/>
                <a:cs typeface="Arial" panose="020B0604020202020204" pitchFamily="34" charset="0"/>
              </a:rPr>
              <a:t> blir en sentral konfliktlinje i årene som kommer. Her dreier diskusjonen seg om grunnleggende velferdstjenester koblet til distriktspolitikken, hvor kommunesammenslåinger og sentralisering av NAV-kontorer og andre enheter i NAV kan bli sentrale stridsområder.</a:t>
            </a:r>
          </a:p>
          <a:p>
            <a:pPr marL="342900" lvl="0" indent="-342900">
              <a:lnSpc>
                <a:spcPct val="115000"/>
              </a:lnSpc>
              <a:spcAft>
                <a:spcPts val="1000"/>
              </a:spcAft>
              <a:buFont typeface="Symbol" panose="05050102010706020507" pitchFamily="18" charset="2"/>
              <a:buChar char=""/>
            </a:pPr>
            <a:endParaRPr lang="nb-NO" sz="900">
              <a:effectLst/>
              <a:latin typeface="Arial" panose="020B0604020202020204" pitchFamily="34" charset="0"/>
              <a:ea typeface="Calibri" panose="020F0502020204030204" pitchFamily="34" charset="0"/>
              <a:cs typeface="Arial" panose="020B0604020202020204" pitchFamily="34" charset="0"/>
            </a:endParaRPr>
          </a:p>
          <a:p>
            <a:r>
              <a:rPr lang="nb-NO" sz="900" u="none">
                <a:solidFill>
                  <a:srgbClr val="0000FF"/>
                </a:solidFill>
                <a:effectLst/>
                <a:latin typeface="Arial" panose="020B0604020202020204" pitchFamily="34" charset="0"/>
                <a:ea typeface="MS Mincho" panose="02020609040205080304" pitchFamily="49" charset="-128"/>
                <a:cs typeface="Arial" panose="020B0604020202020204" pitchFamily="34" charset="0"/>
              </a:rPr>
              <a:t>Den norske arbeidslivs- og velferdsmodellen forutsetter at innbyggerne har tillit til politikerne og institusjonene. </a:t>
            </a:r>
            <a:r>
              <a:rPr lang="nb-NO" sz="900" u="none">
                <a:effectLst/>
                <a:latin typeface="Arial" panose="020B0604020202020204" pitchFamily="34" charset="0"/>
                <a:ea typeface="MS Mincho" panose="02020609040205080304" pitchFamily="49" charset="-128"/>
                <a:cs typeface="Arial" panose="020B0604020202020204" pitchFamily="34" charset="0"/>
              </a:rPr>
              <a:t>Internasjonalt </a:t>
            </a:r>
            <a:r>
              <a:rPr lang="nb-NO" sz="900">
                <a:effectLst/>
                <a:latin typeface="Arial" panose="020B0604020202020204" pitchFamily="34" charset="0"/>
                <a:ea typeface="MS Mincho" panose="02020609040205080304" pitchFamily="49" charset="-128"/>
                <a:cs typeface="Arial" panose="020B0604020202020204" pitchFamily="34" charset="0"/>
              </a:rPr>
              <a:t>har synkende politisk tillit, økt polarisering og populisme vært mye omtalte fenomener de siste årene. Dette har fram til nylig vært begrensede faktorer i norsk sammenheng, blant annet på grunn av omfattende velferdsordninger og institusjonalisert samarbeid i arbeidslivet. Krigen i Ukraina og etterfølgende økning blant annet i strøm- og matvarepriser har ført til en skarpere tone i den offentlige debatten i Norge. Vi vurderer at det nå er økt risiko for polarisering og lavere tillit også i Norge, men det avhenger av konfliktnivået internasjonalt og i hvilken grad den usikre økonomiske utviklingen og den høye inflasjonen vedvarer. Det kan føre til flere brå skifter i arbeids- og velferdspolitikken, der politikken styres mer som respons på kriser og akutte situasjoner.</a:t>
            </a:r>
            <a:r>
              <a:rPr lang="en-US" sz="900">
                <a:effectLst/>
                <a:latin typeface="Arial" panose="020B0604020202020204" pitchFamily="34" charset="0"/>
                <a:ea typeface="Times New Roman" panose="02020603050405020304" pitchFamily="18" charset="0"/>
                <a:cs typeface="Arial" panose="020B0604020202020204" pitchFamily="34" charset="0"/>
              </a:rPr>
              <a:t> </a:t>
            </a:r>
            <a:endParaRPr lang="nb-NO" sz="900">
              <a:effectLst/>
              <a:latin typeface="Arial" panose="020B0604020202020204" pitchFamily="34" charset="0"/>
              <a:ea typeface="MS Mincho" panose="02020609040205080304" pitchFamily="49" charset="-128"/>
              <a:cs typeface="Arial" panose="020B0604020202020204" pitchFamily="34" charset="0"/>
            </a:endParaRPr>
          </a:p>
          <a:p>
            <a:r>
              <a:rPr lang="nb-NO" sz="900">
                <a:effectLst/>
                <a:latin typeface="Arial" panose="020B0604020202020204" pitchFamily="34" charset="0"/>
                <a:ea typeface="MS Mincho" panose="02020609040205080304" pitchFamily="49" charset="-128"/>
                <a:cs typeface="Arial" panose="020B0604020202020204" pitchFamily="34" charset="0"/>
              </a:rPr>
              <a:t> </a:t>
            </a:r>
          </a:p>
          <a:p>
            <a:r>
              <a:rPr lang="nb-NO" sz="900">
                <a:effectLst/>
                <a:latin typeface="Arial" panose="020B0604020202020204" pitchFamily="34" charset="0"/>
                <a:ea typeface="MS Mincho" panose="02020609040205080304" pitchFamily="49" charset="-128"/>
                <a:cs typeface="Arial" panose="020B0604020202020204" pitchFamily="34" charset="0"/>
              </a:rPr>
              <a:t>Nylige tillitsreformer i flere naboland etterfulgt av den pågående norske reformen viser at mindre sentral styring og økt satsing på lokal tjenesteutvikling for å nå målene for offentlig forvaltning også er en trend vi tror vil fortsette. For NAV vil det kreve en kunnskapsbasert tilnærming gjennom forsøk fulgt opp av evalueringer.</a:t>
            </a:r>
            <a:endParaRPr lang="nb-NO" sz="90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6316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effectLst/>
                <a:latin typeface="Arial" panose="020B0604020202020204" pitchFamily="34" charset="0"/>
                <a:ea typeface="MS Mincho" panose="02020609040205080304" pitchFamily="49" charset="-128"/>
                <a:cs typeface="Arial" panose="020B0604020202020204" pitchFamily="34" charset="0"/>
              </a:rPr>
              <a:t>EU ventes å spille en sterkere rolle for Norge som global aktør i en mer usikker verden, som handelspartner og innen beredskaps-, personvern- og IKT-/digitaliseringspolitikk. EU tar også en mer aktiv rolle i anbefalinger og handlingsplaner innen arbeids- og velferdspolitikk og kompetansepolitikk som vil påvirke mer indirek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effectLst/>
                <a:latin typeface="Arial" panose="020B0604020202020204" pitchFamily="34" charset="0"/>
                <a:ea typeface="MS Mincho" panose="02020609040205080304" pitchFamily="49" charset="-128"/>
                <a:cs typeface="Arial" panose="020B0604020202020204" pitchFamily="34" charset="0"/>
              </a:rPr>
              <a:t>I en mer usikker verden blir forholdet til Europa og EU trolig viktigere i årene som kommer. EU fører en gradvis enn mer aktiv politikk innen områder av relevans for NAV som arbeids- og velferdspolitikk, kompetansepolitikk og IKT-/digitaliseringspolitikk. Det skjer delvis gjennom direktiver som gjelder alle medlemslandene og som ofte også vil gjelde Norge gjennom EØS-avtalen. Delvis skjer det gjennom «soft </a:t>
            </a:r>
            <a:r>
              <a:rPr lang="nb-NO" sz="900" err="1">
                <a:effectLst/>
                <a:latin typeface="Arial" panose="020B0604020202020204" pitchFamily="34" charset="0"/>
                <a:ea typeface="MS Mincho" panose="02020609040205080304" pitchFamily="49" charset="-128"/>
                <a:cs typeface="Arial" panose="020B0604020202020204" pitchFamily="34" charset="0"/>
              </a:rPr>
              <a:t>politics</a:t>
            </a:r>
            <a:r>
              <a:rPr lang="nb-NO" sz="900">
                <a:effectLst/>
                <a:latin typeface="Arial" panose="020B0604020202020204" pitchFamily="34" charset="0"/>
                <a:ea typeface="MS Mincho" panose="02020609040205080304" pitchFamily="49" charset="-128"/>
                <a:cs typeface="Arial" panose="020B0604020202020204" pitchFamily="34" charset="0"/>
              </a:rPr>
              <a:t>», som er i form av anbefalinger til medlemslandene, men som også vil kunne påvirke Norge mer indirek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6135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b-NO" sz="900">
                <a:effectLst/>
                <a:latin typeface="Arial" panose="020B0604020202020204" pitchFamily="34" charset="0"/>
                <a:ea typeface="MS Mincho" panose="02020609040205080304" pitchFamily="49" charset="-128"/>
                <a:cs typeface="Arial" panose="020B0604020202020204" pitchFamily="34" charset="0"/>
              </a:rPr>
              <a:t>Forventningene til NAV framover er blant annet at vi tilbyr tjenester som legger til rette for </a:t>
            </a:r>
            <a:r>
              <a:rPr lang="nb-NO" sz="900" b="1">
                <a:effectLst/>
                <a:latin typeface="Arial" panose="020B0604020202020204" pitchFamily="34" charset="0"/>
                <a:ea typeface="MS Mincho" panose="02020609040205080304" pitchFamily="49" charset="-128"/>
                <a:cs typeface="Arial" panose="020B0604020202020204" pitchFamily="34" charset="0"/>
              </a:rPr>
              <a:t>omstilling og kompetanseutvikling </a:t>
            </a:r>
            <a:r>
              <a:rPr lang="nb-NO" sz="900" b="0">
                <a:effectLst/>
                <a:latin typeface="Arial" panose="020B0604020202020204" pitchFamily="34" charset="0"/>
                <a:ea typeface="MS Mincho" panose="02020609040205080304" pitchFamily="49" charset="-128"/>
                <a:cs typeface="Arial" panose="020B0604020202020204" pitchFamily="34" charset="0"/>
              </a:rPr>
              <a:t>og</a:t>
            </a:r>
            <a:r>
              <a:rPr lang="nb-NO" sz="900" b="1">
                <a:effectLst/>
                <a:latin typeface="Arial" panose="020B0604020202020204" pitchFamily="34" charset="0"/>
                <a:ea typeface="MS Mincho" panose="02020609040205080304" pitchFamily="49" charset="-128"/>
                <a:cs typeface="Arial" panose="020B0604020202020204" pitchFamily="34" charset="0"/>
              </a:rPr>
              <a:t> </a:t>
            </a:r>
            <a:r>
              <a:rPr lang="nb-NO" sz="900">
                <a:effectLst/>
                <a:latin typeface="Arial" panose="020B0604020202020204" pitchFamily="34" charset="0"/>
                <a:ea typeface="MS Mincho" panose="02020609040205080304" pitchFamily="49" charset="-128"/>
                <a:cs typeface="Arial" panose="020B0604020202020204" pitchFamily="34" charset="0"/>
              </a:rPr>
              <a:t>for å fremme mobilitet i arbeidsliv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effectLst/>
                <a:latin typeface="Arial" panose="020B0604020202020204" pitchFamily="34" charset="0"/>
                <a:ea typeface="MS Mincho" panose="02020609040205080304" pitchFamily="49" charset="-128"/>
                <a:cs typeface="Arial" panose="020B0604020202020204" pitchFamily="34" charset="0"/>
              </a:rPr>
              <a:t>Det har blitt større adgang til å kombinere dagpenger og utdanning under koronakrisen, og kombinasjoner av trygdeordninger og kompetanseutvikling kan være sannsynlig politikk også framov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kern="120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effectLst/>
                <a:latin typeface="Arial" panose="020B0604020202020204" pitchFamily="34" charset="0"/>
                <a:ea typeface="Calibri" panose="020F0502020204030204" pitchFamily="34" charset="0"/>
                <a:cs typeface="Arial" panose="020B0604020202020204" pitchFamily="34" charset="0"/>
              </a:rPr>
              <a:t>En annen forventning til det offentlige er bedre koordinerte tjenester fordi brukene forventer det, og fordi samfunnsutfordringene treffer bredt. For å få til det vil det bli nødvendig </a:t>
            </a:r>
            <a:r>
              <a:rPr lang="nb-NO" sz="900">
                <a:effectLst/>
                <a:latin typeface="Arial" panose="020B0604020202020204" pitchFamily="34" charset="0"/>
                <a:ea typeface="MS Mincho" panose="02020609040205080304" pitchFamily="49" charset="-128"/>
                <a:cs typeface="Arial" panose="020B0604020202020204" pitchFamily="34" charset="0"/>
              </a:rPr>
              <a:t>med regelverksendringer og kanskje nedbygging av organisatoriske barrierer. I forslaget til ny forvaltningslov er nettopp samarbeid mellom forvaltningsorganer et viktig tema, og det er blant annet foreslått visse lempinger i taushetsplikten, som kan gjøre samhandling lettere. Samtidig vil økt samhandling avhenge av politisk vilje og politisk styr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effectLst/>
                <a:latin typeface="Arial" panose="020B0604020202020204" pitchFamily="34" charset="0"/>
                <a:ea typeface="MS Mincho" panose="02020609040205080304" pitchFamily="49" charset="-128"/>
                <a:cs typeface="Arial" panose="020B0604020202020204" pitchFamily="34" charset="0"/>
              </a:rPr>
              <a:t>Økt samhandling går også hånd i hånd med </a:t>
            </a:r>
            <a:r>
              <a:rPr lang="nb-NO" sz="900" b="1">
                <a:effectLst/>
                <a:latin typeface="Arial" panose="020B0604020202020204" pitchFamily="34" charset="0"/>
                <a:ea typeface="MS Mincho" panose="02020609040205080304" pitchFamily="49" charset="-128"/>
                <a:cs typeface="Arial" panose="020B0604020202020204" pitchFamily="34" charset="0"/>
              </a:rPr>
              <a:t>digitalisering</a:t>
            </a:r>
            <a:r>
              <a:rPr lang="nb-NO" sz="900">
                <a:effectLst/>
                <a:latin typeface="Arial" panose="020B0604020202020204" pitchFamily="34" charset="0"/>
                <a:ea typeface="MS Mincho" panose="02020609040205080304" pitchFamily="49" charset="-128"/>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effectLst/>
                <a:latin typeface="Arial" panose="020B0604020202020204" pitchFamily="34" charset="0"/>
                <a:ea typeface="MS Mincho" panose="02020609040205080304" pitchFamily="49" charset="-128"/>
                <a:cs typeface="Arial" panose="020B0604020202020204" pitchFamily="34" charset="0"/>
              </a:rPr>
              <a:t>Det er da ofte nødvendig med forenklinger og tilpasninger av regelverket. Selv om også kompliserte regler kan automatiseres, er det ofte mer ressurskrevend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900">
                <a:effectLst/>
                <a:latin typeface="Arial" panose="020B0604020202020204" pitchFamily="34" charset="0"/>
                <a:ea typeface="MS Mincho" panose="02020609040205080304" pitchFamily="49" charset="-128"/>
                <a:cs typeface="Arial" panose="020B0604020202020204" pitchFamily="34" charset="0"/>
              </a:rPr>
              <a:t>Enklere regler er også lettere å forstå for brukerne av tjenestene. Samtidig vil forenklinger noen ganger ha negative konsekvenser for enkelte, og det vil også ofte være politiske ønsker om større fleksibilitet og mer målrettede ytelser. Det kan være forhold som kan gjøre det vanskeligere å få til forenkling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788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nb-NO" sz="750" b="1">
                <a:effectLst/>
                <a:latin typeface="Arial" panose="020B0604020202020204" pitchFamily="34" charset="0"/>
                <a:ea typeface="MS Mincho" panose="02020609040205080304" pitchFamily="49" charset="-128"/>
                <a:cs typeface="Arial" panose="020B0604020202020204" pitchFamily="34" charset="0"/>
              </a:rPr>
              <a:t>Aldring og sentralisering utfordrer velferdsstaten og NAV</a:t>
            </a:r>
          </a:p>
          <a:p>
            <a:pPr lvl="0"/>
            <a:r>
              <a:rPr lang="nb-NO" sz="750">
                <a:effectLst/>
                <a:latin typeface="Arial" panose="020B0604020202020204" pitchFamily="34" charset="0"/>
                <a:ea typeface="MS Mincho" panose="02020609040205080304" pitchFamily="49" charset="-128"/>
                <a:cs typeface="Arial" panose="020B0604020202020204" pitchFamily="34" charset="0"/>
              </a:rPr>
              <a:t>Befolkningen øker langsommere enn før, mens aldringen blir sterkere som følge av lavere fødselstall og en forventet lavere nettoinnvandring. Aldersgruppen over 67 år ventes å øke med drøyt 30 prosent til 2035, mot 5 prosent vekst for befolkningen i alt. Det ventes en moderat befolkningsvekst på 2 prosent fram mot 2035 for personer i yrkesaktiv alder. 3 av 4 ansatte i NAV jobber med tjenester og ytelser rettet mot folk i yrkesaktiv alder, og vi antar derfor at befolkningsveksten vil få begrenset betydning for den totale arbeidsbelastningen i NAV på de fleste områdene. Aldringen fører til rundt 35 prosent flere alderspensjonister og mottakere av hjelpemidler, noe som vil utfordre NAV. Aldringen vil samtidig øke gapet mellom utgiftene og inntektene på statsbudsjettet og vil påvirke arbeids- og velferdspolitikken. Vi venter økte krav til effektivisering av offentlig sektor. Det kan innebære at NAV kan bli bedt om å følge opp flere brukergrupper mot arbeid enn i dag, og at vi må bli enda mer treffsikre med hensyn til hvilke personer som trenger mer omfattende bistand fra de ulike delene av etaten.</a:t>
            </a:r>
          </a:p>
          <a:p>
            <a:pPr lvl="0"/>
            <a:r>
              <a:rPr lang="nb-NO" sz="750">
                <a:effectLst/>
                <a:latin typeface="Arial" panose="020B0604020202020204" pitchFamily="34" charset="0"/>
                <a:ea typeface="MS Mincho" panose="02020609040205080304" pitchFamily="49" charset="-128"/>
                <a:cs typeface="Arial" panose="020B0604020202020204" pitchFamily="34" charset="0"/>
              </a:rPr>
              <a:t> </a:t>
            </a:r>
          </a:p>
          <a:p>
            <a:pPr lvl="0"/>
            <a:r>
              <a:rPr lang="nb-NO" sz="750">
                <a:effectLst/>
                <a:latin typeface="Arial" panose="020B0604020202020204" pitchFamily="34" charset="0"/>
                <a:ea typeface="MS Mincho" panose="02020609040205080304" pitchFamily="49" charset="-128"/>
                <a:cs typeface="Arial" panose="020B0604020202020204" pitchFamily="34" charset="0"/>
              </a:rPr>
              <a:t>Nettoinnvandringen ventes å bli lavere enn før, men likevel vil antall innvandrere bosatt i Norge fortsatt øke raskere enn øvrig befolkning. Lavere innvandring kan gjøre det enklere for de som kommer å få innpass på arbeidsmarkedet. Endret sammensetning av innvandringen, med lavere arbeidsinnvandring, kan trekke i motsatt retning, dersom flere av de som kommer mangler etterspurt kompetanse. Klimaendringer og risiko for vedvarende kriger og konflikter kan medføre flere flyktninger. Stort behov for arbeidskraft kan dessuten føre til endret innvandringspolitikk og økt arbeidsinnvandring også fra land utenfor EU. Dersom vi får høyere innvandring og migrasjon enn ventet, gir det økt behov for at NAV skal bistå med kvalifisering og oppfølging mot arbeid. Det vil også øke arbeidsbelastningen knyttet til saksbehandling av utlandssaker for personer bosatt i utlandet eller som har rettigheter fra andre land.</a:t>
            </a:r>
          </a:p>
          <a:p>
            <a:pPr lvl="0"/>
            <a:r>
              <a:rPr lang="nb-NO" sz="750">
                <a:effectLst/>
                <a:latin typeface="Arial" panose="020B0604020202020204" pitchFamily="34" charset="0"/>
                <a:ea typeface="MS Mincho" panose="02020609040205080304" pitchFamily="49" charset="-128"/>
                <a:cs typeface="Arial" panose="020B0604020202020204" pitchFamily="34" charset="0"/>
              </a:rPr>
              <a:t> </a:t>
            </a:r>
          </a:p>
          <a:p>
            <a:pPr lvl="0"/>
            <a:r>
              <a:rPr lang="nb-NO" sz="750">
                <a:effectLst/>
                <a:latin typeface="Arial" panose="020B0604020202020204" pitchFamily="34" charset="0"/>
                <a:ea typeface="MS Mincho" panose="02020609040205080304" pitchFamily="49" charset="-128"/>
                <a:cs typeface="Arial" panose="020B0604020202020204" pitchFamily="34" charset="0"/>
              </a:rPr>
              <a:t>Befolkningsveksten ventes å bli sterkest i de mest sentrale kommunene. I 4 av 10 kommuner ventes det befolkningsnedgang, mens det i 2 av 3 kommuner ventes nedgang i befolkningen i yrkesaktiv alder. Det vil føre til mangel på kvalifisert arbeidskraft mange steder i landet. Sentralisering og digitalisering vil føre til færre brukere ved mange NAV-kontorer. Det kan innebære behov for endret organisering for å sikre kvalitet på tjenestene og effektiv ressursutnyttelse.</a:t>
            </a:r>
          </a:p>
          <a:p>
            <a:pPr>
              <a:lnSpc>
                <a:spcPct val="107000"/>
              </a:lnSpc>
              <a:spcAft>
                <a:spcPts val="800"/>
              </a:spcAft>
            </a:pPr>
            <a:endParaRPr lang="nb-NO" sz="75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nb-NO" sz="750" b="1">
                <a:effectLst/>
                <a:latin typeface="Arial" panose="020B0604020202020204" pitchFamily="34" charset="0"/>
                <a:ea typeface="Calibri" panose="020F0502020204030204" pitchFamily="34" charset="0"/>
                <a:cs typeface="Arial" panose="020B0604020202020204" pitchFamily="34" charset="0"/>
              </a:rPr>
              <a:t>Omstilling og mangel på arbeidskraft</a:t>
            </a:r>
          </a:p>
          <a:p>
            <a:r>
              <a:rPr lang="nb-NO" sz="750">
                <a:effectLst/>
                <a:latin typeface="Arial" panose="020B0604020202020204" pitchFamily="34" charset="0"/>
                <a:ea typeface="MS Mincho" panose="02020609040205080304" pitchFamily="49" charset="-128"/>
                <a:cs typeface="Arial" panose="020B0604020202020204" pitchFamily="34" charset="0"/>
              </a:rPr>
              <a:t>Arbeidsmarkedet vil preges av teknologiske endringer, grønt skifte og en eldre befolkning. For NAV vil det bli viktig å bidra til å lette de nødvendige omstillingene i arbeidslivet og å håndtere brå og uventede skifter. Det må skje gjennom økt yrkesmessig og geografisk mobilitet og styrking av befolkningens kompetanse. Det vil stille økte krav til vår kompetanse om arbeidsmarkedet og arbeidsinkludering, kunnskapsbaserte tjenester og styrking av samarbeidet med arbeidsgivere, utdanningssektoren og helsesektoren.</a:t>
            </a:r>
          </a:p>
          <a:p>
            <a:r>
              <a:rPr lang="nb-NO" sz="750">
                <a:effectLst/>
                <a:latin typeface="Arial" panose="020B0604020202020204" pitchFamily="34" charset="0"/>
                <a:ea typeface="MS Mincho" panose="02020609040205080304" pitchFamily="49" charset="-128"/>
                <a:cs typeface="Arial" panose="020B0604020202020204" pitchFamily="34" charset="0"/>
              </a:rPr>
              <a:t> </a:t>
            </a:r>
          </a:p>
          <a:p>
            <a:r>
              <a:rPr lang="nb-NO" sz="750">
                <a:effectLst/>
                <a:latin typeface="Arial" panose="020B0604020202020204" pitchFamily="34" charset="0"/>
                <a:ea typeface="MS Mincho" panose="02020609040205080304" pitchFamily="49" charset="-128"/>
                <a:cs typeface="Arial" panose="020B0604020202020204" pitchFamily="34" charset="0"/>
              </a:rPr>
              <a:t>Arbeidsledigheten forventes å forbli lav, og det vil bli mangel på arbeidskraft, spesielt innen helsevesenet og yrker som krever fagbrev. Innen 2040 ventes 60 prosent av de sysselsatte å jobbe i tjenesteytende næringer i privat og offentlig sektor, mens det ventes nedgang i sysselsettingen innen olje- og gassnæringen og varehandel. Mangel på arbeidskraft gir gode vilkår for inkludering av personer utenfor arbeidslivet. Det medfører også at arbeidsgivere må ha andre forventninger ved rekruttering og at de må jobbe mer med inkludering og opplæring.</a:t>
            </a:r>
          </a:p>
          <a:p>
            <a:r>
              <a:rPr lang="nb-NO" sz="750">
                <a:effectLst/>
                <a:latin typeface="Arial" panose="020B0604020202020204" pitchFamily="34" charset="0"/>
                <a:ea typeface="MS Mincho" panose="02020609040205080304" pitchFamily="49" charset="-128"/>
                <a:cs typeface="Arial" panose="020B0604020202020204" pitchFamily="34" charset="0"/>
              </a:rPr>
              <a:t> </a:t>
            </a:r>
          </a:p>
          <a:p>
            <a:r>
              <a:rPr lang="nb-NO" sz="750">
                <a:effectLst/>
                <a:latin typeface="Arial" panose="020B0604020202020204" pitchFamily="34" charset="0"/>
                <a:ea typeface="MS Mincho" panose="02020609040205080304" pitchFamily="49" charset="-128"/>
                <a:cs typeface="Arial" panose="020B0604020202020204" pitchFamily="34" charset="0"/>
              </a:rPr>
              <a:t>Koronapandemien og krigen i Ukraina har synliggjort sårbarheten i den globaliserte økonomien, og kan medføre endringer av internasjonale handelsmønstre, der regioner og land vil bli mer selvforsynte. Det ventes nedgang i industrisysselsettingen i Norge, men regionaliseringen kan gi flere industriarbeidsplasser i Europa og dempe nedgangen i Norge. Høyt lønnsnivå begrenser potensialet for nye industriarbeidsplasser i Norge, unntatt der kompetansekrav eller naturressurser gir oss et fortrinn.</a:t>
            </a:r>
          </a:p>
          <a:p>
            <a:endParaRPr lang="nb-NO" sz="750">
              <a:effectLst/>
              <a:latin typeface="Arial" panose="020B0604020202020204" pitchFamily="34" charset="0"/>
              <a:ea typeface="MS Mincho" panose="02020609040205080304" pitchFamily="49" charset="-128"/>
              <a:cs typeface="Arial" panose="020B0604020202020204" pitchFamily="34" charset="0"/>
            </a:endParaRPr>
          </a:p>
          <a:p>
            <a:r>
              <a:rPr lang="nb-NO" sz="750" b="1">
                <a:effectLst/>
                <a:latin typeface="Arial" panose="020B0604020202020204" pitchFamily="34" charset="0"/>
                <a:ea typeface="MS Mincho" panose="02020609040205080304" pitchFamily="49" charset="-128"/>
                <a:cs typeface="Arial" panose="020B0604020202020204" pitchFamily="34" charset="0"/>
              </a:rPr>
              <a:t>Nye forventninger og muligheter</a:t>
            </a:r>
          </a:p>
          <a:p>
            <a:r>
              <a:rPr lang="nb-NO" sz="750">
                <a:effectLst/>
                <a:latin typeface="Arial" panose="020B0604020202020204" pitchFamily="34" charset="0"/>
                <a:ea typeface="MS Mincho" panose="02020609040205080304" pitchFamily="49" charset="-128"/>
                <a:cs typeface="Arial" panose="020B0604020202020204" pitchFamily="34" charset="0"/>
              </a:rPr>
              <a:t>Folk vil i større grad forvente at tjenester er tilpasset den enkeltes behov og at de oppleves som sammenhengende på tvers av offentlig sektor. Den digitale kompetansen i befolkningen og tilgangen på gode digitale verktøy vil øke vesentlig frem til 2035, men det vil likevel være viktig å motvirke digitalt utenforskap. De viktigste hindrene for å ta i bruk digitale tjenester er helsemessige eller sosiale utfordringer, språklige barrierer og manglende byråkratisk eller digital kompetanse. Fram mot 2035 må NAV gjøre tjenestene enklere å bruke, og sørge for gode alternativer til de som trenger det.</a:t>
            </a:r>
          </a:p>
          <a:p>
            <a:r>
              <a:rPr lang="nb-NO" sz="750">
                <a:effectLst/>
                <a:latin typeface="Arial" panose="020B0604020202020204" pitchFamily="34" charset="0"/>
                <a:ea typeface="MS Mincho" panose="02020609040205080304" pitchFamily="49" charset="-128"/>
                <a:cs typeface="Arial" panose="020B0604020202020204" pitchFamily="34" charset="0"/>
              </a:rPr>
              <a:t> </a:t>
            </a:r>
          </a:p>
          <a:p>
            <a:r>
              <a:rPr lang="nb-NO" sz="750">
                <a:effectLst/>
                <a:latin typeface="Arial" panose="020B0604020202020204" pitchFamily="34" charset="0"/>
                <a:ea typeface="MS Mincho" panose="02020609040205080304" pitchFamily="49" charset="-128"/>
                <a:cs typeface="Arial" panose="020B0604020202020204" pitchFamily="34" charset="0"/>
              </a:rPr>
              <a:t>Digitaliseringen av samfunnet vil fortsette, og skillet mellom digitale og fysiske møter vil bli mer utydelig. Digitaliseringen gir NAV store muligheter innen brukerkontakt og forvaltning. For eksempel kan digitale møteplasser og plattformer lette arbeidet med å ivareta og koordinere samhandlingen mellom NAV, brukere og samarbeidspartnere. Vi tror at kunstig intelligens og beslutningsstøtte vil inngå som et viktig verktøy for </a:t>
            </a:r>
            <a:r>
              <a:rPr lang="nb-NO" sz="750" err="1">
                <a:effectLst/>
                <a:latin typeface="Arial" panose="020B0604020202020204" pitchFamily="34" charset="0"/>
                <a:ea typeface="MS Mincho" panose="02020609040205080304" pitchFamily="49" charset="-128"/>
                <a:cs typeface="Arial" panose="020B0604020202020204" pitchFamily="34" charset="0"/>
              </a:rPr>
              <a:t>NAVs</a:t>
            </a:r>
            <a:r>
              <a:rPr lang="nb-NO" sz="750">
                <a:effectLst/>
                <a:latin typeface="Arial" panose="020B0604020202020204" pitchFamily="34" charset="0"/>
                <a:ea typeface="MS Mincho" panose="02020609040205080304" pitchFamily="49" charset="-128"/>
                <a:cs typeface="Arial" panose="020B0604020202020204" pitchFamily="34" charset="0"/>
              </a:rPr>
              <a:t> tjenesteproduksjon. NAV vil også kunne få nye oppgaver som leverandør av data. Som en sentral aktør på velferdsområdet, vil det for NAV være særlig viktig med en etisk og ansvarlig tilnærming til bruk av datadrevne tjenester med bred aksept i befolkningen.</a:t>
            </a:r>
          </a:p>
          <a:p>
            <a:r>
              <a:rPr lang="nb-NO" sz="750">
                <a:effectLst/>
                <a:latin typeface="Arial" panose="020B0604020202020204" pitchFamily="34" charset="0"/>
                <a:ea typeface="MS Mincho" panose="02020609040205080304" pitchFamily="49" charset="-128"/>
                <a:cs typeface="Arial" panose="020B0604020202020204" pitchFamily="34" charset="0"/>
              </a:rPr>
              <a:t>Digitaliseringen vil føre til at færre brukere enn i dag har tradisjonelle møter med veiledere. Samtidig vil personlige brukermøter fortsatt være viktig for personer som har sammensatte eller komplekse behov. Vi antar at relasjonelle ferdigheter og kunnskap om brukergrupper med sammensatte behov vil bli enda viktigere for </a:t>
            </a:r>
            <a:r>
              <a:rPr lang="nb-NO" sz="750" err="1">
                <a:effectLst/>
                <a:latin typeface="Arial" panose="020B0604020202020204" pitchFamily="34" charset="0"/>
                <a:ea typeface="MS Mincho" panose="02020609040205080304" pitchFamily="49" charset="-128"/>
                <a:cs typeface="Arial" panose="020B0604020202020204" pitchFamily="34" charset="0"/>
              </a:rPr>
              <a:t>NAVs</a:t>
            </a:r>
            <a:r>
              <a:rPr lang="nb-NO" sz="750">
                <a:effectLst/>
                <a:latin typeface="Arial" panose="020B0604020202020204" pitchFamily="34" charset="0"/>
                <a:ea typeface="MS Mincho" panose="02020609040205080304" pitchFamily="49" charset="-128"/>
                <a:cs typeface="Arial" panose="020B0604020202020204" pitchFamily="34" charset="0"/>
              </a:rPr>
              <a:t> veiledere.</a:t>
            </a:r>
          </a:p>
          <a:p>
            <a:r>
              <a:rPr lang="nb-NO" sz="750">
                <a:effectLst/>
                <a:latin typeface="Arial" panose="020B0604020202020204" pitchFamily="34" charset="0"/>
                <a:ea typeface="MS Mincho" panose="02020609040205080304" pitchFamily="49" charset="-128"/>
                <a:cs typeface="Arial" panose="020B0604020202020204" pitchFamily="34" charset="0"/>
              </a:rPr>
              <a:t> </a:t>
            </a:r>
          </a:p>
          <a:p>
            <a:r>
              <a:rPr lang="nb-NO" sz="750">
                <a:effectLst/>
                <a:latin typeface="Arial" panose="020B0604020202020204" pitchFamily="34" charset="0"/>
                <a:ea typeface="MS Mincho" panose="02020609040205080304" pitchFamily="49" charset="-128"/>
                <a:cs typeface="Arial" panose="020B0604020202020204" pitchFamily="34" charset="0"/>
              </a:rPr>
              <a:t>NAV må utvikle virksomheten for å utnytte mulighetene teknologien gir oss og for å ivareta nye behov med nye tjenester. Det krever arbeid med tjenesteutvikling, kompetanse, finansiering, organisering, lovverk, datadeling, etikk og personvern. Dette er faktorer som kan påvirke hvordan, og hvor raskt, digitaliseringen kan skje.</a:t>
            </a:r>
          </a:p>
          <a:p>
            <a:endParaRPr lang="nb-NO" sz="750">
              <a:effectLst/>
              <a:latin typeface="Arial" panose="020B0604020202020204" pitchFamily="34" charset="0"/>
              <a:ea typeface="MS Mincho" panose="02020609040205080304" pitchFamily="49" charset="-128"/>
              <a:cs typeface="Arial" panose="020B0604020202020204" pitchFamily="34" charset="0"/>
            </a:endParaRPr>
          </a:p>
          <a:p>
            <a:r>
              <a:rPr lang="nb-NO" sz="750" b="1">
                <a:effectLst/>
                <a:latin typeface="Arial" panose="020B0604020202020204" pitchFamily="34" charset="0"/>
                <a:ea typeface="MS Mincho" panose="02020609040205080304" pitchFamily="49" charset="-128"/>
                <a:cs typeface="Arial" panose="020B0604020202020204" pitchFamily="34" charset="0"/>
              </a:rPr>
              <a:t>Fare for større politisk uforutsigbarhet</a:t>
            </a:r>
          </a:p>
          <a:p>
            <a:r>
              <a:rPr lang="nb-NO" sz="750">
                <a:effectLst/>
                <a:latin typeface="Arial" panose="020B0604020202020204" pitchFamily="34" charset="0"/>
                <a:ea typeface="MS Mincho" panose="02020609040205080304" pitchFamily="49" charset="-128"/>
                <a:cs typeface="Arial" panose="020B0604020202020204" pitchFamily="34" charset="0"/>
              </a:rPr>
              <a:t>Vi venter at samfunnsutfordringer knyttet til omstilling, inkludering, aldring og velferdsstatens bærekraft vil prege arbeids- og velferdspolitikken mot 2035. Konfliktlinjene vil i stor grad dreie seg om avveininger mellom universelle og behovsprøvde ytelser, mellom ytelsesnivåer og insentiver til arbeid, uenigheter om organiseringen av offentlig sektor og offentlig sektors rolle i tjenesteproduksjonen, i tillegg til innvandrings-, klima- og distriktspolitikk.</a:t>
            </a:r>
          </a:p>
          <a:p>
            <a:r>
              <a:rPr lang="nb-NO" sz="750">
                <a:effectLst/>
                <a:latin typeface="Arial" panose="020B0604020202020204" pitchFamily="34" charset="0"/>
                <a:ea typeface="MS Mincho" panose="02020609040205080304" pitchFamily="49" charset="-128"/>
                <a:cs typeface="Arial" panose="020B0604020202020204" pitchFamily="34" charset="0"/>
              </a:rPr>
              <a:t> </a:t>
            </a:r>
          </a:p>
          <a:p>
            <a:r>
              <a:rPr lang="nb-NO" sz="750">
                <a:effectLst/>
                <a:latin typeface="Arial" panose="020B0604020202020204" pitchFamily="34" charset="0"/>
                <a:ea typeface="MS Mincho" panose="02020609040205080304" pitchFamily="49" charset="-128"/>
                <a:cs typeface="Arial" panose="020B0604020202020204" pitchFamily="34" charset="0"/>
              </a:rPr>
              <a:t>Det politiske omlandet har endret seg raskt, med koronapandemien, en pågående krig i Ukraina og økt inflasjon. En usikker geopolitisk situasjon medfører konsekvenser i form av endrede internasjonale rammebetingelser og en sterkere vektlegging av sikkerhet og beredskap. Vedvarende høye energi- og råvarepriser kan føre til mer fattigdom og ulikhet. Dette gir risiko for økt polarisering, med steilere fronter, lavere tillit til myndighetene og en politikk som i større grad enn i dag styres som respons på kriser og akutte situasjoner. Dette kan igjen føre til flere brå skifter i arbeids- og velferdspolitikken. Samtidig har vi barrierer i Norge mot polarisering og sosial uro, i form av en politisk kultur preget av stabilitet, et flerpartisystem som sørger for inkludering av ulike samfunnsinteresser og en velutbygd velferdsstat.</a:t>
            </a:r>
          </a:p>
          <a:p>
            <a:r>
              <a:rPr lang="nb-NO" sz="750">
                <a:effectLst/>
                <a:latin typeface="Arial" panose="020B0604020202020204" pitchFamily="34" charset="0"/>
                <a:ea typeface="MS Mincho" panose="02020609040205080304" pitchFamily="49" charset="-128"/>
                <a:cs typeface="Arial" panose="020B0604020202020204" pitchFamily="34" charset="0"/>
              </a:rPr>
              <a:t> </a:t>
            </a:r>
          </a:p>
          <a:p>
            <a:r>
              <a:rPr lang="nb-NO" sz="750">
                <a:effectLst/>
                <a:latin typeface="Arial" panose="020B0604020202020204" pitchFamily="34" charset="0"/>
                <a:ea typeface="MS Mincho" panose="02020609040205080304" pitchFamily="49" charset="-128"/>
                <a:cs typeface="Arial" panose="020B0604020202020204" pitchFamily="34" charset="0"/>
              </a:rPr>
              <a:t>En trend der det gis mer rom til lokal tilpasning og tjenesteutvikling i samarbeid med brukere og andre berørte virksomheter vises gjennom tillitsreformer i Norge og i flere naboland. Mer lokal tjenesteutvikling vil gjøre evalueringer og kunnskapsdeling viktigere, slik at også andre kan lære av, og ta i bruk, velfungerende løsninger. Vi forventer at EU vil spille en sterkere rolle for Norge som en global aktør i en mer usikker verden, både som handelspartner, og innen personvern- og digitaliseringspolitikk. Norge og NAV vil påvirkes direkte gjennom EØS, og indirekte av at EU tar en mer aktiv rolle i anbefalinger og handlingsplaner innen arbeids- og velferdspolitikk og kompetansepolitikk. Kompetansepolitikken blir enda viktigere framover, spesielt som følge av teknologisk utvikling og det grønne skiftet. Det blir særlig viktig å sørge for inkludering av utsatte grupper i arbeidslivet, samt å sikre sysselsatte nødvendig kompetanseheving gjennom yrkeskarrieren. Bedre tilgang til videregående utdanning, læreplasser og tettere oppfølging kan være aktuelle tiltak, samt tilrettelegging for livslang læring og kombinasjon av jobb og (videre)utdanning.</a:t>
            </a:r>
            <a:endParaRPr lang="nb-NO" sz="75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423A7E-2643-42FD-8EB6-A118111128D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8876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60</a:t>
            </a:fld>
            <a:endParaRPr lang="nb-NO"/>
          </a:p>
        </p:txBody>
      </p:sp>
    </p:spTree>
    <p:extLst>
      <p:ext uri="{BB962C8B-B14F-4D97-AF65-F5344CB8AC3E}">
        <p14:creationId xmlns:p14="http://schemas.microsoft.com/office/powerpoint/2010/main" val="275512801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9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ssholder for lysbildenummer 3"/>
          <p:cNvSpPr>
            <a:spLocks noGrp="1"/>
          </p:cNvSpPr>
          <p:nvPr>
            <p:ph type="sldNum" sz="quarter" idx="10"/>
          </p:nvPr>
        </p:nvSpPr>
        <p:spPr/>
        <p:txBody>
          <a:bodyPr/>
          <a:lstStyle/>
          <a:p>
            <a:fld id="{CC095B44-202A-4978-9C5A-42D88216F05F}" type="slidenum">
              <a:rPr lang="nb-NO" smtClean="0"/>
              <a:t>61</a:t>
            </a:fld>
            <a:endParaRPr lang="nb-NO"/>
          </a:p>
        </p:txBody>
      </p:sp>
    </p:spTree>
    <p:extLst>
      <p:ext uri="{BB962C8B-B14F-4D97-AF65-F5344CB8AC3E}">
        <p14:creationId xmlns:p14="http://schemas.microsoft.com/office/powerpoint/2010/main" val="32537715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tabLst>
                <a:tab pos="2879725" algn="ctr"/>
              </a:tabLst>
            </a:pPr>
            <a:r>
              <a:rPr lang="nb-NO" sz="800">
                <a:effectLst/>
                <a:latin typeface="Arial" panose="020B0604020202020204" pitchFamily="34" charset="0"/>
                <a:ea typeface="Arial Nova" panose="020B0504020202020204" pitchFamily="34" charset="0"/>
                <a:cs typeface="Arial" panose="020B0604020202020204" pitchFamily="34" charset="0"/>
              </a:rPr>
              <a:t>NAV har en ambisjon om å være en lærende organisasjon som skaper mestring. Kompetansen i virksomheten må utvikles for å håndtere omstillingstakten i arbeidsmarkedet, endrede brukerforventninger, digitalisering og ønske om økt samarbeid med andre virksomheter. Under nevnes noen områder der det forventes behov for utvikling:</a:t>
            </a: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2879725" algn="ctr"/>
              </a:tabLst>
            </a:pPr>
            <a:r>
              <a:rPr lang="nb-NO" sz="800">
                <a:effectLst/>
                <a:latin typeface="Arial" panose="020B0604020202020204" pitchFamily="34" charset="0"/>
                <a:ea typeface="Arial Nova" panose="020B05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tab pos="2879725" algn="ctr"/>
              </a:tabLst>
              <a:defRPr/>
            </a:pPr>
            <a:r>
              <a:rPr lang="nb-NO" sz="800" b="1">
                <a:effectLst/>
                <a:latin typeface="Arial" panose="020B0604020202020204" pitchFamily="34" charset="0"/>
                <a:ea typeface="Arial Nova" panose="020B0504020202020204" pitchFamily="34" charset="0"/>
                <a:cs typeface="Arial" panose="020B0604020202020204" pitchFamily="34" charset="0"/>
              </a:rPr>
              <a:t>Raskere omstillingstakt på arbeidsmarkedet</a:t>
            </a:r>
            <a:r>
              <a:rPr lang="nb-NO" sz="800">
                <a:effectLst/>
                <a:latin typeface="Arial" panose="020B0604020202020204" pitchFamily="34" charset="0"/>
                <a:ea typeface="Arial Nova" panose="020B0504020202020204" pitchFamily="34" charset="0"/>
                <a:cs typeface="Arial" panose="020B0604020202020204" pitchFamily="34" charset="0"/>
              </a:rPr>
              <a:t> vil kreve at NAV har oppdatert analytisk kompetanse og kunnskap om hva endringene betyr for arbeidsmarkedet og for tjenesteutviklingen, både nasjonalt og lokalt. Det vil kreve en kontinuerlig og </a:t>
            </a:r>
            <a:r>
              <a:rPr lang="nb-NO" sz="800" err="1">
                <a:effectLst/>
                <a:latin typeface="Arial" panose="020B0604020202020204" pitchFamily="34" charset="0"/>
                <a:ea typeface="Arial Nova" panose="020B0504020202020204" pitchFamily="34" charset="0"/>
                <a:cs typeface="Arial" panose="020B0604020202020204" pitchFamily="34" charset="0"/>
              </a:rPr>
              <a:t>praksisnær</a:t>
            </a:r>
            <a:r>
              <a:rPr lang="nb-NO" sz="800">
                <a:effectLst/>
                <a:latin typeface="Arial" panose="020B0604020202020204" pitchFamily="34" charset="0"/>
                <a:ea typeface="Arial Nova" panose="020B0504020202020204" pitchFamily="34" charset="0"/>
                <a:cs typeface="Arial" panose="020B0604020202020204" pitchFamily="34" charset="0"/>
              </a:rPr>
              <a:t> kompetanseutvikling for å fange opp, reflektere over og anvende medarbeidernes kunnskaper og erfaringer. For å få tilgang til kunnskap som kan bidra til å styrke og fornye tjenesteutviklingen kreves det deling av evalueringer og erfaringer mellom enheter i NAV. Kompetanse om innovativ og smidig utvikling av tjenester, inkludert hvordan kompetanseutvikling kan integreres i tjenesteutviklingen, blir også viktig for å ivareta rask omstilling. Både ledere og medarbeidere må ta ansvar for kompetanseutvikling og tilrettelegging for læring.</a:t>
            </a: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2879725" algn="ctr"/>
              </a:tabLst>
            </a:pP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2879725" algn="ctr"/>
              </a:tabLst>
            </a:pPr>
            <a:r>
              <a:rPr lang="nb-NO" sz="800" b="1">
                <a:effectLst/>
                <a:latin typeface="Arial" panose="020B0604020202020204" pitchFamily="34" charset="0"/>
                <a:ea typeface="Arial Nova" panose="020B0504020202020204" pitchFamily="34" charset="0"/>
                <a:cs typeface="Arial" panose="020B0604020202020204" pitchFamily="34" charset="0"/>
              </a:rPr>
              <a:t>Endrede brukerforventninger</a:t>
            </a:r>
            <a:r>
              <a:rPr lang="nb-NO" sz="800">
                <a:effectLst/>
                <a:latin typeface="Arial" panose="020B0604020202020204" pitchFamily="34" charset="0"/>
                <a:ea typeface="Arial Nova" panose="020B0504020202020204" pitchFamily="34" charset="0"/>
                <a:cs typeface="Arial" panose="020B0604020202020204" pitchFamily="34" charset="0"/>
              </a:rPr>
              <a:t> vil kreve mer kunnskap om brukernes behov for å få en bedre forståelse av deres livssituasjon. Det vil bli spesielt viktig med kunnskap om hva som fremmer inkludering av utsatte grupper, som unge, innvandrere og andre som er, eller står i fare, for langvarig utenforskap. Det er også behov for god oversikt over kompetansen blant ansatte for å kunne møte fremtidige utfordringer og endringsbehov med høy kvalitet. Veiledningskompetansen kan utvikles både ved studier og arenaer for selvrefleksjon og ferdighetstrening. Aktuelle områder er kommunikasjon- og relasjonsarbeid, samt trening i hvordan forskningsbasert kunnskap kan brukes i egen praksis. For å kunne imøtekomme brukerforventninger om helhetlige og sammenhengende tjenester, bør NAV også vektlegge kompetanse om sammenhengen mellom interne kjerneområder som veiledning, inkludering, arbeidsmarked og forvaltning.</a:t>
            </a: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2879725" algn="ctr"/>
              </a:tabLst>
            </a:pPr>
            <a:r>
              <a:rPr lang="nb-NO" sz="800">
                <a:effectLst/>
                <a:latin typeface="Arial" panose="020B0604020202020204" pitchFamily="34" charset="0"/>
                <a:ea typeface="Arial Nova" panose="020B0504020202020204" pitchFamily="34" charset="0"/>
                <a:cs typeface="Arial" panose="020B0604020202020204" pitchFamily="34" charset="0"/>
              </a:rPr>
              <a:t> </a:t>
            </a: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2879725" algn="ctr"/>
              </a:tabLst>
            </a:pPr>
            <a:r>
              <a:rPr lang="nb-NO" sz="800" b="1">
                <a:effectLst/>
                <a:latin typeface="Arial" panose="020B0604020202020204" pitchFamily="34" charset="0"/>
                <a:ea typeface="Arial Nova" panose="020B0504020202020204" pitchFamily="34" charset="0"/>
                <a:cs typeface="Arial" panose="020B0604020202020204" pitchFamily="34" charset="0"/>
              </a:rPr>
              <a:t>Sammenhengende tjenester</a:t>
            </a:r>
            <a:r>
              <a:rPr lang="nb-NO" sz="800">
                <a:effectLst/>
                <a:latin typeface="Arial" panose="020B0604020202020204" pitchFamily="34" charset="0"/>
                <a:ea typeface="Arial Nova" panose="020B0504020202020204" pitchFamily="34" charset="0"/>
                <a:cs typeface="Arial" panose="020B0604020202020204" pitchFamily="34" charset="0"/>
              </a:rPr>
              <a:t> på tvers av sektorer og forvaltningsnivåer vil kreve økt kunnskap om samarbeidspartnere i andre sektorer, om hvilke tjenester som kan tilbys brukerne, effekter av disse og hvordan en kan skape nye tjenester i samarbeid med andre. Det blir viktig med kunnskapsdeling og erfaringslæring på tvers av sektorer for å bidra til helhetlige tjenester og møte fremtidige brukerbehov. Det vil innebære en strukturert arbeidsform mellom ulike faggrupper, brukere og arbeidsgivere, eksempelvis gjennom nettverk, samproduksjon og samskapningsprosjekter. Det betyr samtidig at NAV trenger å bygge kompetanse om både hva som skal til for at tverrsektorielle samarbeid skal lykkes, og hvordan slike samarbeid kan evalueres og videreutvikles.</a:t>
            </a: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2879725" algn="ctr"/>
              </a:tabLst>
            </a:pPr>
            <a:r>
              <a:rPr lang="nb-NO" sz="800">
                <a:effectLst/>
                <a:latin typeface="Arial" panose="020B0604020202020204" pitchFamily="34" charset="0"/>
                <a:ea typeface="Arial Nova" panose="020B0504020202020204" pitchFamily="34" charset="0"/>
                <a:cs typeface="Arial" panose="020B0604020202020204" pitchFamily="34" charset="0"/>
              </a:rPr>
              <a:t> </a:t>
            </a: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457200" algn="l"/>
                <a:tab pos="2879725" algn="ctr"/>
              </a:tabLst>
            </a:pPr>
            <a:r>
              <a:rPr lang="nb-NO" sz="800" b="1">
                <a:effectLst/>
                <a:latin typeface="Arial" panose="020B0604020202020204" pitchFamily="34" charset="0"/>
                <a:ea typeface="Arial Nova" panose="020B0504020202020204" pitchFamily="34" charset="0"/>
                <a:cs typeface="Arial" panose="020B0604020202020204" pitchFamily="34" charset="0"/>
              </a:rPr>
              <a:t>Digitaliseringen</a:t>
            </a:r>
            <a:r>
              <a:rPr lang="nb-NO" sz="800">
                <a:effectLst/>
                <a:latin typeface="Arial" panose="020B0604020202020204" pitchFamily="34" charset="0"/>
                <a:ea typeface="Arial Nova" panose="020B0504020202020204" pitchFamily="34" charset="0"/>
                <a:cs typeface="Arial" panose="020B0604020202020204" pitchFamily="34" charset="0"/>
              </a:rPr>
              <a:t> vil kreve juridisk kompetanse og teknologi- og analysekompetanse. Medarbeidere må bygge kompetanse om bruk av digital teknologi i gjennomføringen av brukermøtene. Utbredelsen av kunstig intelligens og beslutningsstøtte gir behov for kompetanse om hvordan algoritmer kan anvendes på forsvarlige måter for å styrke kunnskapsgrunnlaget og utvikling av praksis. Dessuten må NAV forstå hvordan digitalisering påvirker arbeidsmarkedet.</a:t>
            </a:r>
            <a:endParaRPr lang="nb-NO" sz="8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Plassholder for lysbildenummer 3"/>
          <p:cNvSpPr>
            <a:spLocks noGrp="1"/>
          </p:cNvSpPr>
          <p:nvPr>
            <p:ph type="sldNum" sz="quarter" idx="5"/>
          </p:nvPr>
        </p:nvSpPr>
        <p:spPr/>
        <p:txBody>
          <a:bodyPr/>
          <a:lstStyle/>
          <a:p>
            <a:fld id="{071B4BBF-70B9-8047-B02F-2484F1EA6A40}" type="slidenum">
              <a:rPr lang="nb-NO" smtClean="0"/>
              <a:t>62</a:t>
            </a:fld>
            <a:endParaRPr lang="nb-NO"/>
          </a:p>
        </p:txBody>
      </p:sp>
    </p:spTree>
    <p:extLst>
      <p:ext uri="{BB962C8B-B14F-4D97-AF65-F5344CB8AC3E}">
        <p14:creationId xmlns:p14="http://schemas.microsoft.com/office/powerpoint/2010/main" val="3713109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0603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6257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effectLst/>
                <a:latin typeface="Arial" panose="020B0604020202020204" pitchFamily="34" charset="0"/>
                <a:ea typeface="Arial" panose="020B0604020202020204" pitchFamily="34" charset="0"/>
                <a:cs typeface="Arial" panose="020B0604020202020204" pitchFamily="34" charset="0"/>
              </a:rPr>
              <a:t>I omverdensanalysen har vi spådd om fremtiden siden 2014 og truffet på noe, men det har samtidig inntruffet flere store uforutsette hendelser med store konsekvenser, også for NAV, som eksempelvis koronapandemien og EØS-saken.</a:t>
            </a:r>
            <a:r>
              <a:rPr lang="nb-NO" sz="900">
                <a:effectLst/>
                <a:latin typeface="Arial" panose="020B0604020202020204" pitchFamily="34" charset="0"/>
                <a:ea typeface="MS Mincho" panose="02020609040205080304" pitchFamily="49" charset="-128"/>
                <a:cs typeface="Arial" panose="020B0604020202020204" pitchFamily="34" charset="0"/>
              </a:rPr>
              <a:t> </a:t>
            </a:r>
          </a:p>
          <a:p>
            <a:r>
              <a:rPr lang="nb-NO" sz="900" b="1">
                <a:effectLst/>
                <a:latin typeface="Arial" panose="020B0604020202020204" pitchFamily="34" charset="0"/>
                <a:ea typeface="MS Mincho" panose="02020609040205080304" pitchFamily="49" charset="-128"/>
                <a:cs typeface="Arial" panose="020B0604020202020204" pitchFamily="34" charset="0"/>
              </a:rPr>
              <a:t>Uforutsette hendelser</a:t>
            </a:r>
            <a:r>
              <a:rPr lang="nb-NO" sz="900">
                <a:effectLst/>
                <a:latin typeface="Arial" panose="020B0604020202020204" pitchFamily="34" charset="0"/>
                <a:ea typeface="MS Mincho" panose="02020609040205080304" pitchFamily="49" charset="-128"/>
                <a:cs typeface="Arial" panose="020B0604020202020204" pitchFamily="34" charset="0"/>
              </a:rPr>
              <a:t> medfører erfaringsmessig et stort behov for omstilling og raske omprioriteringer, ikke minst i offentlig sektor. Under koronapandemien hadde NAV en viktig rolle i å sikre arbeidskraft til samfunnskritiske oppgaver og utbetale livsoppholdsytelser. Krigen i Ukraina har ført til høy prisvekst og øker behovet for blant annet økonomisk sosialhjelp. Det har utløst en debatt om blant annet stønadsnivåer, særlig for de statlige minsteytelsene. Desinformasjon, angrep og politisk motivert manipulering med digitale verktøy utgjør også en sårbarhet for NAV. Dette kan påvirke </a:t>
            </a:r>
            <a:r>
              <a:rPr lang="nb-NO" sz="900" err="1">
                <a:effectLst/>
                <a:latin typeface="Arial" panose="020B0604020202020204" pitchFamily="34" charset="0"/>
                <a:ea typeface="MS Mincho" panose="02020609040205080304" pitchFamily="49" charset="-128"/>
                <a:cs typeface="Arial" panose="020B0604020202020204" pitchFamily="34" charset="0"/>
              </a:rPr>
              <a:t>NAVs</a:t>
            </a:r>
            <a:r>
              <a:rPr lang="nb-NO" sz="900">
                <a:effectLst/>
                <a:latin typeface="Arial" panose="020B0604020202020204" pitchFamily="34" charset="0"/>
                <a:ea typeface="MS Mincho" panose="02020609040205080304" pitchFamily="49" charset="-128"/>
                <a:cs typeface="Arial" panose="020B0604020202020204" pitchFamily="34" charset="0"/>
              </a:rPr>
              <a:t> evne til utbetaling av ytelser og befolkningens tillit til offentlige tjenester. Selv med kontinuerlig beredskapsarbeid er uforutsette hendelser vanskelig å forberede seg på og utgjør den største usikkerheten i omverdensanalysen.</a:t>
            </a:r>
          </a:p>
          <a:p>
            <a:r>
              <a:rPr lang="nb-NO" sz="900">
                <a:effectLst/>
                <a:latin typeface="Arial" panose="020B0604020202020204" pitchFamily="34" charset="0"/>
                <a:ea typeface="MS Mincho" panose="02020609040205080304" pitchFamily="49" charset="-128"/>
                <a:cs typeface="Arial" panose="020B0604020202020204" pitchFamily="34" charset="0"/>
              </a:rPr>
              <a:t> </a:t>
            </a:r>
          </a:p>
          <a:p>
            <a:r>
              <a:rPr lang="nb-NO" sz="900">
                <a:effectLst/>
                <a:latin typeface="Arial" panose="020B0604020202020204" pitchFamily="34" charset="0"/>
                <a:ea typeface="MS Mincho" panose="02020609040205080304" pitchFamily="49" charset="-128"/>
                <a:cs typeface="Arial" panose="020B0604020202020204" pitchFamily="34" charset="0"/>
              </a:rPr>
              <a:t>Utviklingen i innvandringen til Norge er det største usikkerhetsmomentet i de demografiske framskrivingene. Statistisk sentralbyrå venter lav nettoinnvandring framover, men det er risiko</a:t>
            </a:r>
            <a:r>
              <a:rPr lang="nb-NO" sz="900">
                <a:effectLst/>
                <a:latin typeface="Arial" panose="020B0604020202020204" pitchFamily="34" charset="0"/>
                <a:ea typeface="Times New Roman" panose="02020603050405020304" pitchFamily="18" charset="0"/>
                <a:cs typeface="Arial" panose="020B0604020202020204" pitchFamily="34" charset="0"/>
              </a:rPr>
              <a:t> </a:t>
            </a:r>
            <a:r>
              <a:rPr lang="nb-NO" sz="900">
                <a:effectLst/>
                <a:latin typeface="Arial" panose="020B0604020202020204" pitchFamily="34" charset="0"/>
                <a:ea typeface="MS Mincho" panose="02020609040205080304" pitchFamily="49" charset="-128"/>
                <a:cs typeface="Arial" panose="020B0604020202020204" pitchFamily="34" charset="0"/>
              </a:rPr>
              <a:t>for at både </a:t>
            </a:r>
            <a:r>
              <a:rPr lang="nb-NO" sz="900" b="1">
                <a:effectLst/>
                <a:latin typeface="Arial" panose="020B0604020202020204" pitchFamily="34" charset="0"/>
                <a:ea typeface="MS Mincho" panose="02020609040205080304" pitchFamily="49" charset="-128"/>
                <a:cs typeface="Arial" panose="020B0604020202020204" pitchFamily="34" charset="0"/>
              </a:rPr>
              <a:t>tilstrømmingen av flyktninger og arbeidsinnvandringen</a:t>
            </a:r>
            <a:r>
              <a:rPr lang="nb-NO" sz="900">
                <a:effectLst/>
                <a:latin typeface="Arial" panose="020B0604020202020204" pitchFamily="34" charset="0"/>
                <a:ea typeface="MS Mincho" panose="02020609040205080304" pitchFamily="49" charset="-128"/>
                <a:cs typeface="Arial" panose="020B0604020202020204" pitchFamily="34" charset="0"/>
              </a:rPr>
              <a:t> kan bli høyere enn ventet. Klimaendringene, og risikoen for at dagens situasjon med krig og konflikter vil vedvare, kan føre til flere flyktninger. Flere flyktninger vil øke behovet for oppfølging og samordning på tvers av sektorer for å sikre tilstrekkelig integrering. Det kan endre kompetansebehovet til NAV-ansatte og dreie behovet i oppfølgingsarbeidet til andre virkemidler enn NAV har i dagens portefølje. Det ventes i utgangspunktet lavere arbeidsinnvandring på grunn av sterk aldring i hele Europa og lavere lønnsforskjeller mellom Norge og andre land. For å dekke arbeidskraftbehovet er det imidlertid mulig at arbeidsinnvandringen vil bli høyere enn ventet, og at det i større grad vil bli åpnet for arbeidsinnvandring fra land utenfor EU/EØS.</a:t>
            </a:r>
          </a:p>
          <a:p>
            <a:r>
              <a:rPr lang="nb-NO" sz="900">
                <a:effectLst/>
                <a:latin typeface="Arial" panose="020B0604020202020204" pitchFamily="34" charset="0"/>
                <a:ea typeface="MS Mincho" panose="02020609040205080304" pitchFamily="49" charset="-128"/>
                <a:cs typeface="Arial" panose="020B0604020202020204" pitchFamily="34" charset="0"/>
              </a:rPr>
              <a:t> </a:t>
            </a:r>
          </a:p>
          <a:p>
            <a:r>
              <a:rPr lang="nb-NO" sz="900">
                <a:effectLst/>
                <a:latin typeface="Arial" panose="020B0604020202020204" pitchFamily="34" charset="0"/>
                <a:ea typeface="MS Mincho" panose="02020609040205080304" pitchFamily="49" charset="-128"/>
                <a:cs typeface="Arial" panose="020B0604020202020204" pitchFamily="34" charset="0"/>
              </a:rPr>
              <a:t>En annen sentral usikkerhet er evnen til </a:t>
            </a:r>
            <a:r>
              <a:rPr lang="nb-NO" sz="900" b="1">
                <a:effectLst/>
                <a:latin typeface="Arial" panose="020B0604020202020204" pitchFamily="34" charset="0"/>
                <a:ea typeface="MS Mincho" panose="02020609040205080304" pitchFamily="49" charset="-128"/>
                <a:cs typeface="Arial" panose="020B0604020202020204" pitchFamily="34" charset="0"/>
              </a:rPr>
              <a:t>omstilling på arbeidsmarkedet og i offentlig sektor</a:t>
            </a:r>
            <a:r>
              <a:rPr lang="nb-NO" sz="900">
                <a:effectLst/>
                <a:latin typeface="Arial" panose="020B0604020202020204" pitchFamily="34" charset="0"/>
                <a:ea typeface="MS Mincho" panose="02020609040205080304" pitchFamily="49" charset="-128"/>
                <a:cs typeface="Arial" panose="020B0604020202020204" pitchFamily="34" charset="0"/>
              </a:rPr>
              <a:t>. For arbeidsmarkedet skyldes omstillingene særlig endringer i kompetansebehov som følge av teknologisk utvikling og det grønne skiftet. Dersom vi får vedvarende ubalanser på arbeidsmarkedet, kan det føre til økt utenforskap, som vil gi flere arbeidsledige og mottakere av helserelaterte trygdeytelser. Det vil utfordre NAV gjennom økt behov for oppfølging og inntektssikring. Behov</a:t>
            </a:r>
            <a:r>
              <a:rPr lang="nb-NO" sz="900" b="0">
                <a:effectLst/>
                <a:latin typeface="Arial" panose="020B0604020202020204" pitchFamily="34" charset="0"/>
                <a:ea typeface="MS Mincho" panose="02020609040205080304" pitchFamily="49" charset="-128"/>
                <a:cs typeface="Arial" panose="020B0604020202020204" pitchFamily="34" charset="0"/>
              </a:rPr>
              <a:t> for fortsatt omstilling i offentlig sektor utløses av stadig større forventninger til effektivisering, som følge av større forventet gap mellom offentlige utgifter og inntekter, og til at offentlig sektor tar i bruk nye muligheter gjennom digital</a:t>
            </a:r>
            <a:r>
              <a:rPr lang="nb-NO" sz="900">
                <a:effectLst/>
                <a:latin typeface="Arial" panose="020B0604020202020204" pitchFamily="34" charset="0"/>
                <a:ea typeface="MS Mincho" panose="02020609040205080304" pitchFamily="49" charset="-128"/>
                <a:cs typeface="Arial" panose="020B0604020202020204" pitchFamily="34" charset="0"/>
              </a:rPr>
              <a:t>isering. Det siste gjelder forventninger til at NAV og andre offentlige aktører utvikler inkluderende tjenester som motvirker digitalt utenforskap, tar i bruk nye kanaler i takt med et digitalt generasjonsskifte og forbedrer tjenestene gjennom bruk av kunstig intelligens. Behovet for effektivisering av offentlig sektor kan gi mindre økonomisk handlingsrom for NAV, som igjen kan utløse behov for mer digitalisering av tjenester. Det er likevel usikkert om digitalisering gir oss de gevinstene som forventes – blant annet som følge av digitaliseringsoptimisme, uhensiktsmessige finansieringsmodeller og fordi digitale løsninger ikke nødvendigvis passer alle brukere. Det er i tillegg mange etiske og rettslige problemstillinger ved bruk av kunstig intelligens som gjør at mulighetene og konsekvensene fremover er høyst uavklarte. I motsatt retning kan man spekulere i om gapet mellom offentlige utgifter og inntekter gir motsatt effekt for NAV. Selv om økt press på statsfinansene medfører økt effektivisering og redusert ambisjonsnivå for offentlig sektor generelt, kan en mulighet være at det for NAV i stedet vil gi nye oppgaver og økt ansvar for å sørge for at flere inkluderes på arbeidsmarkedet.</a:t>
            </a:r>
          </a:p>
          <a:p>
            <a:pPr>
              <a:tabLst>
                <a:tab pos="270510" algn="l"/>
                <a:tab pos="540385" algn="l"/>
                <a:tab pos="810260" algn="l"/>
              </a:tabLst>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a:tabLst>
                <a:tab pos="270510" algn="l"/>
                <a:tab pos="540385" algn="l"/>
                <a:tab pos="810260" algn="l"/>
              </a:tabLst>
            </a:pPr>
            <a:r>
              <a:rPr lang="nb-NO" sz="900" b="1">
                <a:effectLst/>
                <a:latin typeface="Arial" panose="020B0604020202020204" pitchFamily="34" charset="0"/>
                <a:ea typeface="MS Mincho" panose="02020609040205080304" pitchFamily="49" charset="-128"/>
                <a:cs typeface="Arial" panose="020B0604020202020204" pitchFamily="34" charset="0"/>
              </a:rPr>
              <a:t>Tillit og polarisering:</a:t>
            </a:r>
            <a:r>
              <a:rPr lang="nb-NO" sz="900">
                <a:effectLst/>
                <a:latin typeface="Arial" panose="020B0604020202020204" pitchFamily="34" charset="0"/>
                <a:ea typeface="MS Mincho" panose="02020609040205080304" pitchFamily="49" charset="-128"/>
                <a:cs typeface="Arial" panose="020B0604020202020204" pitchFamily="34" charset="0"/>
              </a:rPr>
              <a:t> Dette handler om risikoen for økt politisk polarisering, det vil si at frontene i samfunnsdebatten blir steilere. Polarisering ses særlig i sammenheng med økte forskjeller, og risikoen er særlig stor dersom dagens situasjon med høy prisvekst og rentenivå vedvarer, og om vi samtidig lykkes dårlig med omstillingene på arbeidsmarkedet. Det kan utfordre tilliten til NAV, og føre til mer uforutsigbarhet i politikkområder av relevans for NAV, der politikken i større grad vil kunne komme som respons på kriser og akutte situasjoner. </a:t>
            </a:r>
          </a:p>
        </p:txBody>
      </p:sp>
      <p:sp>
        <p:nvSpPr>
          <p:cNvPr id="4" name="Slide Number Placeholder 3"/>
          <p:cNvSpPr>
            <a:spLocks noGrp="1"/>
          </p:cNvSpPr>
          <p:nvPr>
            <p:ph type="sldNum" sz="quarter" idx="5"/>
          </p:nvPr>
        </p:nvSpPr>
        <p:spPr/>
        <p:txBody>
          <a:bodyPr/>
          <a:lstStyle/>
          <a:p>
            <a:fld id="{071B4BBF-70B9-8047-B02F-2484F1EA6A40}" type="slidenum">
              <a:rPr lang="nb-NO" smtClean="0"/>
              <a:t>7</a:t>
            </a:fld>
            <a:endParaRPr lang="nb-NO"/>
          </a:p>
        </p:txBody>
      </p:sp>
    </p:spTree>
    <p:extLst>
      <p:ext uri="{BB962C8B-B14F-4D97-AF65-F5344CB8AC3E}">
        <p14:creationId xmlns:p14="http://schemas.microsoft.com/office/powerpoint/2010/main" val="4042247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b="0" baseline="0">
                <a:latin typeface="Arial" panose="020B0604020202020204" pitchFamily="34" charset="0"/>
                <a:cs typeface="Arial" panose="020B0604020202020204" pitchFamily="34" charset="0"/>
              </a:rPr>
              <a:t>Omverdensanalysen består av disse sju samfunnsområdene.</a:t>
            </a:r>
            <a:endParaRPr lang="nb-NO" sz="1200">
              <a:latin typeface="Arial" panose="020B0604020202020204" pitchFamily="34" charset="0"/>
              <a:cs typeface="Arial" panose="020B0604020202020204" pitchFamily="34" charset="0"/>
            </a:endParaRPr>
          </a:p>
          <a:p>
            <a:endParaRPr lang="nb-NO"/>
          </a:p>
        </p:txBody>
      </p:sp>
      <p:sp>
        <p:nvSpPr>
          <p:cNvPr id="4" name="Plassholder for lysbildenummer 3"/>
          <p:cNvSpPr>
            <a:spLocks noGrp="1"/>
          </p:cNvSpPr>
          <p:nvPr>
            <p:ph type="sldNum" sz="quarter" idx="5"/>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fld id="{D5A18DB6-BA4F-C140-84D8-8043E62B7483}" type="slidenum">
              <a:rPr kumimoji="0" lang="nb-NO" sz="900" b="0" i="0" u="none" strike="noStrike" kern="1200" cap="none" spc="0" normalizeH="0" baseline="0" noProof="0" smtClean="0">
                <a:ln>
                  <a:noFill/>
                </a:ln>
                <a:solidFill>
                  <a:srgbClr val="7F7F7F"/>
                </a:solidFill>
                <a:effectLst/>
                <a:uLnTx/>
                <a:uFillTx/>
                <a:latin typeface="Arial" charset="0"/>
                <a:ea typeface="+mn-ea"/>
                <a:cs typeface="+mn-cs"/>
              </a:rPr>
              <a:pPr marL="0" marR="0" lvl="0" indent="0" algn="l" defTabSz="457200" rtl="0" eaLnBrk="1" fontAlgn="base" latinLnBrk="0" hangingPunct="1">
                <a:lnSpc>
                  <a:spcPct val="100000"/>
                </a:lnSpc>
                <a:spcBef>
                  <a:spcPct val="0"/>
                </a:spcBef>
                <a:spcAft>
                  <a:spcPct val="0"/>
                </a:spcAft>
                <a:buClrTx/>
                <a:buSzTx/>
                <a:buFontTx/>
                <a:buNone/>
                <a:tabLst/>
                <a:defRPr/>
              </a:pPr>
              <a:t>8</a:t>
            </a:fld>
            <a:endParaRPr kumimoji="0" lang="nb-NO" sz="900" b="0" i="0" u="none" strike="noStrike" kern="1200" cap="none" spc="0" normalizeH="0" baseline="0" noProof="0">
              <a:ln>
                <a:noFill/>
              </a:ln>
              <a:solidFill>
                <a:srgbClr val="7F7F7F"/>
              </a:solidFill>
              <a:effectLst/>
              <a:uLnTx/>
              <a:uFillTx/>
              <a:latin typeface="Arial" charset="0"/>
              <a:ea typeface="+mn-ea"/>
              <a:cs typeface="+mn-cs"/>
            </a:endParaRPr>
          </a:p>
        </p:txBody>
      </p:sp>
    </p:spTree>
    <p:extLst>
      <p:ext uri="{BB962C8B-B14F-4D97-AF65-F5344CB8AC3E}">
        <p14:creationId xmlns:p14="http://schemas.microsoft.com/office/powerpoint/2010/main" val="2691725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900">
                <a:latin typeface="Arial" panose="020B0604020202020204" pitchFamily="34" charset="0"/>
                <a:cs typeface="Arial" panose="020B0604020202020204" pitchFamily="34" charset="0"/>
              </a:rPr>
              <a:t>Digitalisering og aldring er de to trendene fleste NAV-ansatte mener vil påvirke NAV som helhet. Aldring skiller seg ut ved at det her er klart færre som mener at det vil påvirke egne arbeidsoppgaver (ikke vist i figuren). Det skyldes at det er relativt få i NAV som jobber på pensjonsområdet eller med eldre brukergrupper, og at konsekvensene av aldringen for mange NAV-ansatte hovedsakelig vil være indirekte gjennom utfordringer med å sikre velferdsstatens bærekraft.</a:t>
            </a:r>
          </a:p>
          <a:p>
            <a:endParaRPr lang="nb-NO" sz="900">
              <a:latin typeface="Arial" panose="020B0604020202020204" pitchFamily="34" charset="0"/>
              <a:cs typeface="Arial" panose="020B0604020202020204" pitchFamily="34" charset="0"/>
            </a:endParaRPr>
          </a:p>
          <a:p>
            <a:r>
              <a:rPr lang="nb-NO" sz="900">
                <a:latin typeface="Arial" panose="020B0604020202020204" pitchFamily="34" charset="0"/>
                <a:cs typeface="Arial" panose="020B0604020202020204" pitchFamily="34" charset="0"/>
              </a:rPr>
              <a:t>Et paradoks er at økende politisk polarisering og lavere tillit til offentlig sektor er de to trendene som færrest mener vil påvirke NAV som helhet, mens vi i omverdensanalysen ellers konkluderer med økt risiko for nettopp disse to trendene. Dette kan dermed ses på som en blindsone, som en litt undervurdert trend i NAV som vi bør forberede oss på.</a:t>
            </a:r>
          </a:p>
        </p:txBody>
      </p:sp>
      <p:sp>
        <p:nvSpPr>
          <p:cNvPr id="4" name="Slide Number Placeholder 3"/>
          <p:cNvSpPr>
            <a:spLocks noGrp="1"/>
          </p:cNvSpPr>
          <p:nvPr>
            <p:ph type="sldNum" sz="quarter" idx="5"/>
          </p:nvPr>
        </p:nvSpPr>
        <p:spPr/>
        <p:txBody>
          <a:bodyPr/>
          <a:lstStyle/>
          <a:p>
            <a:fld id="{98B41E4A-C9BD-4ED1-94A6-2BE1BCC0AA47}" type="slidenum">
              <a:rPr lang="nb-NO" smtClean="0"/>
              <a:t>9</a:t>
            </a:fld>
            <a:endParaRPr lang="nb-NO"/>
          </a:p>
        </p:txBody>
      </p:sp>
    </p:spTree>
    <p:extLst>
      <p:ext uri="{BB962C8B-B14F-4D97-AF65-F5344CB8AC3E}">
        <p14:creationId xmlns:p14="http://schemas.microsoft.com/office/powerpoint/2010/main" val="40564691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0C547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CD74E5-8D3F-5F45-AF55-379CE17407B8}"/>
              </a:ext>
            </a:extLst>
          </p:cNvPr>
          <p:cNvSpPr>
            <a:spLocks noGrp="1"/>
          </p:cNvSpPr>
          <p:nvPr>
            <p:ph type="ctrTitle" hasCustomPrompt="1"/>
          </p:nvPr>
        </p:nvSpPr>
        <p:spPr>
          <a:xfrm>
            <a:off x="525314" y="2684746"/>
            <a:ext cx="6551347" cy="1396431"/>
          </a:xfrm>
        </p:spPr>
        <p:txBody>
          <a:bodyPr anchor="ctr">
            <a:normAutofit/>
          </a:bodyPr>
          <a:lstStyle>
            <a:lvl1pPr algn="l">
              <a:defRPr sz="3600" b="1">
                <a:solidFill>
                  <a:schemeClr val="bg1"/>
                </a:solidFill>
              </a:defRPr>
            </a:lvl1pPr>
          </a:lstStyle>
          <a:p>
            <a:r>
              <a:rPr lang="nb-NO"/>
              <a:t>Klikk for å redigere tittelen</a:t>
            </a:r>
          </a:p>
        </p:txBody>
      </p:sp>
      <p:sp>
        <p:nvSpPr>
          <p:cNvPr id="3" name="Undertittel 2">
            <a:extLst>
              <a:ext uri="{FF2B5EF4-FFF2-40B4-BE49-F238E27FC236}">
                <a16:creationId xmlns:a16="http://schemas.microsoft.com/office/drawing/2014/main" id="{5C570008-A996-2D4B-88A3-9861CBD4FED0}"/>
              </a:ext>
            </a:extLst>
          </p:cNvPr>
          <p:cNvSpPr>
            <a:spLocks noGrp="1"/>
          </p:cNvSpPr>
          <p:nvPr>
            <p:ph type="subTitle" idx="1"/>
          </p:nvPr>
        </p:nvSpPr>
        <p:spPr>
          <a:xfrm>
            <a:off x="525315" y="4173253"/>
            <a:ext cx="588873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8" name="Plassholder for bilde 3">
            <a:extLst>
              <a:ext uri="{FF2B5EF4-FFF2-40B4-BE49-F238E27FC236}">
                <a16:creationId xmlns:a16="http://schemas.microsoft.com/office/drawing/2014/main" id="{195ACC3E-6C58-8E40-A78D-5639EBDF9C43}"/>
              </a:ext>
            </a:extLst>
          </p:cNvPr>
          <p:cNvSpPr>
            <a:spLocks noGrp="1" noChangeAspect="1"/>
          </p:cNvSpPr>
          <p:nvPr>
            <p:ph type="pic" sz="quarter" idx="11"/>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1"/>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en-US"/>
              <a:t>Click icon to add picture</a:t>
            </a:r>
            <a:endParaRPr lang="nb-NO"/>
          </a:p>
        </p:txBody>
      </p:sp>
      <p:sp>
        <p:nvSpPr>
          <p:cNvPr id="9" name="Text Placeholder 8">
            <a:extLst>
              <a:ext uri="{FF2B5EF4-FFF2-40B4-BE49-F238E27FC236}">
                <a16:creationId xmlns:a16="http://schemas.microsoft.com/office/drawing/2014/main" id="{A5AB20B5-22F5-7F42-98FA-915865BDDA6B}"/>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pic>
        <p:nvPicPr>
          <p:cNvPr id="7" name="Grafikk 6">
            <a:extLst>
              <a:ext uri="{FF2B5EF4-FFF2-40B4-BE49-F238E27FC236}">
                <a16:creationId xmlns:a16="http://schemas.microsoft.com/office/drawing/2014/main" id="{9731FE1C-E2F8-7042-8566-1A6CE70B9A4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529424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med sirkel">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9630795E-AD26-E64A-9C79-FA3F9BB4963A}"/>
              </a:ext>
            </a:extLst>
          </p:cNvPr>
          <p:cNvSpPr>
            <a:spLocks noGrp="1"/>
          </p:cNvSpPr>
          <p:nvPr>
            <p:ph type="ftr" sz="quarter" idx="11"/>
          </p:nvPr>
        </p:nvSpPr>
        <p:spPr>
          <a:xfrm>
            <a:off x="1765788" y="6356350"/>
            <a:ext cx="3466263"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B1F69FF2-4FB1-3544-9B7F-A00D9E4C1A74}"/>
              </a:ext>
            </a:extLst>
          </p:cNvPr>
          <p:cNvSpPr>
            <a:spLocks noGrp="1"/>
          </p:cNvSpPr>
          <p:nvPr>
            <p:ph type="sldNum" sz="quarter" idx="12"/>
          </p:nvPr>
        </p:nvSpPr>
        <p:spPr>
          <a:xfrm>
            <a:off x="5418421" y="6356350"/>
            <a:ext cx="741600" cy="365125"/>
          </a:xfrm>
        </p:spPr>
        <p:txBody>
          <a:bodyPr/>
          <a:lstStyle/>
          <a:p>
            <a:fld id="{95102788-B3AA-6746-B4E5-C52EBB4D0CEE}" type="slidenum">
              <a:rPr lang="nb-NO" smtClean="0"/>
              <a:t>‹#›</a:t>
            </a:fld>
            <a:endParaRPr lang="nb-NO"/>
          </a:p>
        </p:txBody>
      </p:sp>
      <p:sp>
        <p:nvSpPr>
          <p:cNvPr id="9" name="Plassholder for bilde 5">
            <a:extLst>
              <a:ext uri="{FF2B5EF4-FFF2-40B4-BE49-F238E27FC236}">
                <a16:creationId xmlns:a16="http://schemas.microsoft.com/office/drawing/2014/main" id="{701CE543-F5B4-D84C-A6FC-FAFF3D0AAFC3}"/>
              </a:ext>
            </a:extLst>
          </p:cNvPr>
          <p:cNvSpPr>
            <a:spLocks noGrp="1" noChangeAspect="1"/>
          </p:cNvSpPr>
          <p:nvPr>
            <p:ph type="pic" sz="quarter" idx="13"/>
          </p:nvPr>
        </p:nvSpPr>
        <p:spPr>
          <a:xfrm>
            <a:off x="5973237" y="602647"/>
            <a:ext cx="5652706" cy="5652706"/>
          </a:xfrm>
          <a:prstGeom prst="ellipse">
            <a:avLst/>
          </a:prstGeom>
          <a:solidFill>
            <a:schemeClr val="bg2"/>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8" name="Plassholder for innhold 2">
            <a:extLst>
              <a:ext uri="{FF2B5EF4-FFF2-40B4-BE49-F238E27FC236}">
                <a16:creationId xmlns:a16="http://schemas.microsoft.com/office/drawing/2014/main" id="{6300D294-78C3-134A-B8DB-F895410ECD2E}"/>
              </a:ext>
            </a:extLst>
          </p:cNvPr>
          <p:cNvSpPr>
            <a:spLocks noGrp="1"/>
          </p:cNvSpPr>
          <p:nvPr>
            <p:ph idx="1" hasCustomPrompt="1"/>
          </p:nvPr>
        </p:nvSpPr>
        <p:spPr>
          <a:xfrm>
            <a:off x="838200" y="1825625"/>
            <a:ext cx="495102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10" name="Tittel 1">
            <a:extLst>
              <a:ext uri="{FF2B5EF4-FFF2-40B4-BE49-F238E27FC236}">
                <a16:creationId xmlns:a16="http://schemas.microsoft.com/office/drawing/2014/main" id="{FE2CAD38-4FD8-5D47-94F7-E677546BBB25}"/>
              </a:ext>
            </a:extLst>
          </p:cNvPr>
          <p:cNvSpPr>
            <a:spLocks noGrp="1"/>
          </p:cNvSpPr>
          <p:nvPr>
            <p:ph type="title" hasCustomPrompt="1"/>
          </p:nvPr>
        </p:nvSpPr>
        <p:spPr>
          <a:xfrm>
            <a:off x="838200" y="482400"/>
            <a:ext cx="5533571" cy="1072080"/>
          </a:xfrm>
        </p:spPr>
        <p:txBody>
          <a:bodyPr/>
          <a:lstStyle/>
          <a:p>
            <a:r>
              <a:rPr lang="nb-NO"/>
              <a:t>Klikk for å redigere tittelen</a:t>
            </a:r>
          </a:p>
        </p:txBody>
      </p:sp>
    </p:spTree>
    <p:extLst>
      <p:ext uri="{BB962C8B-B14F-4D97-AF65-F5344CB8AC3E}">
        <p14:creationId xmlns:p14="http://schemas.microsoft.com/office/powerpoint/2010/main" val="761498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rkl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69CFF4-987B-5A43-8582-31F67145E3E1}"/>
              </a:ext>
            </a:extLst>
          </p:cNvPr>
          <p:cNvSpPr>
            <a:spLocks noGrp="1"/>
          </p:cNvSpPr>
          <p:nvPr>
            <p:ph type="title"/>
          </p:nvPr>
        </p:nvSpPr>
        <p:spPr/>
        <p:txBody>
          <a:bodyPr/>
          <a:lstStyle/>
          <a:p>
            <a:r>
              <a:rPr lang="en-US"/>
              <a:t>Click to edit Master title style</a:t>
            </a:r>
            <a:endParaRPr lang="nb-NO"/>
          </a:p>
        </p:txBody>
      </p:sp>
      <p:sp>
        <p:nvSpPr>
          <p:cNvPr id="3" name="Plassholder for lysbildenummer 2">
            <a:extLst>
              <a:ext uri="{FF2B5EF4-FFF2-40B4-BE49-F238E27FC236}">
                <a16:creationId xmlns:a16="http://schemas.microsoft.com/office/drawing/2014/main" id="{E9603651-05EC-6948-B335-00924944B6CC}"/>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CDCE326E-B227-394D-A659-399CE735CEE6}"/>
              </a:ext>
            </a:extLst>
          </p:cNvPr>
          <p:cNvSpPr>
            <a:spLocks noGrp="1"/>
          </p:cNvSpPr>
          <p:nvPr>
            <p:ph type="ftr" sz="quarter" idx="11"/>
          </p:nvPr>
        </p:nvSpPr>
        <p:spPr/>
        <p:txBody>
          <a:bodyPr/>
          <a:lstStyle/>
          <a:p>
            <a:endParaRPr lang="nb-NO"/>
          </a:p>
        </p:txBody>
      </p:sp>
      <p:sp>
        <p:nvSpPr>
          <p:cNvPr id="5" name="Plassholder for bilde 5">
            <a:extLst>
              <a:ext uri="{FF2B5EF4-FFF2-40B4-BE49-F238E27FC236}">
                <a16:creationId xmlns:a16="http://schemas.microsoft.com/office/drawing/2014/main" id="{643807C2-292F-894E-874A-C85D7E9D69AA}"/>
              </a:ext>
            </a:extLst>
          </p:cNvPr>
          <p:cNvSpPr>
            <a:spLocks noGrp="1" noChangeAspect="1"/>
          </p:cNvSpPr>
          <p:nvPr>
            <p:ph type="pic" sz="quarter" idx="12"/>
          </p:nvPr>
        </p:nvSpPr>
        <p:spPr>
          <a:xfrm>
            <a:off x="838200"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6" name="Plassholder for bilde 5">
            <a:extLst>
              <a:ext uri="{FF2B5EF4-FFF2-40B4-BE49-F238E27FC236}">
                <a16:creationId xmlns:a16="http://schemas.microsoft.com/office/drawing/2014/main" id="{5324C5C5-907C-D34E-836F-29B532757AD4}"/>
              </a:ext>
            </a:extLst>
          </p:cNvPr>
          <p:cNvSpPr>
            <a:spLocks noGrp="1" noChangeAspect="1"/>
          </p:cNvSpPr>
          <p:nvPr>
            <p:ph type="pic" sz="quarter" idx="27"/>
          </p:nvPr>
        </p:nvSpPr>
        <p:spPr>
          <a:xfrm>
            <a:off x="4518119"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7" name="Plassholder for bilde 5">
            <a:extLst>
              <a:ext uri="{FF2B5EF4-FFF2-40B4-BE49-F238E27FC236}">
                <a16:creationId xmlns:a16="http://schemas.microsoft.com/office/drawing/2014/main" id="{BA339474-4310-4E4C-8300-B9375051CA40}"/>
              </a:ext>
            </a:extLst>
          </p:cNvPr>
          <p:cNvSpPr>
            <a:spLocks noGrp="1" noChangeAspect="1"/>
          </p:cNvSpPr>
          <p:nvPr>
            <p:ph type="pic" sz="quarter" idx="28"/>
          </p:nvPr>
        </p:nvSpPr>
        <p:spPr>
          <a:xfrm>
            <a:off x="8206218"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10" name="Plassholder for tekst 2">
            <a:extLst>
              <a:ext uri="{FF2B5EF4-FFF2-40B4-BE49-F238E27FC236}">
                <a16:creationId xmlns:a16="http://schemas.microsoft.com/office/drawing/2014/main" id="{3420036C-1838-DE4A-BADD-245630D31E50}"/>
              </a:ext>
            </a:extLst>
          </p:cNvPr>
          <p:cNvSpPr>
            <a:spLocks noGrp="1"/>
          </p:cNvSpPr>
          <p:nvPr>
            <p:ph type="body" sz="quarter" idx="33"/>
          </p:nvPr>
        </p:nvSpPr>
        <p:spPr>
          <a:xfrm>
            <a:off x="8080585" y="5161212"/>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
        <p:nvSpPr>
          <p:cNvPr id="11" name="Plassholder for tekst 2">
            <a:extLst>
              <a:ext uri="{FF2B5EF4-FFF2-40B4-BE49-F238E27FC236}">
                <a16:creationId xmlns:a16="http://schemas.microsoft.com/office/drawing/2014/main" id="{94BB1344-2B8D-6C4F-AF3C-799F28132DC6}"/>
              </a:ext>
            </a:extLst>
          </p:cNvPr>
          <p:cNvSpPr>
            <a:spLocks noGrp="1"/>
          </p:cNvSpPr>
          <p:nvPr>
            <p:ph type="body" sz="quarter" idx="34"/>
          </p:nvPr>
        </p:nvSpPr>
        <p:spPr>
          <a:xfrm>
            <a:off x="4392484"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
        <p:nvSpPr>
          <p:cNvPr id="12" name="Plassholder for tekst 2">
            <a:extLst>
              <a:ext uri="{FF2B5EF4-FFF2-40B4-BE49-F238E27FC236}">
                <a16:creationId xmlns:a16="http://schemas.microsoft.com/office/drawing/2014/main" id="{82C78190-F0C7-F94A-8B39-D2876F768B7D}"/>
              </a:ext>
            </a:extLst>
          </p:cNvPr>
          <p:cNvSpPr>
            <a:spLocks noGrp="1"/>
          </p:cNvSpPr>
          <p:nvPr>
            <p:ph type="body" sz="quarter" idx="35"/>
          </p:nvPr>
        </p:nvSpPr>
        <p:spPr>
          <a:xfrm>
            <a:off x="712565"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Tree>
    <p:extLst>
      <p:ext uri="{BB962C8B-B14F-4D97-AF65-F5344CB8AC3E}">
        <p14:creationId xmlns:p14="http://schemas.microsoft.com/office/powerpoint/2010/main" val="3976662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C med bilde">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87046D5-FCF3-DD40-B896-2E3520046E70}"/>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52DA0986-BEFB-4A44-98B6-D10264B4EA5C}"/>
              </a:ext>
            </a:extLst>
          </p:cNvPr>
          <p:cNvSpPr>
            <a:spLocks noGrp="1"/>
          </p:cNvSpPr>
          <p:nvPr>
            <p:ph type="ftr" sz="quarter" idx="11"/>
          </p:nvPr>
        </p:nvSpPr>
        <p:spPr/>
        <p:txBody>
          <a:bodyPr/>
          <a:lstStyle/>
          <a:p>
            <a:endParaRPr lang="nb-NO"/>
          </a:p>
        </p:txBody>
      </p:sp>
      <p:pic>
        <p:nvPicPr>
          <p:cNvPr id="5" name="Plassholder for innhold 3">
            <a:extLst>
              <a:ext uri="{FF2B5EF4-FFF2-40B4-BE49-F238E27FC236}">
                <a16:creationId xmlns:a16="http://schemas.microsoft.com/office/drawing/2014/main" id="{92C05EAD-0F07-3B45-8747-833BB1F2A5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
          <a:stretch/>
        </p:blipFill>
        <p:spPr bwMode="auto">
          <a:xfrm>
            <a:off x="1482417" y="660910"/>
            <a:ext cx="8995930" cy="51012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6" name="Plassholder for bilde 5">
            <a:extLst>
              <a:ext uri="{FF2B5EF4-FFF2-40B4-BE49-F238E27FC236}">
                <a16:creationId xmlns:a16="http://schemas.microsoft.com/office/drawing/2014/main" id="{CADDA05B-7DC7-D845-8F78-41EFC4912172}"/>
              </a:ext>
            </a:extLst>
          </p:cNvPr>
          <p:cNvSpPr>
            <a:spLocks noGrp="1"/>
          </p:cNvSpPr>
          <p:nvPr>
            <p:ph type="pic" sz="quarter" idx="12"/>
          </p:nvPr>
        </p:nvSpPr>
        <p:spPr>
          <a:xfrm>
            <a:off x="2337218" y="907450"/>
            <a:ext cx="7311543" cy="4363809"/>
          </a:xfrm>
          <a:prstGeom prst="rect">
            <a:avLst/>
          </a:prstGeom>
          <a:solidFill>
            <a:schemeClr val="bg1"/>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Tree>
    <p:extLst>
      <p:ext uri="{BB962C8B-B14F-4D97-AF65-F5344CB8AC3E}">
        <p14:creationId xmlns:p14="http://schemas.microsoft.com/office/powerpoint/2010/main" val="3199924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4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en-US"/>
              <a:t>Click icon to add picture</a:t>
            </a:r>
            <a:endParaRPr lang="nb-NO"/>
          </a:p>
        </p:txBody>
      </p:sp>
    </p:spTree>
    <p:extLst>
      <p:ext uri="{BB962C8B-B14F-4D97-AF65-F5344CB8AC3E}">
        <p14:creationId xmlns:p14="http://schemas.microsoft.com/office/powerpoint/2010/main" val="1227004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normAutofit/>
          </a:bodyPr>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6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en-US"/>
              <a:t>Click icon to add picture</a:t>
            </a:r>
            <a:endParaRPr lang="nb-NO"/>
          </a:p>
        </p:txBody>
      </p:sp>
      <p:sp>
        <p:nvSpPr>
          <p:cNvPr id="3" name="Text Placeholder 7">
            <a:extLst>
              <a:ext uri="{FF2B5EF4-FFF2-40B4-BE49-F238E27FC236}">
                <a16:creationId xmlns:a16="http://schemas.microsoft.com/office/drawing/2014/main" id="{17FB01FB-60B2-5E41-A15B-1235CEC30B73}"/>
              </a:ext>
            </a:extLst>
          </p:cNvPr>
          <p:cNvSpPr>
            <a:spLocks noGrp="1"/>
          </p:cNvSpPr>
          <p:nvPr>
            <p:ph type="body" sz="quarter" idx="14" hasCustomPrompt="1"/>
          </p:nvPr>
        </p:nvSpPr>
        <p:spPr>
          <a:xfrm>
            <a:off x="0" y="4978400"/>
            <a:ext cx="12192000" cy="1294006"/>
          </a:xfrm>
          <a:solidFill>
            <a:srgbClr val="3E3832">
              <a:alpha val="69804"/>
            </a:srgbClr>
          </a:solidFill>
        </p:spPr>
        <p:txBody>
          <a:bodyPr wrap="square" lIns="1440000" tIns="180000" rIns="1475999" bIns="216000" anchor="ctr" anchorCtr="0">
            <a:noAutofit/>
          </a:bodyPr>
          <a:lstStyle>
            <a:lvl1pPr marL="36000" indent="0" algn="ctr">
              <a:lnSpc>
                <a:spcPct val="100000"/>
              </a:lnSpc>
              <a:spcBef>
                <a:spcPts val="600"/>
              </a:spcBef>
              <a:buClr>
                <a:schemeClr val="accent3"/>
              </a:buClr>
              <a:buSzPct val="110000"/>
              <a:buFont typeface="Arial" panose="020B0604020202020204" pitchFamily="34" charset="0"/>
              <a:buNone/>
              <a:defRPr sz="3200" baseline="0">
                <a:solidFill>
                  <a:schemeClr val="bg1"/>
                </a:solidFill>
                <a:latin typeface="Arial" panose="020B0604020202020204" pitchFamily="34" charset="0"/>
                <a:cs typeface="Arial" panose="020B0604020202020204" pitchFamily="34" charset="0"/>
              </a:defRPr>
            </a:lvl1pPr>
            <a:lvl2pPr marL="216000" indent="0" algn="ctr">
              <a:spcBef>
                <a:spcPts val="600"/>
              </a:spcBef>
              <a:buClr>
                <a:schemeClr val="accent3"/>
              </a:buClr>
              <a:buSzPct val="110000"/>
              <a:buFont typeface="Arial" panose="020B0604020202020204" pitchFamily="34" charset="0"/>
              <a:buNone/>
              <a:defRPr sz="1200" baseline="0">
                <a:solidFill>
                  <a:schemeClr val="tx1"/>
                </a:solidFill>
                <a:latin typeface="Arial" panose="020B0604020202020204" pitchFamily="34" charset="0"/>
                <a:cs typeface="Arial" panose="020B0604020202020204" pitchFamily="34" charset="0"/>
              </a:defRPr>
            </a:lvl2pPr>
            <a:lvl3pPr marL="432000" indent="0" algn="ctr">
              <a:spcBef>
                <a:spcPts val="600"/>
              </a:spcBef>
              <a:buClr>
                <a:schemeClr val="accent3"/>
              </a:buClr>
              <a:buSzPct val="110000"/>
              <a:buFont typeface="Arial" panose="020B0604020202020204" pitchFamily="34" charset="0"/>
              <a:buNone/>
              <a:defRPr sz="1000" baseline="0">
                <a:solidFill>
                  <a:schemeClr val="tx1"/>
                </a:solidFill>
                <a:latin typeface="Arial" panose="020B0604020202020204" pitchFamily="34" charset="0"/>
                <a:cs typeface="Arial" panose="020B0604020202020204" pitchFamily="34" charset="0"/>
              </a:defRPr>
            </a:lvl3pPr>
            <a:lvl4pPr indent="-216000">
              <a:spcBef>
                <a:spcPts val="700"/>
              </a:spcBef>
              <a:buClr>
                <a:schemeClr val="accent6"/>
              </a:buClr>
              <a:buSzPct val="110000"/>
              <a:defRPr sz="1600" baseline="0">
                <a:solidFill>
                  <a:srgbClr val="007272"/>
                </a:solidFill>
                <a:latin typeface="Segoe UI"/>
              </a:defRPr>
            </a:lvl4pPr>
            <a:lvl5pPr indent="-216000">
              <a:spcBef>
                <a:spcPts val="700"/>
              </a:spcBef>
              <a:buClr>
                <a:schemeClr val="accent6"/>
              </a:buClr>
              <a:buSzPct val="110000"/>
              <a:defRPr sz="1600" baseline="0">
                <a:solidFill>
                  <a:srgbClr val="007272"/>
                </a:solidFill>
                <a:latin typeface="Segoe UI"/>
              </a:defRPr>
            </a:lvl5pPr>
          </a:lstStyle>
          <a:p>
            <a:pPr lvl="0"/>
            <a:r>
              <a:rPr lang="nb-NO"/>
              <a:t>Klikk for å redigere teksten</a:t>
            </a:r>
          </a:p>
        </p:txBody>
      </p:sp>
    </p:spTree>
    <p:extLst>
      <p:ext uri="{BB962C8B-B14F-4D97-AF65-F5344CB8AC3E}">
        <p14:creationId xmlns:p14="http://schemas.microsoft.com/office/powerpoint/2010/main" val="2066016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Plassholder for media 2">
            <a:extLst>
              <a:ext uri="{FF2B5EF4-FFF2-40B4-BE49-F238E27FC236}">
                <a16:creationId xmlns:a16="http://schemas.microsoft.com/office/drawing/2014/main" id="{873143D7-64FC-5342-9DED-8AE8E11EED5E}"/>
              </a:ext>
            </a:extLst>
          </p:cNvPr>
          <p:cNvSpPr>
            <a:spLocks noGrp="1"/>
          </p:cNvSpPr>
          <p:nvPr>
            <p:ph type="media" sz="quarter" idx="10"/>
          </p:nvPr>
        </p:nvSpPr>
        <p:spPr>
          <a:xfrm>
            <a:off x="0" y="0"/>
            <a:ext cx="12192000" cy="6858000"/>
          </a:xfrm>
        </p:spPr>
        <p:txBody>
          <a:bodyPr anchor="ctr"/>
          <a:lstStyle>
            <a:lvl1pPr marL="0" indent="0" algn="ctr">
              <a:buNone/>
              <a:defRPr sz="1800"/>
            </a:lvl1pPr>
          </a:lstStyle>
          <a:p>
            <a:r>
              <a:rPr lang="en-US"/>
              <a:t>Click icon to add media</a:t>
            </a:r>
            <a:endParaRPr lang="nb-NO"/>
          </a:p>
        </p:txBody>
      </p:sp>
    </p:spTree>
    <p:extLst>
      <p:ext uri="{BB962C8B-B14F-4D97-AF65-F5344CB8AC3E}">
        <p14:creationId xmlns:p14="http://schemas.microsoft.com/office/powerpoint/2010/main" val="15013405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rgbClr val="194D62"/>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141D8BD7-34C7-FB4E-8EE0-45670F6F41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948384"/>
            <a:ext cx="1528110" cy="961231"/>
          </a:xfrm>
          <a:prstGeom prst="rect">
            <a:avLst/>
          </a:prstGeom>
        </p:spPr>
      </p:pic>
    </p:spTree>
    <p:extLst>
      <p:ext uri="{BB962C8B-B14F-4D97-AF65-F5344CB8AC3E}">
        <p14:creationId xmlns:p14="http://schemas.microsoft.com/office/powerpoint/2010/main" val="986378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vslutning med tekst">
    <p:bg>
      <p:bgPr>
        <a:solidFill>
          <a:srgbClr val="0C547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C4ED5FE-FAC3-BD40-BDD1-8009A2F54019}"/>
              </a:ext>
            </a:extLst>
          </p:cNvPr>
          <p:cNvSpPr>
            <a:spLocks noGrp="1"/>
          </p:cNvSpPr>
          <p:nvPr>
            <p:ph type="body" sz="quarter" idx="10" hasCustomPrompt="1"/>
          </p:nvPr>
        </p:nvSpPr>
        <p:spPr>
          <a:xfrm>
            <a:off x="1733550" y="3429000"/>
            <a:ext cx="8724900" cy="1222375"/>
          </a:xfrm>
        </p:spPr>
        <p:txBody>
          <a:bodyPr anchor="ctr">
            <a:normAutofit/>
          </a:bodyPr>
          <a:lstStyle>
            <a:lvl1pPr marL="0" indent="0" algn="ctr">
              <a:buNone/>
              <a:defRPr sz="2800">
                <a:solidFill>
                  <a:schemeClr val="bg1"/>
                </a:solidFill>
              </a:defRPr>
            </a:lvl1pPr>
          </a:lstStyle>
          <a:p>
            <a:pPr lvl="0"/>
            <a:r>
              <a:rPr lang="nb-NO"/>
              <a:t>Klikk for å redigere teksten</a:t>
            </a:r>
          </a:p>
        </p:txBody>
      </p:sp>
      <p:pic>
        <p:nvPicPr>
          <p:cNvPr id="4" name="Grafikk 3">
            <a:extLst>
              <a:ext uri="{FF2B5EF4-FFF2-40B4-BE49-F238E27FC236}">
                <a16:creationId xmlns:a16="http://schemas.microsoft.com/office/drawing/2014/main" id="{672B9334-46BF-204E-85D9-3EDF82BC6F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013664"/>
            <a:ext cx="1528110" cy="961231"/>
          </a:xfrm>
          <a:prstGeom prst="rect">
            <a:avLst/>
          </a:prstGeom>
        </p:spPr>
      </p:pic>
    </p:spTree>
    <p:extLst>
      <p:ext uri="{BB962C8B-B14F-4D97-AF65-F5344CB8AC3E}">
        <p14:creationId xmlns:p14="http://schemas.microsoft.com/office/powerpoint/2010/main" val="6241443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o innholdsdeler">
    <p:spTree>
      <p:nvGrpSpPr>
        <p:cNvPr id="1" name=""/>
        <p:cNvGrpSpPr/>
        <p:nvPr/>
      </p:nvGrpSpPr>
      <p:grpSpPr>
        <a:xfrm>
          <a:off x="0" y="0"/>
          <a:ext cx="0" cy="0"/>
          <a:chOff x="0" y="0"/>
          <a:chExt cx="0" cy="0"/>
        </a:xfrm>
      </p:grpSpPr>
      <p:sp>
        <p:nvSpPr>
          <p:cNvPr id="8" name="Plassholder for tekst 2"/>
          <p:cNvSpPr>
            <a:spLocks noGrp="1"/>
          </p:cNvSpPr>
          <p:nvPr>
            <p:ph type="body" idx="1"/>
          </p:nvPr>
        </p:nvSpPr>
        <p:spPr>
          <a:xfrm>
            <a:off x="508381" y="1712180"/>
            <a:ext cx="5386917" cy="712787"/>
          </a:xfrm>
          <a:prstGeom prst="rect">
            <a:avLst/>
          </a:prstGeom>
        </p:spPr>
        <p:txBody>
          <a:bodyPr anchor="b">
            <a:normAutofit/>
          </a:bodyPr>
          <a:lstStyle>
            <a:lvl1pPr marL="0" indent="0">
              <a:buNone/>
              <a:defRPr sz="2400" b="0"/>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 tekststiler i malen</a:t>
            </a:r>
          </a:p>
        </p:txBody>
      </p:sp>
      <p:sp>
        <p:nvSpPr>
          <p:cNvPr id="9" name="Plassholder for tekst 4"/>
          <p:cNvSpPr>
            <a:spLocks noGrp="1"/>
          </p:cNvSpPr>
          <p:nvPr>
            <p:ph type="body" sz="quarter" idx="3"/>
          </p:nvPr>
        </p:nvSpPr>
        <p:spPr>
          <a:xfrm>
            <a:off x="6292854" y="1712997"/>
            <a:ext cx="5389033" cy="712787"/>
          </a:xfrm>
          <a:prstGeom prst="rect">
            <a:avLst/>
          </a:prstGeom>
        </p:spPr>
        <p:txBody>
          <a:bodyPr anchor="b">
            <a:normAutofit/>
          </a:bodyPr>
          <a:lstStyle>
            <a:lvl1pPr marL="0" indent="0">
              <a:buNone/>
              <a:defRPr sz="2400" b="0"/>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 tekststiler i malen</a:t>
            </a:r>
          </a:p>
        </p:txBody>
      </p:sp>
      <p:sp>
        <p:nvSpPr>
          <p:cNvPr id="11" name="Plassholder for innhold 3"/>
          <p:cNvSpPr>
            <a:spLocks noGrp="1"/>
          </p:cNvSpPr>
          <p:nvPr>
            <p:ph sz="quarter" idx="10"/>
          </p:nvPr>
        </p:nvSpPr>
        <p:spPr>
          <a:xfrm>
            <a:off x="509536" y="2528239"/>
            <a:ext cx="5376333" cy="3553884"/>
          </a:xfrm>
          <a:prstGeom prst="rect">
            <a:avLst/>
          </a:prstGeom>
        </p:spPr>
        <p:txBody>
          <a:bodyPr>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3"/>
          <p:cNvSpPr>
            <a:spLocks noGrp="1"/>
          </p:cNvSpPr>
          <p:nvPr>
            <p:ph sz="quarter" idx="12"/>
          </p:nvPr>
        </p:nvSpPr>
        <p:spPr>
          <a:xfrm>
            <a:off x="6306843" y="2523895"/>
            <a:ext cx="5376333" cy="3553884"/>
          </a:xfrm>
          <a:prstGeom prst="rect">
            <a:avLst/>
          </a:prstGeom>
        </p:spPr>
        <p:txBody>
          <a:bodyPr>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Rectangle 2"/>
          <p:cNvSpPr>
            <a:spLocks noGrp="1" noChangeArrowheads="1"/>
          </p:cNvSpPr>
          <p:nvPr>
            <p:ph type="title"/>
          </p:nvPr>
        </p:nvSpPr>
        <p:spPr bwMode="auto">
          <a:xfrm>
            <a:off x="504827" y="241302"/>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5380833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2"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6" y="241301"/>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1458146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9435516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CD74E5-8D3F-5F45-AF55-379CE17407B8}"/>
              </a:ext>
            </a:extLst>
          </p:cNvPr>
          <p:cNvSpPr>
            <a:spLocks noGrp="1"/>
          </p:cNvSpPr>
          <p:nvPr>
            <p:ph type="ctrTitle" hasCustomPrompt="1"/>
          </p:nvPr>
        </p:nvSpPr>
        <p:spPr>
          <a:xfrm>
            <a:off x="525315" y="2684747"/>
            <a:ext cx="6551347" cy="1396431"/>
          </a:xfrm>
        </p:spPr>
        <p:txBody>
          <a:bodyPr anchor="ctr">
            <a:normAutofit/>
          </a:bodyPr>
          <a:lstStyle>
            <a:lvl1pPr algn="l">
              <a:defRPr sz="3600" b="1">
                <a:solidFill>
                  <a:schemeClr val="bg1"/>
                </a:solidFill>
              </a:defRPr>
            </a:lvl1pPr>
          </a:lstStyle>
          <a:p>
            <a:r>
              <a:rPr lang="nb-NO"/>
              <a:t>Klikk for å redigere tittelen</a:t>
            </a:r>
          </a:p>
        </p:txBody>
      </p:sp>
      <p:sp>
        <p:nvSpPr>
          <p:cNvPr id="3" name="Undertittel 2">
            <a:extLst>
              <a:ext uri="{FF2B5EF4-FFF2-40B4-BE49-F238E27FC236}">
                <a16:creationId xmlns:a16="http://schemas.microsoft.com/office/drawing/2014/main" id="{5C570008-A996-2D4B-88A3-9861CBD4FED0}"/>
              </a:ext>
            </a:extLst>
          </p:cNvPr>
          <p:cNvSpPr>
            <a:spLocks noGrp="1"/>
          </p:cNvSpPr>
          <p:nvPr>
            <p:ph type="subTitle" idx="1"/>
          </p:nvPr>
        </p:nvSpPr>
        <p:spPr>
          <a:xfrm>
            <a:off x="525315" y="4173254"/>
            <a:ext cx="5888739" cy="991169"/>
          </a:xfr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p>
        </p:txBody>
      </p:sp>
      <p:sp>
        <p:nvSpPr>
          <p:cNvPr id="8" name="Plassholder for bilde 3">
            <a:extLst>
              <a:ext uri="{FF2B5EF4-FFF2-40B4-BE49-F238E27FC236}">
                <a16:creationId xmlns:a16="http://schemas.microsoft.com/office/drawing/2014/main" id="{195ACC3E-6C58-8E40-A78D-5639EBDF9C43}"/>
              </a:ext>
            </a:extLst>
          </p:cNvPr>
          <p:cNvSpPr>
            <a:spLocks noGrp="1" noChangeAspect="1"/>
          </p:cNvSpPr>
          <p:nvPr>
            <p:ph type="pic" sz="quarter" idx="11"/>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362F2A"/>
          </a:solidFill>
          <a:ln>
            <a:noFill/>
          </a:ln>
          <a:effectLst/>
        </p:spPr>
        <p:txBody>
          <a:bodyPr lIns="1440000" tIns="468000" bIns="0" anchor="ctr" anchorCtr="0">
            <a:normAutofit/>
          </a:bodyPr>
          <a:lstStyle>
            <a:lvl1pPr marL="0" indent="0" algn="ctr">
              <a:buNone/>
              <a:defRPr sz="1400" baseline="0">
                <a:solidFill>
                  <a:schemeClr val="bg1"/>
                </a:solidFill>
              </a:defRPr>
            </a:lvl1pPr>
          </a:lstStyle>
          <a:p>
            <a:r>
              <a:rPr lang="nb-NO"/>
              <a:t>Klikk på ikonet for å legge til et bilde</a:t>
            </a:r>
          </a:p>
        </p:txBody>
      </p:sp>
      <p:sp>
        <p:nvSpPr>
          <p:cNvPr id="9" name="Text Placeholder 8">
            <a:extLst>
              <a:ext uri="{FF2B5EF4-FFF2-40B4-BE49-F238E27FC236}">
                <a16:creationId xmlns:a16="http://schemas.microsoft.com/office/drawing/2014/main" id="{A5AB20B5-22F5-7F42-98FA-915865BDDA6B}"/>
              </a:ext>
            </a:extLst>
          </p:cNvPr>
          <p:cNvSpPr>
            <a:spLocks noGrp="1"/>
          </p:cNvSpPr>
          <p:nvPr>
            <p:ph type="body" sz="quarter" idx="12" hasCustomPrompt="1"/>
          </p:nvPr>
        </p:nvSpPr>
        <p:spPr>
          <a:xfrm>
            <a:off x="525314" y="6193407"/>
            <a:ext cx="5062687" cy="431800"/>
          </a:xfrm>
        </p:spPr>
        <p:txBody>
          <a:bodyPr anchor="b"/>
          <a:lstStyle>
            <a:lvl1pPr marL="0" indent="0">
              <a:buNone/>
              <a:defRPr sz="1400">
                <a:solidFill>
                  <a:schemeClr val="bg1"/>
                </a:solidFill>
              </a:defRPr>
            </a:lvl1pPr>
            <a:lvl5pPr marL="1517613" indent="0">
              <a:buNone/>
              <a:defRPr/>
            </a:lvl5pPr>
          </a:lstStyle>
          <a:p>
            <a:pPr lvl="0"/>
            <a:r>
              <a:rPr lang="en-GB"/>
              <a:t>Dato  //  </a:t>
            </a:r>
            <a:r>
              <a:rPr lang="en-GB" err="1"/>
              <a:t>Ansvarlig</a:t>
            </a:r>
            <a:endParaRPr lang="en-GB"/>
          </a:p>
        </p:txBody>
      </p:sp>
      <p:pic>
        <p:nvPicPr>
          <p:cNvPr id="7" name="Grafikk 6">
            <a:extLst>
              <a:ext uri="{FF2B5EF4-FFF2-40B4-BE49-F238E27FC236}">
                <a16:creationId xmlns:a16="http://schemas.microsoft.com/office/drawing/2014/main" id="{1A4B6243-656A-E448-AE6D-5187B76AA0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90"/>
            <a:ext cx="1249283" cy="785839"/>
          </a:xfrm>
          <a:prstGeom prst="rect">
            <a:avLst/>
          </a:prstGeom>
        </p:spPr>
      </p:pic>
    </p:spTree>
    <p:extLst>
      <p:ext uri="{BB962C8B-B14F-4D97-AF65-F5344CB8AC3E}">
        <p14:creationId xmlns:p14="http://schemas.microsoft.com/office/powerpoint/2010/main" val="39525091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solidFill>
                  <a:schemeClr val="tx1"/>
                </a:solidFill>
              </a:defRPr>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lvl1pPr>
              <a:buClrTx/>
              <a:defRPr/>
            </a:lvl1pPr>
            <a:lvl2pPr>
              <a:buClrTx/>
              <a:defRPr/>
            </a:lvl2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2476226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_Tittel og innho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solidFill>
                  <a:schemeClr val="bg1"/>
                </a:solidFill>
              </a:defRPr>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lvl1pPr>
              <a:buClrTx/>
              <a:defRPr>
                <a:solidFill>
                  <a:schemeClr val="bg1"/>
                </a:solidFill>
              </a:defRPr>
            </a:lvl1pPr>
            <a:lvl2pPr>
              <a:buClrTx/>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6078182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orside uten bilde">
    <p:bg>
      <p:bgPr>
        <a:solidFill>
          <a:schemeClr val="tx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29CA91F-E19A-D84E-BDCE-60610D23E645}"/>
              </a:ext>
            </a:extLst>
          </p:cNvPr>
          <p:cNvSpPr>
            <a:spLocks noGrp="1"/>
          </p:cNvSpPr>
          <p:nvPr>
            <p:ph type="body" sz="quarter" idx="12" hasCustomPrompt="1"/>
          </p:nvPr>
        </p:nvSpPr>
        <p:spPr>
          <a:xfrm>
            <a:off x="525314" y="6193407"/>
            <a:ext cx="5062687" cy="431800"/>
          </a:xfrm>
        </p:spPr>
        <p:txBody>
          <a:bodyPr anchor="b"/>
          <a:lstStyle>
            <a:lvl1pPr marL="0" indent="0">
              <a:buNone/>
              <a:defRPr sz="1400">
                <a:solidFill>
                  <a:schemeClr val="bg1"/>
                </a:solidFill>
              </a:defRPr>
            </a:lvl1pPr>
            <a:lvl5pPr marL="1517613" indent="0">
              <a:buNone/>
              <a:defRPr/>
            </a:lvl5pPr>
          </a:lstStyle>
          <a:p>
            <a:pPr lvl="0"/>
            <a:r>
              <a:rPr lang="en-GB"/>
              <a:t>Dato  //  </a:t>
            </a:r>
            <a:r>
              <a:rPr lang="en-GB" err="1"/>
              <a:t>Ansvarlig</a:t>
            </a:r>
            <a:endParaRPr lang="en-GB"/>
          </a:p>
        </p:txBody>
      </p:sp>
      <p:sp>
        <p:nvSpPr>
          <p:cNvPr id="9" name="Tittel 1">
            <a:extLst>
              <a:ext uri="{FF2B5EF4-FFF2-40B4-BE49-F238E27FC236}">
                <a16:creationId xmlns:a16="http://schemas.microsoft.com/office/drawing/2014/main" id="{604AED8B-6DCE-AD46-8907-CB80A3E9C60F}"/>
              </a:ext>
            </a:extLst>
          </p:cNvPr>
          <p:cNvSpPr>
            <a:spLocks noGrp="1"/>
          </p:cNvSpPr>
          <p:nvPr>
            <p:ph type="ctrTitle" hasCustomPrompt="1"/>
          </p:nvPr>
        </p:nvSpPr>
        <p:spPr>
          <a:xfrm>
            <a:off x="525315" y="2684747"/>
            <a:ext cx="9271829" cy="1396431"/>
          </a:xfrm>
        </p:spPr>
        <p:txBody>
          <a:bodyPr anchor="ctr">
            <a:normAutofit/>
          </a:bodyPr>
          <a:lstStyle>
            <a:lvl1pPr algn="l">
              <a:defRPr sz="3600" b="1">
                <a:solidFill>
                  <a:schemeClr val="bg1"/>
                </a:solidFill>
              </a:defRPr>
            </a:lvl1pPr>
          </a:lstStyle>
          <a:p>
            <a:r>
              <a:rPr lang="nb-NO"/>
              <a:t>Klikk for å redigere tittelen</a:t>
            </a:r>
          </a:p>
        </p:txBody>
      </p:sp>
      <p:sp>
        <p:nvSpPr>
          <p:cNvPr id="10" name="Undertittel 2">
            <a:extLst>
              <a:ext uri="{FF2B5EF4-FFF2-40B4-BE49-F238E27FC236}">
                <a16:creationId xmlns:a16="http://schemas.microsoft.com/office/drawing/2014/main" id="{FF74A066-A61E-B34F-8F56-C94B8EDF62C9}"/>
              </a:ext>
            </a:extLst>
          </p:cNvPr>
          <p:cNvSpPr>
            <a:spLocks noGrp="1"/>
          </p:cNvSpPr>
          <p:nvPr>
            <p:ph type="subTitle" idx="1"/>
          </p:nvPr>
        </p:nvSpPr>
        <p:spPr>
          <a:xfrm>
            <a:off x="525315" y="4173254"/>
            <a:ext cx="8334068" cy="991169"/>
          </a:xfr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p>
        </p:txBody>
      </p:sp>
      <p:pic>
        <p:nvPicPr>
          <p:cNvPr id="6" name="Grafikk 5">
            <a:extLst>
              <a:ext uri="{FF2B5EF4-FFF2-40B4-BE49-F238E27FC236}">
                <a16:creationId xmlns:a16="http://schemas.microsoft.com/office/drawing/2014/main" id="{AF31CECD-F77C-234C-B70C-F9DF775D63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90"/>
            <a:ext cx="1249283" cy="785839"/>
          </a:xfrm>
          <a:prstGeom prst="rect">
            <a:avLst/>
          </a:prstGeom>
        </p:spPr>
      </p:pic>
    </p:spTree>
    <p:extLst>
      <p:ext uri="{BB962C8B-B14F-4D97-AF65-F5344CB8AC3E}">
        <p14:creationId xmlns:p14="http://schemas.microsoft.com/office/powerpoint/2010/main" val="18296743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chemeClr val="tx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48BD439-F083-3D4E-862D-4EA46D9E3B41}"/>
              </a:ext>
            </a:extLst>
          </p:cNvPr>
          <p:cNvSpPr>
            <a:spLocks noGrp="1"/>
          </p:cNvSpPr>
          <p:nvPr>
            <p:ph type="body" idx="1"/>
          </p:nvPr>
        </p:nvSpPr>
        <p:spPr>
          <a:xfrm>
            <a:off x="844551" y="3540205"/>
            <a:ext cx="10515600" cy="1500187"/>
          </a:xfrm>
        </p:spPr>
        <p:txBody>
          <a:bodyPr/>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a:t>Klikk for å redigere tekststiler i malen</a:t>
            </a:r>
          </a:p>
        </p:txBody>
      </p:sp>
      <p:sp>
        <p:nvSpPr>
          <p:cNvPr id="9" name="Tittel 1">
            <a:extLst>
              <a:ext uri="{FF2B5EF4-FFF2-40B4-BE49-F238E27FC236}">
                <a16:creationId xmlns:a16="http://schemas.microsoft.com/office/drawing/2014/main" id="{02D6C30B-4FDA-544A-9662-F2B6261EBCDA}"/>
              </a:ext>
            </a:extLst>
          </p:cNvPr>
          <p:cNvSpPr>
            <a:spLocks noGrp="1"/>
          </p:cNvSpPr>
          <p:nvPr>
            <p:ph type="ctrTitle" hasCustomPrompt="1"/>
          </p:nvPr>
        </p:nvSpPr>
        <p:spPr>
          <a:xfrm>
            <a:off x="844551" y="2032570"/>
            <a:ext cx="9271829" cy="1396431"/>
          </a:xfrm>
        </p:spPr>
        <p:txBody>
          <a:bodyPr anchor="ctr">
            <a:normAutofit/>
          </a:bodyPr>
          <a:lstStyle>
            <a:lvl1pPr algn="l">
              <a:defRPr sz="3600" b="1">
                <a:solidFill>
                  <a:schemeClr val="bg1"/>
                </a:solidFill>
              </a:defRPr>
            </a:lvl1pPr>
          </a:lstStyle>
          <a:p>
            <a:r>
              <a:rPr lang="nb-NO"/>
              <a:t>Klikk for å redigere tittelen</a:t>
            </a:r>
          </a:p>
        </p:txBody>
      </p:sp>
    </p:spTree>
    <p:extLst>
      <p:ext uri="{BB962C8B-B14F-4D97-AF65-F5344CB8AC3E}">
        <p14:creationId xmlns:p14="http://schemas.microsoft.com/office/powerpoint/2010/main" val="1753058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E6AA11-9D10-4845-953E-FC6659DEA9CB}"/>
              </a:ext>
            </a:extLst>
          </p:cNvPr>
          <p:cNvSpPr>
            <a:spLocks noGrp="1"/>
          </p:cNvSpPr>
          <p:nvPr>
            <p:ph type="title" hasCustomPrompt="1"/>
          </p:nvPr>
        </p:nvSpPr>
        <p:spPr/>
        <p:txBody>
          <a:bodyPr/>
          <a:lstStyle/>
          <a:p>
            <a:r>
              <a:rPr lang="nb-NO"/>
              <a:t>Klikk for å redigere tittelen</a:t>
            </a:r>
          </a:p>
        </p:txBody>
      </p:sp>
      <p:sp>
        <p:nvSpPr>
          <p:cNvPr id="3" name="Plassholder for innhold 2">
            <a:extLst>
              <a:ext uri="{FF2B5EF4-FFF2-40B4-BE49-F238E27FC236}">
                <a16:creationId xmlns:a16="http://schemas.microsoft.com/office/drawing/2014/main" id="{0093FA9A-B386-3D4A-A17E-105BC9010CBC}"/>
              </a:ext>
            </a:extLst>
          </p:cNvPr>
          <p:cNvSpPr>
            <a:spLocks noGrp="1"/>
          </p:cNvSpPr>
          <p:nvPr>
            <p:ph sz="half" idx="1" hasCustomPrompt="1"/>
          </p:nvPr>
        </p:nvSpPr>
        <p:spPr>
          <a:xfrm>
            <a:off x="838200" y="1825625"/>
            <a:ext cx="5181600"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49DD5D4-E4CC-F541-A385-23400791B312}"/>
              </a:ext>
            </a:extLst>
          </p:cNvPr>
          <p:cNvSpPr>
            <a:spLocks noGrp="1"/>
          </p:cNvSpPr>
          <p:nvPr>
            <p:ph sz="half" idx="2" hasCustomPrompt="1"/>
          </p:nvPr>
        </p:nvSpPr>
        <p:spPr>
          <a:xfrm>
            <a:off x="6172200" y="1825625"/>
            <a:ext cx="5181600"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E0092E29-1063-5549-A785-73E8C6A77833}"/>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D71D6EC1-D552-3849-8EEF-1601B9CE5A70}"/>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613712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3702594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8F0C2D0C-F750-2644-95F9-0C952AE3AF8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4" name="Plassholder for lysbildenummer 3">
            <a:extLst>
              <a:ext uri="{FF2B5EF4-FFF2-40B4-BE49-F238E27FC236}">
                <a16:creationId xmlns:a16="http://schemas.microsoft.com/office/drawing/2014/main" id="{D912E190-170D-CB48-ABA2-AC1FB7840FD3}"/>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553803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med bilde til høyr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B950631B-F2CE-490E-AC8A-DBEEF53DE8F1}"/>
              </a:ext>
            </a:extLst>
          </p:cNvPr>
          <p:cNvSpPr/>
          <p:nvPr userDrawn="1"/>
        </p:nvSpPr>
        <p:spPr>
          <a:xfrm>
            <a:off x="6722165" y="0"/>
            <a:ext cx="5469835" cy="6858000"/>
          </a:xfrm>
          <a:prstGeom prst="rect">
            <a:avLst/>
          </a:prstGeom>
          <a:solidFill>
            <a:srgbClr val="E3B0A8"/>
          </a:solidFill>
          <a:ln>
            <a:solidFill>
              <a:srgbClr val="E3B0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Tree>
    <p:extLst>
      <p:ext uri="{BB962C8B-B14F-4D97-AF65-F5344CB8AC3E}">
        <p14:creationId xmlns:p14="http://schemas.microsoft.com/office/powerpoint/2010/main" val="592892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kst med bilde til høy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
        <p:nvSpPr>
          <p:cNvPr id="10" name="Rektangel 9">
            <a:extLst>
              <a:ext uri="{FF2B5EF4-FFF2-40B4-BE49-F238E27FC236}">
                <a16:creationId xmlns:a16="http://schemas.microsoft.com/office/drawing/2014/main" id="{1BDFF254-3D97-4054-8AA5-8CC14A3C8FFC}"/>
              </a:ext>
            </a:extLst>
          </p:cNvPr>
          <p:cNvSpPr/>
          <p:nvPr userDrawn="1"/>
        </p:nvSpPr>
        <p:spPr>
          <a:xfrm>
            <a:off x="6722165" y="0"/>
            <a:ext cx="5469835" cy="6858000"/>
          </a:xfrm>
          <a:prstGeom prst="rect">
            <a:avLst/>
          </a:prstGeom>
          <a:solidFill>
            <a:srgbClr val="99BDCD"/>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3228792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uten bilde">
    <p:bg>
      <p:bgPr>
        <a:solidFill>
          <a:srgbClr val="0C547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29CA91F-E19A-D84E-BDCE-60610D23E645}"/>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sp>
        <p:nvSpPr>
          <p:cNvPr id="9" name="Tittel 1">
            <a:extLst>
              <a:ext uri="{FF2B5EF4-FFF2-40B4-BE49-F238E27FC236}">
                <a16:creationId xmlns:a16="http://schemas.microsoft.com/office/drawing/2014/main" id="{604AED8B-6DCE-AD46-8907-CB80A3E9C60F}"/>
              </a:ext>
            </a:extLst>
          </p:cNvPr>
          <p:cNvSpPr>
            <a:spLocks noGrp="1"/>
          </p:cNvSpPr>
          <p:nvPr>
            <p:ph type="ctrTitle" hasCustomPrompt="1"/>
          </p:nvPr>
        </p:nvSpPr>
        <p:spPr>
          <a:xfrm>
            <a:off x="525314" y="2684746"/>
            <a:ext cx="9271829" cy="1396431"/>
          </a:xfrm>
        </p:spPr>
        <p:txBody>
          <a:bodyPr anchor="ctr">
            <a:normAutofit/>
          </a:bodyPr>
          <a:lstStyle>
            <a:lvl1pPr algn="l">
              <a:defRPr sz="3600" b="1">
                <a:solidFill>
                  <a:schemeClr val="bg1"/>
                </a:solidFill>
              </a:defRPr>
            </a:lvl1pPr>
          </a:lstStyle>
          <a:p>
            <a:r>
              <a:rPr lang="nb-NO"/>
              <a:t>Klikk for å redigere tittelen</a:t>
            </a:r>
          </a:p>
        </p:txBody>
      </p:sp>
      <p:sp>
        <p:nvSpPr>
          <p:cNvPr id="10" name="Undertittel 2">
            <a:extLst>
              <a:ext uri="{FF2B5EF4-FFF2-40B4-BE49-F238E27FC236}">
                <a16:creationId xmlns:a16="http://schemas.microsoft.com/office/drawing/2014/main" id="{FF74A066-A61E-B34F-8F56-C94B8EDF62C9}"/>
              </a:ext>
            </a:extLst>
          </p:cNvPr>
          <p:cNvSpPr>
            <a:spLocks noGrp="1"/>
          </p:cNvSpPr>
          <p:nvPr>
            <p:ph type="subTitle" idx="1"/>
          </p:nvPr>
        </p:nvSpPr>
        <p:spPr>
          <a:xfrm>
            <a:off x="525315" y="4173253"/>
            <a:ext cx="833406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pic>
        <p:nvPicPr>
          <p:cNvPr id="6" name="Grafikk 5">
            <a:extLst>
              <a:ext uri="{FF2B5EF4-FFF2-40B4-BE49-F238E27FC236}">
                <a16:creationId xmlns:a16="http://schemas.microsoft.com/office/drawing/2014/main" id="{92599F80-A1FF-3942-A0DE-0C139B7950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603299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kst med bilde til høyre">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87F87C9B-004D-4C0E-868E-3F411ACABD07}"/>
              </a:ext>
            </a:extLst>
          </p:cNvPr>
          <p:cNvSpPr/>
          <p:nvPr userDrawn="1"/>
        </p:nvSpPr>
        <p:spPr>
          <a:xfrm>
            <a:off x="6722165" y="0"/>
            <a:ext cx="5469835" cy="6858000"/>
          </a:xfrm>
          <a:prstGeom prst="rect">
            <a:avLst/>
          </a:prstGeom>
          <a:solidFill>
            <a:srgbClr val="9BD0B0"/>
          </a:solidFill>
          <a:ln>
            <a:solidFill>
              <a:srgbClr val="9BD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Tree>
    <p:extLst>
      <p:ext uri="{BB962C8B-B14F-4D97-AF65-F5344CB8AC3E}">
        <p14:creationId xmlns:p14="http://schemas.microsoft.com/office/powerpoint/2010/main" val="10978253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ekst med bilde til venstr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368D150-EFC2-4204-AB2F-BAFA3C976CA4}"/>
              </a:ext>
            </a:extLst>
          </p:cNvPr>
          <p:cNvSpPr/>
          <p:nvPr userDrawn="1"/>
        </p:nvSpPr>
        <p:spPr>
          <a:xfrm>
            <a:off x="0" y="2"/>
            <a:ext cx="4972595" cy="6857999"/>
          </a:xfrm>
          <a:prstGeom prst="rect">
            <a:avLst/>
          </a:prstGeom>
          <a:solidFill>
            <a:srgbClr val="E3B0A8"/>
          </a:solidFill>
          <a:ln>
            <a:solidFill>
              <a:srgbClr val="E3B0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Tree>
    <p:extLst>
      <p:ext uri="{BB962C8B-B14F-4D97-AF65-F5344CB8AC3E}">
        <p14:creationId xmlns:p14="http://schemas.microsoft.com/office/powerpoint/2010/main" val="647995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
        <p:nvSpPr>
          <p:cNvPr id="11" name="Rektangel 10">
            <a:extLst>
              <a:ext uri="{FF2B5EF4-FFF2-40B4-BE49-F238E27FC236}">
                <a16:creationId xmlns:a16="http://schemas.microsoft.com/office/drawing/2014/main" id="{60D45D7D-4964-4F49-92B7-2ABECD5B5824}"/>
              </a:ext>
            </a:extLst>
          </p:cNvPr>
          <p:cNvSpPr/>
          <p:nvPr userDrawn="1"/>
        </p:nvSpPr>
        <p:spPr>
          <a:xfrm>
            <a:off x="0" y="2"/>
            <a:ext cx="4972595" cy="6857999"/>
          </a:xfrm>
          <a:prstGeom prst="rect">
            <a:avLst/>
          </a:prstGeom>
          <a:solidFill>
            <a:srgbClr val="99BDCD"/>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22056462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
        <p:nvSpPr>
          <p:cNvPr id="10" name="Rektangel 9">
            <a:extLst>
              <a:ext uri="{FF2B5EF4-FFF2-40B4-BE49-F238E27FC236}">
                <a16:creationId xmlns:a16="http://schemas.microsoft.com/office/drawing/2014/main" id="{247141EC-0F68-4FAA-BE3E-AB5564228781}"/>
              </a:ext>
            </a:extLst>
          </p:cNvPr>
          <p:cNvSpPr/>
          <p:nvPr userDrawn="1"/>
        </p:nvSpPr>
        <p:spPr>
          <a:xfrm>
            <a:off x="0" y="2"/>
            <a:ext cx="4972595" cy="6857999"/>
          </a:xfrm>
          <a:prstGeom prst="rect">
            <a:avLst/>
          </a:prstGeom>
          <a:solidFill>
            <a:srgbClr val="9BD0B0"/>
          </a:solidFill>
          <a:ln>
            <a:solidFill>
              <a:srgbClr val="9BD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38440501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Kun tittel">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lvl1pPr>
              <a:defRPr>
                <a:solidFill>
                  <a:schemeClr val="bg1"/>
                </a:solidFill>
              </a:defRPr>
            </a:lvl1pPr>
          </a:lstStyle>
          <a:p>
            <a:r>
              <a:rPr lang="nb-NO"/>
              <a:t>Innhold</a:t>
            </a:r>
          </a:p>
        </p:txBody>
      </p:sp>
      <p:sp>
        <p:nvSpPr>
          <p:cNvPr id="11" name="Ellipse 10">
            <a:extLst>
              <a:ext uri="{FF2B5EF4-FFF2-40B4-BE49-F238E27FC236}">
                <a16:creationId xmlns:a16="http://schemas.microsoft.com/office/drawing/2014/main" id="{27C161CF-0503-4DB4-AC52-495DA27E45C6}"/>
              </a:ext>
            </a:extLst>
          </p:cNvPr>
          <p:cNvSpPr/>
          <p:nvPr userDrawn="1"/>
        </p:nvSpPr>
        <p:spPr>
          <a:xfrm>
            <a:off x="770160" y="2145728"/>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2" name="Ellipse 11">
            <a:extLst>
              <a:ext uri="{FF2B5EF4-FFF2-40B4-BE49-F238E27FC236}">
                <a16:creationId xmlns:a16="http://schemas.microsoft.com/office/drawing/2014/main" id="{0B992931-DB9A-4907-87B5-4E74B83C2FD0}"/>
              </a:ext>
            </a:extLst>
          </p:cNvPr>
          <p:cNvSpPr/>
          <p:nvPr userDrawn="1"/>
        </p:nvSpPr>
        <p:spPr>
          <a:xfrm>
            <a:off x="770160" y="2756852"/>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3" name="Ellipse 12">
            <a:extLst>
              <a:ext uri="{FF2B5EF4-FFF2-40B4-BE49-F238E27FC236}">
                <a16:creationId xmlns:a16="http://schemas.microsoft.com/office/drawing/2014/main" id="{9E2F4ABA-A1FD-451C-AE6F-83F5A1742865}"/>
              </a:ext>
            </a:extLst>
          </p:cNvPr>
          <p:cNvSpPr/>
          <p:nvPr userDrawn="1"/>
        </p:nvSpPr>
        <p:spPr>
          <a:xfrm>
            <a:off x="770160" y="3367976"/>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4" name="Ellipse 13">
            <a:extLst>
              <a:ext uri="{FF2B5EF4-FFF2-40B4-BE49-F238E27FC236}">
                <a16:creationId xmlns:a16="http://schemas.microsoft.com/office/drawing/2014/main" id="{0650A269-A61B-405E-BFC9-5FE288B6DD8A}"/>
              </a:ext>
            </a:extLst>
          </p:cNvPr>
          <p:cNvSpPr/>
          <p:nvPr userDrawn="1"/>
        </p:nvSpPr>
        <p:spPr>
          <a:xfrm>
            <a:off x="770160" y="3979100"/>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6" name="Ellipse 15">
            <a:extLst>
              <a:ext uri="{FF2B5EF4-FFF2-40B4-BE49-F238E27FC236}">
                <a16:creationId xmlns:a16="http://schemas.microsoft.com/office/drawing/2014/main" id="{365B916E-1416-4E64-A4D5-F1B6139D942C}"/>
              </a:ext>
            </a:extLst>
          </p:cNvPr>
          <p:cNvSpPr/>
          <p:nvPr userDrawn="1"/>
        </p:nvSpPr>
        <p:spPr>
          <a:xfrm>
            <a:off x="770160" y="4590224"/>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7" name="Ellipse 16">
            <a:extLst>
              <a:ext uri="{FF2B5EF4-FFF2-40B4-BE49-F238E27FC236}">
                <a16:creationId xmlns:a16="http://schemas.microsoft.com/office/drawing/2014/main" id="{740A10F5-F87F-4A0C-9871-97603F97823A}"/>
              </a:ext>
            </a:extLst>
          </p:cNvPr>
          <p:cNvSpPr/>
          <p:nvPr userDrawn="1"/>
        </p:nvSpPr>
        <p:spPr>
          <a:xfrm>
            <a:off x="770160" y="5201348"/>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0" name="Plassholder for innhold 9">
            <a:extLst>
              <a:ext uri="{FF2B5EF4-FFF2-40B4-BE49-F238E27FC236}">
                <a16:creationId xmlns:a16="http://schemas.microsoft.com/office/drawing/2014/main" id="{DAE0F094-ECA4-4237-9997-06136EF27285}"/>
              </a:ext>
            </a:extLst>
          </p:cNvPr>
          <p:cNvSpPr>
            <a:spLocks noGrp="1"/>
          </p:cNvSpPr>
          <p:nvPr>
            <p:ph sz="quarter" idx="10" hasCustomPrompt="1"/>
          </p:nvPr>
        </p:nvSpPr>
        <p:spPr>
          <a:xfrm>
            <a:off x="838200" y="2170113"/>
            <a:ext cx="10515600" cy="3608387"/>
          </a:xfrm>
        </p:spPr>
        <p:txBody>
          <a:bodyPr/>
          <a:lstStyle>
            <a:lvl1pPr marL="514338" indent="-514338">
              <a:spcBef>
                <a:spcPts val="1800"/>
              </a:spcBef>
              <a:buClr>
                <a:schemeClr val="tx1"/>
              </a:buClr>
              <a:buFont typeface="+mj-lt"/>
              <a:buAutoNum type="arabicPeriod"/>
              <a:defRPr>
                <a:solidFill>
                  <a:schemeClr val="bg1"/>
                </a:solidFill>
              </a:defRPr>
            </a:lvl1pPr>
            <a:lvl2pPr marL="914377" indent="-457189">
              <a:buClr>
                <a:schemeClr val="bg1"/>
              </a:buClr>
              <a:buFont typeface="+mj-lt"/>
              <a:buAutoNum type="arabicPeriod"/>
              <a:defRPr>
                <a:solidFill>
                  <a:schemeClr val="bg1"/>
                </a:solidFill>
              </a:defRPr>
            </a:lvl2pPr>
            <a:lvl3pPr marL="1371566" indent="-457189">
              <a:buClr>
                <a:schemeClr val="bg1"/>
              </a:buClr>
              <a:buFont typeface="+mj-lt"/>
              <a:buAutoNum type="arabicPeriod"/>
              <a:defRPr>
                <a:solidFill>
                  <a:schemeClr val="bg1"/>
                </a:solidFill>
              </a:defRPr>
            </a:lvl3pPr>
            <a:lvl4pPr marL="1714457" indent="-342891">
              <a:buClr>
                <a:schemeClr val="bg1"/>
              </a:buClr>
              <a:buFont typeface="+mj-lt"/>
              <a:buAutoNum type="arabicPeriod"/>
              <a:defRPr>
                <a:solidFill>
                  <a:schemeClr val="bg1"/>
                </a:solidFill>
              </a:defRPr>
            </a:lvl4pPr>
            <a:lvl5pPr marL="2171646" indent="-342891">
              <a:buClr>
                <a:schemeClr val="bg1"/>
              </a:buClr>
              <a:buFont typeface="+mj-lt"/>
              <a:buAutoNum type="arabicPeriod"/>
              <a:defRPr>
                <a:solidFill>
                  <a:schemeClr val="bg1"/>
                </a:solidFill>
              </a:defRPr>
            </a:lvl5pPr>
          </a:lstStyle>
          <a:p>
            <a:pPr lvl="0"/>
            <a:r>
              <a:rPr lang="nb-NO"/>
              <a:t>Tekst</a:t>
            </a:r>
          </a:p>
        </p:txBody>
      </p:sp>
    </p:spTree>
    <p:extLst>
      <p:ext uri="{BB962C8B-B14F-4D97-AF65-F5344CB8AC3E}">
        <p14:creationId xmlns:p14="http://schemas.microsoft.com/office/powerpoint/2010/main" val="19878159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 med sirkel">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9630795E-AD26-E64A-9C79-FA3F9BB4963A}"/>
              </a:ext>
            </a:extLst>
          </p:cNvPr>
          <p:cNvSpPr>
            <a:spLocks noGrp="1"/>
          </p:cNvSpPr>
          <p:nvPr>
            <p:ph type="ftr" sz="quarter" idx="11"/>
          </p:nvPr>
        </p:nvSpPr>
        <p:spPr>
          <a:xfrm>
            <a:off x="1765790" y="6356351"/>
            <a:ext cx="3466263"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B1F69FF2-4FB1-3544-9B7F-A00D9E4C1A74}"/>
              </a:ext>
            </a:extLst>
          </p:cNvPr>
          <p:cNvSpPr>
            <a:spLocks noGrp="1"/>
          </p:cNvSpPr>
          <p:nvPr>
            <p:ph type="sldNum" sz="quarter" idx="12"/>
          </p:nvPr>
        </p:nvSpPr>
        <p:spPr>
          <a:xfrm>
            <a:off x="5418421" y="6356351"/>
            <a:ext cx="741600" cy="365125"/>
          </a:xfrm>
        </p:spPr>
        <p:txBody>
          <a:bodyPr/>
          <a:lstStyle/>
          <a:p>
            <a:fld id="{95102788-B3AA-6746-B4E5-C52EBB4D0CEE}" type="slidenum">
              <a:rPr lang="nb-NO" smtClean="0"/>
              <a:t>‹#›</a:t>
            </a:fld>
            <a:endParaRPr lang="nb-NO"/>
          </a:p>
        </p:txBody>
      </p:sp>
      <p:sp>
        <p:nvSpPr>
          <p:cNvPr id="9" name="Plassholder for bilde 5">
            <a:extLst>
              <a:ext uri="{FF2B5EF4-FFF2-40B4-BE49-F238E27FC236}">
                <a16:creationId xmlns:a16="http://schemas.microsoft.com/office/drawing/2014/main" id="{701CE543-F5B4-D84C-A6FC-FAFF3D0AAFC3}"/>
              </a:ext>
            </a:extLst>
          </p:cNvPr>
          <p:cNvSpPr>
            <a:spLocks noGrp="1" noChangeAspect="1"/>
          </p:cNvSpPr>
          <p:nvPr>
            <p:ph type="pic" sz="quarter" idx="13"/>
          </p:nvPr>
        </p:nvSpPr>
        <p:spPr>
          <a:xfrm>
            <a:off x="5973237" y="602647"/>
            <a:ext cx="5652707" cy="5652707"/>
          </a:xfrm>
          <a:prstGeom prst="ellipse">
            <a:avLst/>
          </a:prstGeom>
          <a:solidFill>
            <a:schemeClr val="bg2"/>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innhold 2">
            <a:extLst>
              <a:ext uri="{FF2B5EF4-FFF2-40B4-BE49-F238E27FC236}">
                <a16:creationId xmlns:a16="http://schemas.microsoft.com/office/drawing/2014/main" id="{6300D294-78C3-134A-B8DB-F895410ECD2E}"/>
              </a:ext>
            </a:extLst>
          </p:cNvPr>
          <p:cNvSpPr>
            <a:spLocks noGrp="1"/>
          </p:cNvSpPr>
          <p:nvPr>
            <p:ph idx="1" hasCustomPrompt="1"/>
          </p:nvPr>
        </p:nvSpPr>
        <p:spPr>
          <a:xfrm>
            <a:off x="838200" y="1825625"/>
            <a:ext cx="4951021"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10" name="Tittel 1">
            <a:extLst>
              <a:ext uri="{FF2B5EF4-FFF2-40B4-BE49-F238E27FC236}">
                <a16:creationId xmlns:a16="http://schemas.microsoft.com/office/drawing/2014/main" id="{FE2CAD38-4FD8-5D47-94F7-E677546BBB25}"/>
              </a:ext>
            </a:extLst>
          </p:cNvPr>
          <p:cNvSpPr>
            <a:spLocks noGrp="1"/>
          </p:cNvSpPr>
          <p:nvPr>
            <p:ph type="title" hasCustomPrompt="1"/>
          </p:nvPr>
        </p:nvSpPr>
        <p:spPr>
          <a:xfrm>
            <a:off x="838201" y="482400"/>
            <a:ext cx="5533571" cy="1072080"/>
          </a:xfrm>
        </p:spPr>
        <p:txBody>
          <a:bodyPr/>
          <a:lstStyle/>
          <a:p>
            <a:r>
              <a:rPr lang="nb-NO"/>
              <a:t>Klikk for å redigere tittelen</a:t>
            </a:r>
          </a:p>
        </p:txBody>
      </p:sp>
    </p:spTree>
    <p:extLst>
      <p:ext uri="{BB962C8B-B14F-4D97-AF65-F5344CB8AC3E}">
        <p14:creationId xmlns:p14="http://schemas.microsoft.com/office/powerpoint/2010/main" val="5555514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rkl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69CFF4-987B-5A43-8582-31F67145E3E1}"/>
              </a:ext>
            </a:extLst>
          </p:cNvPr>
          <p:cNvSpPr>
            <a:spLocks noGrp="1"/>
          </p:cNvSpPr>
          <p:nvPr>
            <p:ph type="title"/>
          </p:nvPr>
        </p:nvSpPr>
        <p:spPr/>
        <p:txBody>
          <a:bodyPr/>
          <a:lstStyle/>
          <a:p>
            <a:r>
              <a:rPr lang="nb-NO"/>
              <a:t>Klikk for å redigere tittelstil</a:t>
            </a:r>
          </a:p>
        </p:txBody>
      </p:sp>
      <p:sp>
        <p:nvSpPr>
          <p:cNvPr id="3" name="Plassholder for lysbildenummer 2">
            <a:extLst>
              <a:ext uri="{FF2B5EF4-FFF2-40B4-BE49-F238E27FC236}">
                <a16:creationId xmlns:a16="http://schemas.microsoft.com/office/drawing/2014/main" id="{E9603651-05EC-6948-B335-00924944B6CC}"/>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CDCE326E-B227-394D-A659-399CE735CEE6}"/>
              </a:ext>
            </a:extLst>
          </p:cNvPr>
          <p:cNvSpPr>
            <a:spLocks noGrp="1"/>
          </p:cNvSpPr>
          <p:nvPr>
            <p:ph type="ftr" sz="quarter" idx="11"/>
          </p:nvPr>
        </p:nvSpPr>
        <p:spPr/>
        <p:txBody>
          <a:bodyPr/>
          <a:lstStyle/>
          <a:p>
            <a:endParaRPr lang="nb-NO"/>
          </a:p>
        </p:txBody>
      </p:sp>
      <p:sp>
        <p:nvSpPr>
          <p:cNvPr id="5" name="Plassholder for bilde 5">
            <a:extLst>
              <a:ext uri="{FF2B5EF4-FFF2-40B4-BE49-F238E27FC236}">
                <a16:creationId xmlns:a16="http://schemas.microsoft.com/office/drawing/2014/main" id="{643807C2-292F-894E-874A-C85D7E9D69AA}"/>
              </a:ext>
            </a:extLst>
          </p:cNvPr>
          <p:cNvSpPr>
            <a:spLocks noGrp="1" noChangeAspect="1"/>
          </p:cNvSpPr>
          <p:nvPr>
            <p:ph type="pic" sz="quarter" idx="12"/>
          </p:nvPr>
        </p:nvSpPr>
        <p:spPr>
          <a:xfrm>
            <a:off x="838201"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6" name="Plassholder for bilde 5">
            <a:extLst>
              <a:ext uri="{FF2B5EF4-FFF2-40B4-BE49-F238E27FC236}">
                <a16:creationId xmlns:a16="http://schemas.microsoft.com/office/drawing/2014/main" id="{5324C5C5-907C-D34E-836F-29B532757AD4}"/>
              </a:ext>
            </a:extLst>
          </p:cNvPr>
          <p:cNvSpPr>
            <a:spLocks noGrp="1" noChangeAspect="1"/>
          </p:cNvSpPr>
          <p:nvPr>
            <p:ph type="pic" sz="quarter" idx="27"/>
          </p:nvPr>
        </p:nvSpPr>
        <p:spPr>
          <a:xfrm>
            <a:off x="4518119"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7" name="Plassholder for bilde 5">
            <a:extLst>
              <a:ext uri="{FF2B5EF4-FFF2-40B4-BE49-F238E27FC236}">
                <a16:creationId xmlns:a16="http://schemas.microsoft.com/office/drawing/2014/main" id="{BA339474-4310-4E4C-8300-B9375051CA40}"/>
              </a:ext>
            </a:extLst>
          </p:cNvPr>
          <p:cNvSpPr>
            <a:spLocks noGrp="1" noChangeAspect="1"/>
          </p:cNvSpPr>
          <p:nvPr>
            <p:ph type="pic" sz="quarter" idx="28"/>
          </p:nvPr>
        </p:nvSpPr>
        <p:spPr>
          <a:xfrm>
            <a:off x="8206218"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0" name="Plassholder for tekst 2">
            <a:extLst>
              <a:ext uri="{FF2B5EF4-FFF2-40B4-BE49-F238E27FC236}">
                <a16:creationId xmlns:a16="http://schemas.microsoft.com/office/drawing/2014/main" id="{3420036C-1838-DE4A-BADD-245630D31E50}"/>
              </a:ext>
            </a:extLst>
          </p:cNvPr>
          <p:cNvSpPr>
            <a:spLocks noGrp="1"/>
          </p:cNvSpPr>
          <p:nvPr>
            <p:ph type="body" sz="quarter" idx="33"/>
          </p:nvPr>
        </p:nvSpPr>
        <p:spPr>
          <a:xfrm>
            <a:off x="8080586" y="5161212"/>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1" name="Plassholder for tekst 2">
            <a:extLst>
              <a:ext uri="{FF2B5EF4-FFF2-40B4-BE49-F238E27FC236}">
                <a16:creationId xmlns:a16="http://schemas.microsoft.com/office/drawing/2014/main" id="{94BB1344-2B8D-6C4F-AF3C-799F28132DC6}"/>
              </a:ext>
            </a:extLst>
          </p:cNvPr>
          <p:cNvSpPr>
            <a:spLocks noGrp="1"/>
          </p:cNvSpPr>
          <p:nvPr>
            <p:ph type="body" sz="quarter" idx="34"/>
          </p:nvPr>
        </p:nvSpPr>
        <p:spPr>
          <a:xfrm>
            <a:off x="4392485" y="5157975"/>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2" name="Plassholder for tekst 2">
            <a:extLst>
              <a:ext uri="{FF2B5EF4-FFF2-40B4-BE49-F238E27FC236}">
                <a16:creationId xmlns:a16="http://schemas.microsoft.com/office/drawing/2014/main" id="{82C78190-F0C7-F94A-8B39-D2876F768B7D}"/>
              </a:ext>
            </a:extLst>
          </p:cNvPr>
          <p:cNvSpPr>
            <a:spLocks noGrp="1"/>
          </p:cNvSpPr>
          <p:nvPr>
            <p:ph type="body" sz="quarter" idx="35"/>
          </p:nvPr>
        </p:nvSpPr>
        <p:spPr>
          <a:xfrm>
            <a:off x="712566" y="5157975"/>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Tree>
    <p:extLst>
      <p:ext uri="{BB962C8B-B14F-4D97-AF65-F5344CB8AC3E}">
        <p14:creationId xmlns:p14="http://schemas.microsoft.com/office/powerpoint/2010/main" val="27070216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C med bilde">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87046D5-FCF3-DD40-B896-2E3520046E70}"/>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52DA0986-BEFB-4A44-98B6-D10264B4EA5C}"/>
              </a:ext>
            </a:extLst>
          </p:cNvPr>
          <p:cNvSpPr>
            <a:spLocks noGrp="1"/>
          </p:cNvSpPr>
          <p:nvPr>
            <p:ph type="ftr" sz="quarter" idx="11"/>
          </p:nvPr>
        </p:nvSpPr>
        <p:spPr/>
        <p:txBody>
          <a:bodyPr/>
          <a:lstStyle/>
          <a:p>
            <a:endParaRPr lang="nb-NO"/>
          </a:p>
        </p:txBody>
      </p:sp>
      <p:pic>
        <p:nvPicPr>
          <p:cNvPr id="5" name="Plassholder for innhold 3">
            <a:extLst>
              <a:ext uri="{FF2B5EF4-FFF2-40B4-BE49-F238E27FC236}">
                <a16:creationId xmlns:a16="http://schemas.microsoft.com/office/drawing/2014/main" id="{92C05EAD-0F07-3B45-8747-833BB1F2A5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
          <a:stretch/>
        </p:blipFill>
        <p:spPr bwMode="auto">
          <a:xfrm>
            <a:off x="1482417" y="660910"/>
            <a:ext cx="8995931" cy="5101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6" name="Plassholder for bilde 5">
            <a:extLst>
              <a:ext uri="{FF2B5EF4-FFF2-40B4-BE49-F238E27FC236}">
                <a16:creationId xmlns:a16="http://schemas.microsoft.com/office/drawing/2014/main" id="{CADDA05B-7DC7-D845-8F78-41EFC4912172}"/>
              </a:ext>
            </a:extLst>
          </p:cNvPr>
          <p:cNvSpPr>
            <a:spLocks noGrp="1"/>
          </p:cNvSpPr>
          <p:nvPr>
            <p:ph type="pic" sz="quarter" idx="12"/>
          </p:nvPr>
        </p:nvSpPr>
        <p:spPr>
          <a:xfrm>
            <a:off x="2337219" y="907452"/>
            <a:ext cx="7311543" cy="4363809"/>
          </a:xfrm>
          <a:prstGeom prst="rect">
            <a:avLst/>
          </a:prstGeom>
          <a:solidFill>
            <a:schemeClr val="bg1"/>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Tree>
    <p:extLst>
      <p:ext uri="{BB962C8B-B14F-4D97-AF65-F5344CB8AC3E}">
        <p14:creationId xmlns:p14="http://schemas.microsoft.com/office/powerpoint/2010/main" val="34102108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lstStyle>
            <a:lvl1pPr marL="0" marR="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4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Tree>
    <p:extLst>
      <p:ext uri="{BB962C8B-B14F-4D97-AF65-F5344CB8AC3E}">
        <p14:creationId xmlns:p14="http://schemas.microsoft.com/office/powerpoint/2010/main" val="21308192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normAutofit/>
          </a:bodyPr>
          <a:lstStyle>
            <a:lvl1pPr marL="0" marR="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6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
        <p:nvSpPr>
          <p:cNvPr id="3" name="Text Placeholder 7">
            <a:extLst>
              <a:ext uri="{FF2B5EF4-FFF2-40B4-BE49-F238E27FC236}">
                <a16:creationId xmlns:a16="http://schemas.microsoft.com/office/drawing/2014/main" id="{17FB01FB-60B2-5E41-A15B-1235CEC30B73}"/>
              </a:ext>
            </a:extLst>
          </p:cNvPr>
          <p:cNvSpPr>
            <a:spLocks noGrp="1"/>
          </p:cNvSpPr>
          <p:nvPr>
            <p:ph type="body" sz="quarter" idx="14" hasCustomPrompt="1"/>
          </p:nvPr>
        </p:nvSpPr>
        <p:spPr>
          <a:xfrm>
            <a:off x="0" y="4978401"/>
            <a:ext cx="12192000" cy="1294007"/>
          </a:xfrm>
          <a:solidFill>
            <a:srgbClr val="3E3832">
              <a:alpha val="69804"/>
            </a:srgbClr>
          </a:solidFill>
        </p:spPr>
        <p:txBody>
          <a:bodyPr wrap="square" lIns="1440000" tIns="180000" rIns="1475999" bIns="216000" anchor="ctr" anchorCtr="0">
            <a:noAutofit/>
          </a:bodyPr>
          <a:lstStyle>
            <a:lvl1pPr marL="35999" indent="0" algn="ctr">
              <a:lnSpc>
                <a:spcPct val="100000"/>
              </a:lnSpc>
              <a:spcBef>
                <a:spcPts val="600"/>
              </a:spcBef>
              <a:buClr>
                <a:schemeClr val="accent3"/>
              </a:buClr>
              <a:buSzPct val="110000"/>
              <a:buFont typeface="Arial" panose="020B0604020202020204" pitchFamily="34" charset="0"/>
              <a:buNone/>
              <a:defRPr sz="3200" baseline="0">
                <a:solidFill>
                  <a:schemeClr val="bg1"/>
                </a:solidFill>
                <a:latin typeface="Arial" panose="020B0604020202020204" pitchFamily="34" charset="0"/>
                <a:cs typeface="Arial" panose="020B0604020202020204" pitchFamily="34" charset="0"/>
              </a:defRPr>
            </a:lvl1pPr>
            <a:lvl2pPr marL="215995" indent="0" algn="ctr">
              <a:spcBef>
                <a:spcPts val="600"/>
              </a:spcBef>
              <a:buClr>
                <a:schemeClr val="accent3"/>
              </a:buClr>
              <a:buSzPct val="110000"/>
              <a:buFont typeface="Arial" panose="020B0604020202020204" pitchFamily="34" charset="0"/>
              <a:buNone/>
              <a:defRPr sz="1200" baseline="0">
                <a:solidFill>
                  <a:schemeClr val="tx1"/>
                </a:solidFill>
                <a:latin typeface="Arial" panose="020B0604020202020204" pitchFamily="34" charset="0"/>
                <a:cs typeface="Arial" panose="020B0604020202020204" pitchFamily="34" charset="0"/>
              </a:defRPr>
            </a:lvl2pPr>
            <a:lvl3pPr marL="431989" indent="0" algn="ctr">
              <a:spcBef>
                <a:spcPts val="600"/>
              </a:spcBef>
              <a:buClr>
                <a:schemeClr val="accent3"/>
              </a:buClr>
              <a:buSzPct val="110000"/>
              <a:buFont typeface="Arial" panose="020B0604020202020204" pitchFamily="34" charset="0"/>
              <a:buNone/>
              <a:defRPr sz="1000" baseline="0">
                <a:solidFill>
                  <a:schemeClr val="tx1"/>
                </a:solidFill>
                <a:latin typeface="Arial" panose="020B0604020202020204" pitchFamily="34" charset="0"/>
                <a:cs typeface="Arial" panose="020B0604020202020204" pitchFamily="34" charset="0"/>
              </a:defRPr>
            </a:lvl3pPr>
            <a:lvl4pPr indent="-215995">
              <a:spcBef>
                <a:spcPts val="700"/>
              </a:spcBef>
              <a:buClr>
                <a:schemeClr val="accent6"/>
              </a:buClr>
              <a:buSzPct val="110000"/>
              <a:defRPr sz="1600" baseline="0">
                <a:solidFill>
                  <a:srgbClr val="007272"/>
                </a:solidFill>
                <a:latin typeface="Segoe UI"/>
              </a:defRPr>
            </a:lvl4pPr>
            <a:lvl5pPr indent="-215995">
              <a:spcBef>
                <a:spcPts val="700"/>
              </a:spcBef>
              <a:buClr>
                <a:schemeClr val="accent6"/>
              </a:buClr>
              <a:buSzPct val="110000"/>
              <a:defRPr sz="1600" baseline="0">
                <a:solidFill>
                  <a:srgbClr val="007272"/>
                </a:solidFill>
                <a:latin typeface="Segoe UI"/>
              </a:defRPr>
            </a:lvl5pPr>
          </a:lstStyle>
          <a:p>
            <a:pPr lvl="0"/>
            <a:r>
              <a:rPr lang="nb-NO"/>
              <a:t>Klikk for å redigere teksten</a:t>
            </a:r>
          </a:p>
        </p:txBody>
      </p:sp>
    </p:spTree>
    <p:extLst>
      <p:ext uri="{BB962C8B-B14F-4D97-AF65-F5344CB8AC3E}">
        <p14:creationId xmlns:p14="http://schemas.microsoft.com/office/powerpoint/2010/main" val="368281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rgbClr val="0C547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48BD439-F083-3D4E-862D-4EA46D9E3B41}"/>
              </a:ext>
            </a:extLst>
          </p:cNvPr>
          <p:cNvSpPr>
            <a:spLocks noGrp="1"/>
          </p:cNvSpPr>
          <p:nvPr>
            <p:ph type="body" idx="1"/>
          </p:nvPr>
        </p:nvSpPr>
        <p:spPr>
          <a:xfrm>
            <a:off x="844550" y="354020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Tittel 1">
            <a:extLst>
              <a:ext uri="{FF2B5EF4-FFF2-40B4-BE49-F238E27FC236}">
                <a16:creationId xmlns:a16="http://schemas.microsoft.com/office/drawing/2014/main" id="{02D6C30B-4FDA-544A-9662-F2B6261EBCDA}"/>
              </a:ext>
            </a:extLst>
          </p:cNvPr>
          <p:cNvSpPr>
            <a:spLocks noGrp="1"/>
          </p:cNvSpPr>
          <p:nvPr>
            <p:ph type="ctrTitle" hasCustomPrompt="1"/>
          </p:nvPr>
        </p:nvSpPr>
        <p:spPr>
          <a:xfrm>
            <a:off x="844550" y="2032569"/>
            <a:ext cx="9271829" cy="1396431"/>
          </a:xfrm>
        </p:spPr>
        <p:txBody>
          <a:bodyPr anchor="ctr">
            <a:normAutofit/>
          </a:bodyPr>
          <a:lstStyle>
            <a:lvl1pPr algn="l">
              <a:defRPr sz="3600" b="1">
                <a:solidFill>
                  <a:schemeClr val="bg1"/>
                </a:solidFill>
              </a:defRPr>
            </a:lvl1pPr>
          </a:lstStyle>
          <a:p>
            <a:r>
              <a:rPr lang="nb-NO"/>
              <a:t>Klikk for å redigere tittelen</a:t>
            </a:r>
          </a:p>
        </p:txBody>
      </p:sp>
    </p:spTree>
    <p:extLst>
      <p:ext uri="{BB962C8B-B14F-4D97-AF65-F5344CB8AC3E}">
        <p14:creationId xmlns:p14="http://schemas.microsoft.com/office/powerpoint/2010/main" val="28394883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Plassholder for media 2">
            <a:extLst>
              <a:ext uri="{FF2B5EF4-FFF2-40B4-BE49-F238E27FC236}">
                <a16:creationId xmlns:a16="http://schemas.microsoft.com/office/drawing/2014/main" id="{873143D7-64FC-5342-9DED-8AE8E11EED5E}"/>
              </a:ext>
            </a:extLst>
          </p:cNvPr>
          <p:cNvSpPr>
            <a:spLocks noGrp="1"/>
          </p:cNvSpPr>
          <p:nvPr>
            <p:ph type="media" sz="quarter" idx="10"/>
          </p:nvPr>
        </p:nvSpPr>
        <p:spPr>
          <a:xfrm>
            <a:off x="0" y="0"/>
            <a:ext cx="12192000" cy="6858000"/>
          </a:xfrm>
        </p:spPr>
        <p:txBody>
          <a:bodyPr anchor="ctr"/>
          <a:lstStyle>
            <a:lvl1pPr marL="0" indent="0" algn="ctr">
              <a:buNone/>
              <a:defRPr sz="1800"/>
            </a:lvl1pPr>
          </a:lstStyle>
          <a:p>
            <a:r>
              <a:rPr lang="nb-NO"/>
              <a:t>Klikk ikonet for å legge til media</a:t>
            </a:r>
          </a:p>
        </p:txBody>
      </p:sp>
    </p:spTree>
    <p:extLst>
      <p:ext uri="{BB962C8B-B14F-4D97-AF65-F5344CB8AC3E}">
        <p14:creationId xmlns:p14="http://schemas.microsoft.com/office/powerpoint/2010/main" val="41754742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tx2"/>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8187FF-9479-F146-8240-5C009B4119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6" y="2948386"/>
            <a:ext cx="1528111" cy="961231"/>
          </a:xfrm>
          <a:prstGeom prst="rect">
            <a:avLst/>
          </a:prstGeom>
        </p:spPr>
      </p:pic>
    </p:spTree>
    <p:extLst>
      <p:ext uri="{BB962C8B-B14F-4D97-AF65-F5344CB8AC3E}">
        <p14:creationId xmlns:p14="http://schemas.microsoft.com/office/powerpoint/2010/main" val="31958172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vslutning med tekst">
    <p:bg>
      <p:bgPr>
        <a:solidFill>
          <a:schemeClr val="tx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C4ED5FE-FAC3-BD40-BDD1-8009A2F54019}"/>
              </a:ext>
            </a:extLst>
          </p:cNvPr>
          <p:cNvSpPr>
            <a:spLocks noGrp="1"/>
          </p:cNvSpPr>
          <p:nvPr>
            <p:ph type="body" sz="quarter" idx="10" hasCustomPrompt="1"/>
          </p:nvPr>
        </p:nvSpPr>
        <p:spPr>
          <a:xfrm>
            <a:off x="1733551" y="3429002"/>
            <a:ext cx="8724900" cy="1222375"/>
          </a:xfrm>
        </p:spPr>
        <p:txBody>
          <a:bodyPr anchor="ctr">
            <a:normAutofit/>
          </a:bodyPr>
          <a:lstStyle>
            <a:lvl1pPr marL="0" indent="0" algn="ctr">
              <a:buNone/>
              <a:defRPr sz="2800">
                <a:solidFill>
                  <a:schemeClr val="bg1"/>
                </a:solidFill>
              </a:defRPr>
            </a:lvl1pPr>
          </a:lstStyle>
          <a:p>
            <a:pPr lvl="0"/>
            <a:r>
              <a:rPr lang="nb-NO"/>
              <a:t>Klikk for å redigere teksten</a:t>
            </a:r>
          </a:p>
        </p:txBody>
      </p:sp>
      <p:pic>
        <p:nvPicPr>
          <p:cNvPr id="4" name="Grafikk 3">
            <a:extLst>
              <a:ext uri="{FF2B5EF4-FFF2-40B4-BE49-F238E27FC236}">
                <a16:creationId xmlns:a16="http://schemas.microsoft.com/office/drawing/2014/main" id="{107EB73A-062C-C045-956F-A891AF581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6" y="2013666"/>
            <a:ext cx="1528111" cy="961231"/>
          </a:xfrm>
          <a:prstGeom prst="rect">
            <a:avLst/>
          </a:prstGeom>
        </p:spPr>
      </p:pic>
    </p:spTree>
    <p:extLst>
      <p:ext uri="{BB962C8B-B14F-4D97-AF65-F5344CB8AC3E}">
        <p14:creationId xmlns:p14="http://schemas.microsoft.com/office/powerpoint/2010/main" val="39719482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3"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7" y="241302"/>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22972057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9_Forside hvit stripe">
    <p:spTree>
      <p:nvGrpSpPr>
        <p:cNvPr id="1" name=""/>
        <p:cNvGrpSpPr/>
        <p:nvPr/>
      </p:nvGrpSpPr>
      <p:grpSpPr>
        <a:xfrm>
          <a:off x="0" y="0"/>
          <a:ext cx="0" cy="0"/>
          <a:chOff x="0" y="0"/>
          <a:chExt cx="0" cy="0"/>
        </a:xfrm>
      </p:grpSpPr>
      <p:pic>
        <p:nvPicPr>
          <p:cNvPr id="13" name="Bilde 4">
            <a:extLst>
              <a:ext uri="{FF2B5EF4-FFF2-40B4-BE49-F238E27FC236}">
                <a16:creationId xmlns:a16="http://schemas.microsoft.com/office/drawing/2014/main" id="{000E2E06-5CB2-8040-859F-DB03CA38A5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 y="0"/>
            <a:ext cx="12191993" cy="6858008"/>
          </a:xfrm>
          <a:prstGeom prst="rect">
            <a:avLst/>
          </a:prstGeom>
          <a:blipFill>
            <a:blip r:embed="rId3" cstate="email">
              <a:extLst>
                <a:ext uri="{28A0092B-C50C-407E-A947-70E740481C1C}">
                  <a14:useLocalDpi xmlns:a14="http://schemas.microsoft.com/office/drawing/2010/main"/>
                </a:ext>
              </a:extLst>
            </a:blip>
            <a:stretch>
              <a:fillRect/>
            </a:stretch>
          </a:blipFill>
        </p:spPr>
      </p:pic>
      <p:sp>
        <p:nvSpPr>
          <p:cNvPr id="2" name="Rektangel 1">
            <a:extLst>
              <a:ext uri="{FF2B5EF4-FFF2-40B4-BE49-F238E27FC236}">
                <a16:creationId xmlns:a16="http://schemas.microsoft.com/office/drawing/2014/main" id="{46958E10-3C96-A043-A0AA-C1B1AEAD2AA0}"/>
              </a:ext>
            </a:extLst>
          </p:cNvPr>
          <p:cNvSpPr/>
          <p:nvPr userDrawn="1"/>
        </p:nvSpPr>
        <p:spPr bwMode="auto">
          <a:xfrm>
            <a:off x="911424" y="3236979"/>
            <a:ext cx="10369152" cy="3024000"/>
          </a:xfrm>
          <a:prstGeom prst="rect">
            <a:avLst/>
          </a:prstGeom>
          <a:solidFill>
            <a:srgbClr val="68CBEB">
              <a:alpha val="80000"/>
            </a:srgbClr>
          </a:solidFill>
          <a:ln w="25400" cap="flat" cmpd="sng" algn="ctr">
            <a:noFill/>
            <a:prstDash val="solid"/>
            <a:round/>
            <a:headEnd type="none" w="med" len="med"/>
            <a:tailEnd type="none" w="med" len="med"/>
          </a:ln>
          <a:effectLst/>
        </p:spPr>
        <p:txBody>
          <a:bodyPr vert="horz" wrap="square" lIns="48000" tIns="48000" rIns="48000" bIns="48000" numCol="1" rtlCol="0" anchor="ctr" anchorCtr="0" compatLnSpc="1">
            <a:prstTxWarp prst="textNoShape">
              <a:avLst/>
            </a:prstTxWarp>
          </a:bodyPr>
          <a:lstStyle/>
          <a:p>
            <a:pPr marL="0" marR="0" indent="0" algn="ctr" defTabSz="121911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chemeClr val="accent1"/>
              </a:solidFill>
              <a:effectLst/>
              <a:latin typeface="Arial" panose="020B0604020202020204" pitchFamily="34" charset="0"/>
              <a:ea typeface="ヒラギノ角ゴ ProN W3" charset="0"/>
              <a:cs typeface="Arial" panose="020B0604020202020204" pitchFamily="34" charset="0"/>
              <a:sym typeface="Gill Sans" charset="0"/>
            </a:endParaRPr>
          </a:p>
        </p:txBody>
      </p:sp>
      <p:sp>
        <p:nvSpPr>
          <p:cNvPr id="3" name="Rektangel 2"/>
          <p:cNvSpPr/>
          <p:nvPr userDrawn="1"/>
        </p:nvSpPr>
        <p:spPr bwMode="auto">
          <a:xfrm rot="16200000">
            <a:off x="4319811" y="-1562876"/>
            <a:ext cx="3552396" cy="12191999"/>
          </a:xfrm>
          <a:prstGeom prst="rect">
            <a:avLst/>
          </a:prstGeom>
          <a:no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1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sp>
        <p:nvSpPr>
          <p:cNvPr id="19" name="Subtitle 2">
            <a:extLst>
              <a:ext uri="{FF2B5EF4-FFF2-40B4-BE49-F238E27FC236}">
                <a16:creationId xmlns:a16="http://schemas.microsoft.com/office/drawing/2014/main" id="{1DA9EDA4-B686-4045-95FE-FE9BCC2AB08B}"/>
              </a:ext>
            </a:extLst>
          </p:cNvPr>
          <p:cNvSpPr>
            <a:spLocks noGrp="1"/>
          </p:cNvSpPr>
          <p:nvPr>
            <p:ph type="subTitle" idx="1" hasCustomPrompt="1"/>
          </p:nvPr>
        </p:nvSpPr>
        <p:spPr>
          <a:xfrm>
            <a:off x="1291309" y="5459160"/>
            <a:ext cx="9600000" cy="562128"/>
          </a:xfrm>
          <a:prstGeom prst="rect">
            <a:avLst/>
          </a:prstGeom>
          <a:effectLst/>
        </p:spPr>
        <p:txBody>
          <a:bodyPr lIns="108000"/>
          <a:lstStyle>
            <a:lvl1pPr marL="0" indent="0" algn="ctr">
              <a:spcBef>
                <a:spcPts val="0"/>
              </a:spcBef>
              <a:buNone/>
              <a:defRPr sz="1867" spc="400">
                <a:solidFill>
                  <a:schemeClr val="bg1"/>
                </a:solidFill>
                <a:effectLst/>
                <a:latin typeface="Arial" panose="020B0604020202020204" pitchFamily="34" charset="0"/>
                <a:cs typeface="Arial" panose="020B0604020202020204" pitchFamily="34" charset="0"/>
              </a:defRPr>
            </a:lvl1pPr>
            <a:lvl2pPr marL="428577" indent="0" algn="ctr">
              <a:buNone/>
              <a:defRPr/>
            </a:lvl2pPr>
            <a:lvl3pPr marL="857156" indent="0" algn="ctr">
              <a:buNone/>
              <a:defRPr/>
            </a:lvl3pPr>
            <a:lvl4pPr marL="1285733" indent="0" algn="ctr">
              <a:buNone/>
              <a:defRPr/>
            </a:lvl4pPr>
            <a:lvl5pPr marL="1714310" indent="0" algn="ctr">
              <a:buNone/>
              <a:defRPr/>
            </a:lvl5pPr>
            <a:lvl6pPr marL="2142889" indent="0" algn="ctr">
              <a:buNone/>
              <a:defRPr/>
            </a:lvl6pPr>
            <a:lvl7pPr marL="2571466" indent="0" algn="ctr">
              <a:buNone/>
              <a:defRPr/>
            </a:lvl7pPr>
            <a:lvl8pPr marL="3000044" indent="0" algn="ctr">
              <a:buNone/>
              <a:defRPr/>
            </a:lvl8pPr>
            <a:lvl9pPr marL="3428622" indent="0" algn="ctr">
              <a:buNone/>
              <a:defRPr/>
            </a:lvl9pPr>
          </a:lstStyle>
          <a:p>
            <a:r>
              <a:rPr lang="nb-NO"/>
              <a:t>KLIKK FOR Å REDIGERE UNDERTITTELSTIL I MALEN</a:t>
            </a:r>
          </a:p>
        </p:txBody>
      </p:sp>
      <p:grpSp>
        <p:nvGrpSpPr>
          <p:cNvPr id="7" name="Gruppe 6">
            <a:extLst>
              <a:ext uri="{FF2B5EF4-FFF2-40B4-BE49-F238E27FC236}">
                <a16:creationId xmlns:a16="http://schemas.microsoft.com/office/drawing/2014/main" id="{0AC850BC-662A-1B47-9C92-16C666D8904D}"/>
              </a:ext>
            </a:extLst>
          </p:cNvPr>
          <p:cNvGrpSpPr/>
          <p:nvPr userDrawn="1"/>
        </p:nvGrpSpPr>
        <p:grpSpPr>
          <a:xfrm>
            <a:off x="5370972" y="3429000"/>
            <a:ext cx="1440677" cy="906416"/>
            <a:chOff x="3745440" y="2967119"/>
            <a:chExt cx="2725919" cy="1715039"/>
          </a:xfrm>
        </p:grpSpPr>
        <p:sp>
          <p:nvSpPr>
            <p:cNvPr id="8" name="Friform 7">
              <a:extLst>
                <a:ext uri="{FF2B5EF4-FFF2-40B4-BE49-F238E27FC236}">
                  <a16:creationId xmlns:a16="http://schemas.microsoft.com/office/drawing/2014/main" id="{00034087-8B82-9F4A-B2EA-2FBFA6158402}"/>
                </a:ext>
              </a:extLst>
            </p:cNvPr>
            <p:cNvSpPr/>
            <p:nvPr/>
          </p:nvSpPr>
          <p:spPr>
            <a:xfrm>
              <a:off x="3745440" y="3765600"/>
              <a:ext cx="344160" cy="434519"/>
            </a:xfrm>
            <a:custGeom>
              <a:avLst/>
              <a:gdLst/>
              <a:ahLst/>
              <a:cxnLst>
                <a:cxn ang="3cd4">
                  <a:pos x="hc" y="t"/>
                </a:cxn>
                <a:cxn ang="cd2">
                  <a:pos x="l" y="vc"/>
                </a:cxn>
                <a:cxn ang="cd4">
                  <a:pos x="hc" y="b"/>
                </a:cxn>
                <a:cxn ang="0">
                  <a:pos x="r" y="vc"/>
                </a:cxn>
              </a:cxnLst>
              <a:rect l="l" t="t" r="r" b="b"/>
              <a:pathLst>
                <a:path w="957" h="1208">
                  <a:moveTo>
                    <a:pt x="0" y="1208"/>
                  </a:moveTo>
                  <a:cubicBezTo>
                    <a:pt x="163" y="805"/>
                    <a:pt x="325" y="403"/>
                    <a:pt x="488" y="0"/>
                  </a:cubicBezTo>
                  <a:cubicBezTo>
                    <a:pt x="644" y="0"/>
                    <a:pt x="801" y="0"/>
                    <a:pt x="957" y="0"/>
                  </a:cubicBezTo>
                  <a:cubicBezTo>
                    <a:pt x="794" y="403"/>
                    <a:pt x="631" y="805"/>
                    <a:pt x="468" y="1208"/>
                  </a:cubicBezTo>
                  <a:cubicBezTo>
                    <a:pt x="312" y="1208"/>
                    <a:pt x="156"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9" name="Friform 8">
              <a:extLst>
                <a:ext uri="{FF2B5EF4-FFF2-40B4-BE49-F238E27FC236}">
                  <a16:creationId xmlns:a16="http://schemas.microsoft.com/office/drawing/2014/main" id="{300110EB-53BB-854F-9F05-537B180D21D4}"/>
                </a:ext>
              </a:extLst>
            </p:cNvPr>
            <p:cNvSpPr/>
            <p:nvPr/>
          </p:nvSpPr>
          <p:spPr>
            <a:xfrm>
              <a:off x="5909040" y="3765600"/>
              <a:ext cx="264600" cy="434519"/>
            </a:xfrm>
            <a:custGeom>
              <a:avLst/>
              <a:gdLst/>
              <a:ahLst/>
              <a:cxnLst>
                <a:cxn ang="3cd4">
                  <a:pos x="hc" y="t"/>
                </a:cxn>
                <a:cxn ang="cd2">
                  <a:pos x="l" y="vc"/>
                </a:cxn>
                <a:cxn ang="cd4">
                  <a:pos x="hc" y="b"/>
                </a:cxn>
                <a:cxn ang="0">
                  <a:pos x="r" y="vc"/>
                </a:cxn>
              </a:cxnLst>
              <a:rect l="l" t="t" r="r" b="b"/>
              <a:pathLst>
                <a:path w="736" h="1208">
                  <a:moveTo>
                    <a:pt x="0" y="1208"/>
                  </a:moveTo>
                  <a:cubicBezTo>
                    <a:pt x="161" y="805"/>
                    <a:pt x="321" y="403"/>
                    <a:pt x="482" y="0"/>
                  </a:cubicBezTo>
                  <a:cubicBezTo>
                    <a:pt x="567" y="0"/>
                    <a:pt x="651" y="0"/>
                    <a:pt x="736" y="0"/>
                  </a:cubicBezTo>
                  <a:cubicBezTo>
                    <a:pt x="576" y="403"/>
                    <a:pt x="416" y="805"/>
                    <a:pt x="256" y="1208"/>
                  </a:cubicBezTo>
                  <a:cubicBezTo>
                    <a:pt x="171" y="1208"/>
                    <a:pt x="8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0" name="Friform 9">
              <a:extLst>
                <a:ext uri="{FF2B5EF4-FFF2-40B4-BE49-F238E27FC236}">
                  <a16:creationId xmlns:a16="http://schemas.microsoft.com/office/drawing/2014/main" id="{1A30A78F-77F6-4F47-B87E-5303C73FB9A3}"/>
                </a:ext>
              </a:extLst>
            </p:cNvPr>
            <p:cNvSpPr/>
            <p:nvPr/>
          </p:nvSpPr>
          <p:spPr>
            <a:xfrm>
              <a:off x="6250319" y="3765600"/>
              <a:ext cx="221040" cy="434519"/>
            </a:xfrm>
            <a:custGeom>
              <a:avLst/>
              <a:gdLst/>
              <a:ahLst/>
              <a:cxnLst>
                <a:cxn ang="3cd4">
                  <a:pos x="hc" y="t"/>
                </a:cxn>
                <a:cxn ang="cd2">
                  <a:pos x="l" y="vc"/>
                </a:cxn>
                <a:cxn ang="cd4">
                  <a:pos x="hc" y="b"/>
                </a:cxn>
                <a:cxn ang="0">
                  <a:pos x="r" y="vc"/>
                </a:cxn>
              </a:cxnLst>
              <a:rect l="l" t="t" r="r" b="b"/>
              <a:pathLst>
                <a:path w="615" h="1208">
                  <a:moveTo>
                    <a:pt x="0" y="1208"/>
                  </a:moveTo>
                  <a:cubicBezTo>
                    <a:pt x="160" y="805"/>
                    <a:pt x="320" y="403"/>
                    <a:pt x="480" y="0"/>
                  </a:cubicBezTo>
                  <a:cubicBezTo>
                    <a:pt x="525" y="0"/>
                    <a:pt x="570" y="0"/>
                    <a:pt x="615" y="0"/>
                  </a:cubicBezTo>
                  <a:cubicBezTo>
                    <a:pt x="455" y="403"/>
                    <a:pt x="295" y="805"/>
                    <a:pt x="135" y="1208"/>
                  </a:cubicBezTo>
                  <a:cubicBezTo>
                    <a:pt x="90" y="1208"/>
                    <a:pt x="4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1" name="Friform 10">
              <a:extLst>
                <a:ext uri="{FF2B5EF4-FFF2-40B4-BE49-F238E27FC236}">
                  <a16:creationId xmlns:a16="http://schemas.microsoft.com/office/drawing/2014/main" id="{B4F3C378-7062-6449-BB9D-327EE78A84D6}"/>
                </a:ext>
              </a:extLst>
            </p:cNvPr>
            <p:cNvSpPr/>
            <p:nvPr/>
          </p:nvSpPr>
          <p:spPr>
            <a:xfrm>
              <a:off x="4943159" y="3915720"/>
              <a:ext cx="151920" cy="127440"/>
            </a:xfrm>
            <a:custGeom>
              <a:avLst/>
              <a:gdLst/>
              <a:ahLst/>
              <a:cxnLst>
                <a:cxn ang="3cd4">
                  <a:pos x="hc" y="t"/>
                </a:cxn>
                <a:cxn ang="cd2">
                  <a:pos x="l" y="vc"/>
                </a:cxn>
                <a:cxn ang="cd4">
                  <a:pos x="hc" y="b"/>
                </a:cxn>
                <a:cxn ang="0">
                  <a:pos x="r" y="vc"/>
                </a:cxn>
              </a:cxnLst>
              <a:rect l="l" t="t" r="r" b="b"/>
              <a:pathLst>
                <a:path w="423" h="355">
                  <a:moveTo>
                    <a:pt x="246" y="0"/>
                  </a:moveTo>
                  <a:cubicBezTo>
                    <a:pt x="344" y="0"/>
                    <a:pt x="423" y="79"/>
                    <a:pt x="423" y="177"/>
                  </a:cubicBezTo>
                  <a:cubicBezTo>
                    <a:pt x="423" y="236"/>
                    <a:pt x="423" y="296"/>
                    <a:pt x="423" y="355"/>
                  </a:cubicBezTo>
                  <a:cubicBezTo>
                    <a:pt x="341" y="355"/>
                    <a:pt x="260" y="355"/>
                    <a:pt x="178" y="355"/>
                  </a:cubicBezTo>
                  <a:cubicBezTo>
                    <a:pt x="79" y="355"/>
                    <a:pt x="0" y="275"/>
                    <a:pt x="0" y="177"/>
                  </a:cubicBezTo>
                  <a:cubicBezTo>
                    <a:pt x="0" y="78"/>
                    <a:pt x="79" y="0"/>
                    <a:pt x="178" y="0"/>
                  </a:cubicBezTo>
                  <a:cubicBezTo>
                    <a:pt x="201" y="0"/>
                    <a:pt x="223" y="0"/>
                    <a:pt x="246" y="0"/>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2" name="Friform 11">
              <a:extLst>
                <a:ext uri="{FF2B5EF4-FFF2-40B4-BE49-F238E27FC236}">
                  <a16:creationId xmlns:a16="http://schemas.microsoft.com/office/drawing/2014/main" id="{7BED8A26-1EFC-3440-AB1E-1F6D463B5084}"/>
                </a:ext>
              </a:extLst>
            </p:cNvPr>
            <p:cNvSpPr/>
            <p:nvPr/>
          </p:nvSpPr>
          <p:spPr>
            <a:xfrm>
              <a:off x="4159800" y="2967119"/>
              <a:ext cx="1716119" cy="1715039"/>
            </a:xfrm>
            <a:custGeom>
              <a:avLst/>
              <a:gdLst/>
              <a:ahLst/>
              <a:cxnLst>
                <a:cxn ang="3cd4">
                  <a:pos x="hc" y="t"/>
                </a:cxn>
                <a:cxn ang="cd2">
                  <a:pos x="l" y="vc"/>
                </a:cxn>
                <a:cxn ang="cd4">
                  <a:pos x="hc" y="b"/>
                </a:cxn>
                <a:cxn ang="0">
                  <a:pos x="r" y="vc"/>
                </a:cxn>
              </a:cxnLst>
              <a:rect l="l" t="t" r="r" b="b"/>
              <a:pathLst>
                <a:path w="4768" h="4765">
                  <a:moveTo>
                    <a:pt x="2270" y="4765"/>
                  </a:moveTo>
                  <a:cubicBezTo>
                    <a:pt x="1006" y="4706"/>
                    <a:pt x="0" y="3660"/>
                    <a:pt x="0" y="2383"/>
                  </a:cubicBezTo>
                  <a:cubicBezTo>
                    <a:pt x="0" y="1067"/>
                    <a:pt x="1070" y="0"/>
                    <a:pt x="2385" y="0"/>
                  </a:cubicBezTo>
                  <a:cubicBezTo>
                    <a:pt x="3703" y="0"/>
                    <a:pt x="4768" y="1066"/>
                    <a:pt x="4768" y="2383"/>
                  </a:cubicBezTo>
                  <a:cubicBezTo>
                    <a:pt x="4768" y="3662"/>
                    <a:pt x="3764" y="4706"/>
                    <a:pt x="2499" y="4765"/>
                  </a:cubicBezTo>
                  <a:cubicBezTo>
                    <a:pt x="2423" y="4765"/>
                    <a:pt x="2347" y="4765"/>
                    <a:pt x="2270" y="4765"/>
                  </a:cubicBezTo>
                  <a:close/>
                  <a:moveTo>
                    <a:pt x="3992" y="3382"/>
                  </a:moveTo>
                  <a:cubicBezTo>
                    <a:pt x="4145" y="3008"/>
                    <a:pt x="4297" y="2634"/>
                    <a:pt x="4449" y="2260"/>
                  </a:cubicBezTo>
                  <a:cubicBezTo>
                    <a:pt x="4464" y="2221"/>
                    <a:pt x="4429" y="2234"/>
                    <a:pt x="4418" y="2221"/>
                  </a:cubicBezTo>
                  <a:cubicBezTo>
                    <a:pt x="4277" y="2221"/>
                    <a:pt x="4136" y="2221"/>
                    <a:pt x="3995" y="2221"/>
                  </a:cubicBezTo>
                  <a:cubicBezTo>
                    <a:pt x="3982" y="2229"/>
                    <a:pt x="3967" y="2221"/>
                    <a:pt x="3956" y="2246"/>
                  </a:cubicBezTo>
                  <a:cubicBezTo>
                    <a:pt x="3878" y="2484"/>
                    <a:pt x="3800" y="2723"/>
                    <a:pt x="3722" y="2962"/>
                  </a:cubicBezTo>
                  <a:cubicBezTo>
                    <a:pt x="3644" y="2723"/>
                    <a:pt x="3566" y="2484"/>
                    <a:pt x="3488" y="2246"/>
                  </a:cubicBezTo>
                  <a:cubicBezTo>
                    <a:pt x="3477" y="2221"/>
                    <a:pt x="3462" y="2229"/>
                    <a:pt x="3449" y="2221"/>
                  </a:cubicBezTo>
                  <a:cubicBezTo>
                    <a:pt x="3177" y="2221"/>
                    <a:pt x="2905" y="2221"/>
                    <a:pt x="2633" y="2221"/>
                  </a:cubicBezTo>
                  <a:cubicBezTo>
                    <a:pt x="2616" y="2221"/>
                    <a:pt x="2602" y="2235"/>
                    <a:pt x="2602" y="2252"/>
                  </a:cubicBezTo>
                  <a:cubicBezTo>
                    <a:pt x="2602" y="2332"/>
                    <a:pt x="2602" y="2413"/>
                    <a:pt x="2602" y="2493"/>
                  </a:cubicBezTo>
                  <a:cubicBezTo>
                    <a:pt x="2602" y="2300"/>
                    <a:pt x="2396" y="2218"/>
                    <a:pt x="2275" y="2218"/>
                  </a:cubicBezTo>
                  <a:cubicBezTo>
                    <a:pt x="2004" y="2218"/>
                    <a:pt x="1823" y="2395"/>
                    <a:pt x="1767" y="2666"/>
                  </a:cubicBezTo>
                  <a:cubicBezTo>
                    <a:pt x="1764" y="2485"/>
                    <a:pt x="1750" y="2420"/>
                    <a:pt x="1702" y="2356"/>
                  </a:cubicBezTo>
                  <a:cubicBezTo>
                    <a:pt x="1679" y="2325"/>
                    <a:pt x="1646" y="2297"/>
                    <a:pt x="1612" y="2274"/>
                  </a:cubicBezTo>
                  <a:cubicBezTo>
                    <a:pt x="1541" y="2232"/>
                    <a:pt x="1476" y="2218"/>
                    <a:pt x="1338" y="2218"/>
                  </a:cubicBezTo>
                  <a:cubicBezTo>
                    <a:pt x="1283" y="2218"/>
                    <a:pt x="1229" y="2218"/>
                    <a:pt x="1174" y="2218"/>
                  </a:cubicBezTo>
                  <a:cubicBezTo>
                    <a:pt x="1161" y="2226"/>
                    <a:pt x="1146" y="2218"/>
                    <a:pt x="1135" y="2243"/>
                  </a:cubicBezTo>
                  <a:cubicBezTo>
                    <a:pt x="1085" y="2365"/>
                    <a:pt x="1035" y="2487"/>
                    <a:pt x="985" y="2609"/>
                  </a:cubicBezTo>
                  <a:cubicBezTo>
                    <a:pt x="985" y="2489"/>
                    <a:pt x="985" y="2369"/>
                    <a:pt x="985" y="2249"/>
                  </a:cubicBezTo>
                  <a:cubicBezTo>
                    <a:pt x="985" y="2232"/>
                    <a:pt x="971" y="2218"/>
                    <a:pt x="954" y="2218"/>
                  </a:cubicBezTo>
                  <a:cubicBezTo>
                    <a:pt x="828" y="2218"/>
                    <a:pt x="702" y="2218"/>
                    <a:pt x="576" y="2218"/>
                  </a:cubicBezTo>
                  <a:cubicBezTo>
                    <a:pt x="563" y="2226"/>
                    <a:pt x="548" y="2218"/>
                    <a:pt x="537" y="2243"/>
                  </a:cubicBezTo>
                  <a:cubicBezTo>
                    <a:pt x="485" y="2370"/>
                    <a:pt x="433" y="2496"/>
                    <a:pt x="381" y="2623"/>
                  </a:cubicBezTo>
                  <a:cubicBezTo>
                    <a:pt x="388" y="2637"/>
                    <a:pt x="367" y="2663"/>
                    <a:pt x="401" y="2663"/>
                  </a:cubicBezTo>
                  <a:cubicBezTo>
                    <a:pt x="450" y="2663"/>
                    <a:pt x="499" y="2663"/>
                    <a:pt x="548" y="2663"/>
                  </a:cubicBezTo>
                  <a:cubicBezTo>
                    <a:pt x="548" y="2907"/>
                    <a:pt x="548" y="3151"/>
                    <a:pt x="548" y="3394"/>
                  </a:cubicBezTo>
                  <a:cubicBezTo>
                    <a:pt x="548" y="3411"/>
                    <a:pt x="562" y="3425"/>
                    <a:pt x="579" y="3425"/>
                  </a:cubicBezTo>
                  <a:cubicBezTo>
                    <a:pt x="704" y="3425"/>
                    <a:pt x="829" y="3425"/>
                    <a:pt x="954" y="3425"/>
                  </a:cubicBezTo>
                  <a:cubicBezTo>
                    <a:pt x="971" y="3425"/>
                    <a:pt x="985" y="3411"/>
                    <a:pt x="985" y="3394"/>
                  </a:cubicBezTo>
                  <a:cubicBezTo>
                    <a:pt x="985" y="3152"/>
                    <a:pt x="985" y="2909"/>
                    <a:pt x="985" y="2666"/>
                  </a:cubicBezTo>
                  <a:cubicBezTo>
                    <a:pt x="1034" y="2666"/>
                    <a:pt x="1083" y="2666"/>
                    <a:pt x="1132" y="2666"/>
                  </a:cubicBezTo>
                  <a:cubicBezTo>
                    <a:pt x="1214" y="2666"/>
                    <a:pt x="1231" y="2668"/>
                    <a:pt x="1265" y="2683"/>
                  </a:cubicBezTo>
                  <a:cubicBezTo>
                    <a:pt x="1284" y="2691"/>
                    <a:pt x="1304" y="2705"/>
                    <a:pt x="1313" y="2722"/>
                  </a:cubicBezTo>
                  <a:cubicBezTo>
                    <a:pt x="1332" y="2759"/>
                    <a:pt x="1338" y="2801"/>
                    <a:pt x="1338" y="2934"/>
                  </a:cubicBezTo>
                  <a:cubicBezTo>
                    <a:pt x="1338" y="3088"/>
                    <a:pt x="1338" y="3241"/>
                    <a:pt x="1338" y="3394"/>
                  </a:cubicBezTo>
                  <a:cubicBezTo>
                    <a:pt x="1338" y="3411"/>
                    <a:pt x="1352" y="3425"/>
                    <a:pt x="1369" y="3425"/>
                  </a:cubicBezTo>
                  <a:cubicBezTo>
                    <a:pt x="1489" y="3425"/>
                    <a:pt x="1609" y="3425"/>
                    <a:pt x="1730" y="3425"/>
                  </a:cubicBezTo>
                  <a:cubicBezTo>
                    <a:pt x="1749" y="3412"/>
                    <a:pt x="1770" y="3425"/>
                    <a:pt x="1787" y="3385"/>
                  </a:cubicBezTo>
                  <a:cubicBezTo>
                    <a:pt x="1813" y="3320"/>
                    <a:pt x="1839" y="3254"/>
                    <a:pt x="1866" y="3188"/>
                  </a:cubicBezTo>
                  <a:cubicBezTo>
                    <a:pt x="1970" y="3337"/>
                    <a:pt x="2145" y="3425"/>
                    <a:pt x="2359" y="3425"/>
                  </a:cubicBezTo>
                  <a:cubicBezTo>
                    <a:pt x="2375" y="3425"/>
                    <a:pt x="2391" y="3425"/>
                    <a:pt x="2407" y="3425"/>
                  </a:cubicBezTo>
                  <a:cubicBezTo>
                    <a:pt x="2426" y="3412"/>
                    <a:pt x="2447" y="3425"/>
                    <a:pt x="2464" y="3385"/>
                  </a:cubicBezTo>
                  <a:cubicBezTo>
                    <a:pt x="2510" y="3272"/>
                    <a:pt x="2556" y="3158"/>
                    <a:pt x="2602" y="3044"/>
                  </a:cubicBezTo>
                  <a:cubicBezTo>
                    <a:pt x="2602" y="3161"/>
                    <a:pt x="2602" y="3278"/>
                    <a:pt x="2602" y="3394"/>
                  </a:cubicBezTo>
                  <a:cubicBezTo>
                    <a:pt x="2602" y="3411"/>
                    <a:pt x="2616" y="3425"/>
                    <a:pt x="2633" y="3425"/>
                  </a:cubicBezTo>
                  <a:cubicBezTo>
                    <a:pt x="2755" y="3425"/>
                    <a:pt x="2877" y="3425"/>
                    <a:pt x="3000" y="3425"/>
                  </a:cubicBezTo>
                  <a:cubicBezTo>
                    <a:pt x="3018" y="3412"/>
                    <a:pt x="3040" y="3425"/>
                    <a:pt x="3056" y="3385"/>
                  </a:cubicBezTo>
                  <a:cubicBezTo>
                    <a:pt x="3105" y="3263"/>
                    <a:pt x="3203" y="3021"/>
                    <a:pt x="3203" y="3018"/>
                  </a:cubicBezTo>
                  <a:cubicBezTo>
                    <a:pt x="3209" y="2987"/>
                    <a:pt x="3180" y="2998"/>
                    <a:pt x="3169" y="2987"/>
                  </a:cubicBezTo>
                  <a:cubicBezTo>
                    <a:pt x="3126" y="2987"/>
                    <a:pt x="3083" y="2987"/>
                    <a:pt x="3040" y="2987"/>
                  </a:cubicBezTo>
                  <a:cubicBezTo>
                    <a:pt x="3040" y="2780"/>
                    <a:pt x="3040" y="2572"/>
                    <a:pt x="3040" y="2365"/>
                  </a:cubicBezTo>
                  <a:cubicBezTo>
                    <a:pt x="3176" y="2704"/>
                    <a:pt x="3312" y="3043"/>
                    <a:pt x="3449" y="3382"/>
                  </a:cubicBezTo>
                  <a:cubicBezTo>
                    <a:pt x="3466" y="3422"/>
                    <a:pt x="3486" y="3409"/>
                    <a:pt x="3505" y="3422"/>
                  </a:cubicBezTo>
                  <a:cubicBezTo>
                    <a:pt x="3649" y="3422"/>
                    <a:pt x="3792" y="3422"/>
                    <a:pt x="3936" y="3422"/>
                  </a:cubicBezTo>
                  <a:cubicBezTo>
                    <a:pt x="3955" y="3409"/>
                    <a:pt x="3975" y="3422"/>
                    <a:pt x="3992" y="3382"/>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grpSp>
      <p:sp>
        <p:nvSpPr>
          <p:cNvPr id="14" name="Tittel 8">
            <a:extLst>
              <a:ext uri="{FF2B5EF4-FFF2-40B4-BE49-F238E27FC236}">
                <a16:creationId xmlns:a16="http://schemas.microsoft.com/office/drawing/2014/main" id="{22209C59-CE65-D647-B3B2-3D0F812BB5E8}"/>
              </a:ext>
            </a:extLst>
          </p:cNvPr>
          <p:cNvSpPr>
            <a:spLocks noGrp="1"/>
          </p:cNvSpPr>
          <p:nvPr>
            <p:ph type="title" hasCustomPrompt="1"/>
          </p:nvPr>
        </p:nvSpPr>
        <p:spPr>
          <a:xfrm>
            <a:off x="1291310" y="4560105"/>
            <a:ext cx="9600001" cy="693099"/>
          </a:xfrm>
          <a:prstGeom prst="rect">
            <a:avLst/>
          </a:prstGeom>
          <a:noFill/>
          <a:effectLst/>
        </p:spPr>
        <p:txBody>
          <a:bodyPr lIns="36000" tIns="36000" rIns="36000" bIns="36000" anchor="ctr" anchorCtr="0"/>
          <a:lstStyle>
            <a:lvl1pPr algn="ctr">
              <a:lnSpc>
                <a:spcPct val="100000"/>
              </a:lnSpc>
              <a:defRPr sz="3333" b="1" spc="400">
                <a:solidFill>
                  <a:schemeClr val="bg1"/>
                </a:solidFill>
                <a:effectLst/>
                <a:latin typeface="Arial" panose="020B0604020202020204" pitchFamily="34" charset="0"/>
                <a:cs typeface="Arial" panose="020B0604020202020204" pitchFamily="34" charset="0"/>
              </a:defRPr>
            </a:lvl1pPr>
          </a:lstStyle>
          <a:p>
            <a:r>
              <a:rPr lang="nb-NO"/>
              <a:t>KLIKK FOR Å REDIGERE TITTELSTIL</a:t>
            </a:r>
          </a:p>
        </p:txBody>
      </p:sp>
    </p:spTree>
    <p:extLst>
      <p:ext uri="{BB962C8B-B14F-4D97-AF65-F5344CB8AC3E}">
        <p14:creationId xmlns:p14="http://schemas.microsoft.com/office/powerpoint/2010/main" val="1608588699"/>
      </p:ext>
    </p:extLst>
  </p:cSld>
  <p:clrMapOvr>
    <a:masterClrMapping/>
  </p:clrMapOvr>
  <p:transition spd="med" advClick="0">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chemeClr val="bg1">
              <a:lumMod val="95000"/>
              <a:alpha val="77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chemeClr val="bg1">
              <a:alpha val="66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3" y="644692"/>
            <a:ext cx="10797196"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5" name="Content Placeholder 2">
            <a:extLst>
              <a:ext uri="{FF2B5EF4-FFF2-40B4-BE49-F238E27FC236}">
                <a16:creationId xmlns:a16="http://schemas.microsoft.com/office/drawing/2014/main" id="{A71278E4-DD44-DF44-B07B-F075C21B4467}"/>
              </a:ext>
            </a:extLst>
          </p:cNvPr>
          <p:cNvSpPr>
            <a:spLocks noGrp="1"/>
          </p:cNvSpPr>
          <p:nvPr>
            <p:ph idx="18" hasCustomPrompt="1"/>
          </p:nvPr>
        </p:nvSpPr>
        <p:spPr>
          <a:xfrm>
            <a:off x="335362" y="1988840"/>
            <a:ext cx="10797196"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4120731906"/>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chemeClr val="bg1">
              <a:lumMod val="95000"/>
              <a:alpha val="77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chemeClr val="bg1">
              <a:alpha val="66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922175170"/>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ekst 1 x spalte">
    <p:spTree>
      <p:nvGrpSpPr>
        <p:cNvPr id="1" name=""/>
        <p:cNvGrpSpPr/>
        <p:nvPr/>
      </p:nvGrpSpPr>
      <p:grpSpPr>
        <a:xfrm>
          <a:off x="0" y="0"/>
          <a:ext cx="0" cy="0"/>
          <a:chOff x="0" y="0"/>
          <a:chExt cx="0" cy="0"/>
        </a:xfrm>
      </p:grpSpPr>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3" y="644692"/>
            <a:ext cx="10797196"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5" name="Content Placeholder 2">
            <a:extLst>
              <a:ext uri="{FF2B5EF4-FFF2-40B4-BE49-F238E27FC236}">
                <a16:creationId xmlns:a16="http://schemas.microsoft.com/office/drawing/2014/main" id="{A71278E4-DD44-DF44-B07B-F075C21B4467}"/>
              </a:ext>
            </a:extLst>
          </p:cNvPr>
          <p:cNvSpPr>
            <a:spLocks noGrp="1"/>
          </p:cNvSpPr>
          <p:nvPr>
            <p:ph idx="18" hasCustomPrompt="1"/>
          </p:nvPr>
        </p:nvSpPr>
        <p:spPr>
          <a:xfrm>
            <a:off x="335362" y="1988840"/>
            <a:ext cx="10797196"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4122869335"/>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rgbClr val="C2EAF7">
              <a:alpha val="77000"/>
            </a:srgb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rgbClr val="F2BDB3">
              <a:alpha val="66000"/>
            </a:srgb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hasCustomPrompt="1"/>
          </p:nvPr>
        </p:nvSpPr>
        <p:spPr>
          <a:xfrm>
            <a:off x="3920067" y="2948948"/>
            <a:ext cx="3276600" cy="960107"/>
          </a:xfrm>
          <a:prstGeom prst="rect">
            <a:avLst/>
          </a:prstGeom>
        </p:spPr>
        <p:txBody>
          <a:bodyPr lIns="36000" tIns="36000" rIns="36000" bIns="36000" anchor="ctr" anchorCtr="0"/>
          <a:lstStyle>
            <a:lvl1pPr algn="ctr">
              <a:lnSpc>
                <a:spcPct val="100000"/>
              </a:lnSpc>
              <a:defRPr sz="2133" b="1" spc="400">
                <a:solidFill>
                  <a:schemeClr val="bg2"/>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883653802"/>
      </p:ext>
    </p:extLst>
  </p:cSld>
  <p:clrMapOvr>
    <a:masterClrMapping/>
  </p:clrMapOvr>
  <p:transition spd="med" advClick="0">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2 x spalter">
    <p:spTree>
      <p:nvGrpSpPr>
        <p:cNvPr id="1" name=""/>
        <p:cNvGrpSpPr/>
        <p:nvPr/>
      </p:nvGrpSpPr>
      <p:grpSpPr>
        <a:xfrm>
          <a:off x="0" y="0"/>
          <a:ext cx="0" cy="0"/>
          <a:chOff x="0" y="0"/>
          <a:chExt cx="0" cy="0"/>
        </a:xfrm>
      </p:grpSpPr>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0" y="644692"/>
            <a:ext cx="10797197"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8" name="Content Placeholder 2">
            <a:extLst>
              <a:ext uri="{FF2B5EF4-FFF2-40B4-BE49-F238E27FC236}">
                <a16:creationId xmlns:a16="http://schemas.microsoft.com/office/drawing/2014/main" id="{100C1359-F24C-DF44-81FC-74F8E394F332}"/>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9" name="Content Placeholder 2">
            <a:extLst>
              <a:ext uri="{FF2B5EF4-FFF2-40B4-BE49-F238E27FC236}">
                <a16:creationId xmlns:a16="http://schemas.microsoft.com/office/drawing/2014/main" id="{64DC1BEF-E4AB-534D-A7E0-29C0166E5DA6}"/>
              </a:ext>
            </a:extLst>
          </p:cNvPr>
          <p:cNvSpPr>
            <a:spLocks noGrp="1"/>
          </p:cNvSpPr>
          <p:nvPr>
            <p:ph idx="18" hasCustomPrompt="1"/>
          </p:nvPr>
        </p:nvSpPr>
        <p:spPr>
          <a:xfrm>
            <a:off x="6280839" y="1988840"/>
            <a:ext cx="4851423"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0" name="TekstSylinder 9">
            <a:extLst>
              <a:ext uri="{FF2B5EF4-FFF2-40B4-BE49-F238E27FC236}">
                <a16:creationId xmlns:a16="http://schemas.microsoft.com/office/drawing/2014/main" id="{2FDF392D-3EA8-AC4D-9747-9A1B50C93007}"/>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253516323"/>
      </p:ext>
    </p:extLst>
  </p:cSld>
  <p:clrMapOvr>
    <a:masterClrMapping/>
  </p:clrMapOvr>
  <p:transition spd="med" advClick="0">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E6AA11-9D10-4845-953E-FC6659DEA9CB}"/>
              </a:ext>
            </a:extLst>
          </p:cNvPr>
          <p:cNvSpPr>
            <a:spLocks noGrp="1"/>
          </p:cNvSpPr>
          <p:nvPr>
            <p:ph type="title" hasCustomPrompt="1"/>
          </p:nvPr>
        </p:nvSpPr>
        <p:spPr/>
        <p:txBody>
          <a:bodyPr/>
          <a:lstStyle/>
          <a:p>
            <a:r>
              <a:rPr lang="nb-NO"/>
              <a:t>Klikk for å redigere tittelen</a:t>
            </a:r>
          </a:p>
        </p:txBody>
      </p:sp>
      <p:sp>
        <p:nvSpPr>
          <p:cNvPr id="3" name="Plassholder for innhold 2">
            <a:extLst>
              <a:ext uri="{FF2B5EF4-FFF2-40B4-BE49-F238E27FC236}">
                <a16:creationId xmlns:a16="http://schemas.microsoft.com/office/drawing/2014/main" id="{0093FA9A-B386-3D4A-A17E-105BC9010CBC}"/>
              </a:ext>
            </a:extLst>
          </p:cNvPr>
          <p:cNvSpPr>
            <a:spLocks noGrp="1"/>
          </p:cNvSpPr>
          <p:nvPr>
            <p:ph sz="half" idx="1" hasCustomPrompt="1"/>
          </p:nvPr>
        </p:nvSpPr>
        <p:spPr>
          <a:xfrm>
            <a:off x="838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49DD5D4-E4CC-F541-A385-23400791B312}"/>
              </a:ext>
            </a:extLst>
          </p:cNvPr>
          <p:cNvSpPr>
            <a:spLocks noGrp="1"/>
          </p:cNvSpPr>
          <p:nvPr>
            <p:ph sz="half" idx="2" hasCustomPrompt="1"/>
          </p:nvPr>
        </p:nvSpPr>
        <p:spPr>
          <a:xfrm>
            <a:off x="6172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E0092E29-1063-5549-A785-73E8C6A77833}"/>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D71D6EC1-D552-3849-8EEF-1601B9CE5A70}"/>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6235668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med halvside bilde firekant">
    <p:spTree>
      <p:nvGrpSpPr>
        <p:cNvPr id="1" name=""/>
        <p:cNvGrpSpPr/>
        <p:nvPr/>
      </p:nvGrpSpPr>
      <p:grpSpPr>
        <a:xfrm>
          <a:off x="0" y="0"/>
          <a:ext cx="0" cy="0"/>
          <a:chOff x="0" y="0"/>
          <a:chExt cx="0" cy="0"/>
        </a:xfrm>
      </p:grpSpPr>
      <p:sp>
        <p:nvSpPr>
          <p:cNvPr id="22" name="Plassholder for bunntekst 18">
            <a:extLst>
              <a:ext uri="{FF2B5EF4-FFF2-40B4-BE49-F238E27FC236}">
                <a16:creationId xmlns:a16="http://schemas.microsoft.com/office/drawing/2014/main" id="{B285C963-6F99-7747-89E3-8D8F749748D7}"/>
              </a:ext>
            </a:extLst>
          </p:cNvPr>
          <p:cNvSpPr>
            <a:spLocks noGrp="1"/>
          </p:cNvSpPr>
          <p:nvPr>
            <p:ph type="ftr" sz="quarter" idx="17"/>
          </p:nvPr>
        </p:nvSpPr>
        <p:spPr>
          <a:xfrm>
            <a:off x="1046803" y="6501344"/>
            <a:ext cx="4887784" cy="1847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0" name="Tittel 8">
            <a:extLst>
              <a:ext uri="{FF2B5EF4-FFF2-40B4-BE49-F238E27FC236}">
                <a16:creationId xmlns:a16="http://schemas.microsoft.com/office/drawing/2014/main" id="{C86874E1-B1C0-B24A-81BD-26D94F44D201}"/>
              </a:ext>
            </a:extLst>
          </p:cNvPr>
          <p:cNvSpPr>
            <a:spLocks noGrp="1"/>
          </p:cNvSpPr>
          <p:nvPr>
            <p:ph type="title"/>
          </p:nvPr>
        </p:nvSpPr>
        <p:spPr>
          <a:xfrm>
            <a:off x="329609" y="644692"/>
            <a:ext cx="5568617"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7" name="Plassholder for bilde 5">
            <a:extLst>
              <a:ext uri="{FF2B5EF4-FFF2-40B4-BE49-F238E27FC236}">
                <a16:creationId xmlns:a16="http://schemas.microsoft.com/office/drawing/2014/main" id="{DB1FB88C-8788-2A43-A5D6-3F98FD76BD8B}"/>
              </a:ext>
            </a:extLst>
          </p:cNvPr>
          <p:cNvSpPr>
            <a:spLocks noGrp="1" noChangeAspect="1"/>
          </p:cNvSpPr>
          <p:nvPr>
            <p:ph type="pic" sz="quarter" idx="12" hasCustomPrompt="1"/>
          </p:nvPr>
        </p:nvSpPr>
        <p:spPr>
          <a:xfrm>
            <a:off x="6096000" y="4447"/>
            <a:ext cx="6096000" cy="6858000"/>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
        <p:nvSpPr>
          <p:cNvPr id="6" name="Content Placeholder 2">
            <a:extLst>
              <a:ext uri="{FF2B5EF4-FFF2-40B4-BE49-F238E27FC236}">
                <a16:creationId xmlns:a16="http://schemas.microsoft.com/office/drawing/2014/main" id="{F9AEE40A-2FCB-C140-8CE2-E24A1144C283}"/>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8" name="TekstSylinder 7">
            <a:extLst>
              <a:ext uri="{FF2B5EF4-FFF2-40B4-BE49-F238E27FC236}">
                <a16:creationId xmlns:a16="http://schemas.microsoft.com/office/drawing/2014/main" id="{8BD12C13-886D-7D42-8FBD-97626803A0D0}"/>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644655703"/>
      </p:ext>
    </p:extLst>
  </p:cSld>
  <p:clrMapOvr>
    <a:masterClrMapping/>
  </p:clrMapOvr>
  <p:transition spd="med" advClick="0">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bilde u tekst">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DB1FB88C-8788-2A43-A5D6-3F98FD76BD8B}"/>
              </a:ext>
            </a:extLst>
          </p:cNvPr>
          <p:cNvSpPr>
            <a:spLocks noGrp="1" noChangeAspect="1"/>
          </p:cNvSpPr>
          <p:nvPr>
            <p:ph type="pic" sz="quarter" idx="12" hasCustomPrompt="1"/>
          </p:nvPr>
        </p:nvSpPr>
        <p:spPr>
          <a:xfrm>
            <a:off x="0" y="0"/>
            <a:ext cx="12192000" cy="6858000"/>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Tree>
    <p:extLst>
      <p:ext uri="{BB962C8B-B14F-4D97-AF65-F5344CB8AC3E}">
        <p14:creationId xmlns:p14="http://schemas.microsoft.com/office/powerpoint/2010/main" val="4187886972"/>
      </p:ext>
    </p:extLst>
  </p:cSld>
  <p:clrMapOvr>
    <a:masterClrMapping/>
  </p:clrMapOvr>
  <p:transition spd="med" advClick="0">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bilde m tittel">
    <p:spTree>
      <p:nvGrpSpPr>
        <p:cNvPr id="1" name=""/>
        <p:cNvGrpSpPr/>
        <p:nvPr/>
      </p:nvGrpSpPr>
      <p:grpSpPr>
        <a:xfrm>
          <a:off x="0" y="0"/>
          <a:ext cx="0" cy="0"/>
          <a:chOff x="0" y="0"/>
          <a:chExt cx="0" cy="0"/>
        </a:xfrm>
      </p:grpSpPr>
      <p:sp>
        <p:nvSpPr>
          <p:cNvPr id="14" name="Plassholder for lysbildenummer 5">
            <a:extLst>
              <a:ext uri="{FF2B5EF4-FFF2-40B4-BE49-F238E27FC236}">
                <a16:creationId xmlns:a16="http://schemas.microsoft.com/office/drawing/2014/main" id="{3EA21D96-CB71-8745-805C-0F6F38B57A80}"/>
              </a:ext>
            </a:extLst>
          </p:cNvPr>
          <p:cNvSpPr>
            <a:spLocks noGrp="1"/>
          </p:cNvSpPr>
          <p:nvPr>
            <p:ph type="sldNum" sz="quarter" idx="13"/>
          </p:nvPr>
        </p:nvSpPr>
        <p:spPr>
          <a:xfrm>
            <a:off x="10896532" y="6501343"/>
            <a:ext cx="1056117" cy="242349"/>
          </a:xfrm>
          <a:prstGeom prst="rect">
            <a:avLst/>
          </a:prstGeom>
        </p:spPr>
        <p:txBody>
          <a:bodyPr lIns="0" tIns="0" rIns="0" bIns="0"/>
          <a:lstStyle>
            <a:lvl1pPr algn="r">
              <a:defRPr sz="1467" b="0" i="0">
                <a:solidFill>
                  <a:schemeClr val="bg1">
                    <a:lumMod val="95000"/>
                  </a:schemeClr>
                </a:solidFill>
                <a:latin typeface="Segoe UI" charset="0"/>
                <a:ea typeface="Segoe UI" charset="0"/>
                <a:cs typeface="Segoe UI" charset="0"/>
              </a:defRPr>
            </a:lvl1pPr>
          </a:lstStyle>
          <a:p>
            <a:fld id="{FB0F92BC-E9B5-8747-84F4-872B61BA0272}" type="slidenum">
              <a:rPr lang="nb-NO" smtClean="0"/>
              <a:pPr/>
              <a:t>‹#›</a:t>
            </a:fld>
            <a:endParaRPr lang="nb-NO"/>
          </a:p>
        </p:txBody>
      </p:sp>
      <p:sp>
        <p:nvSpPr>
          <p:cNvPr id="12" name="Plassholder for bilde 5">
            <a:extLst>
              <a:ext uri="{FF2B5EF4-FFF2-40B4-BE49-F238E27FC236}">
                <a16:creationId xmlns:a16="http://schemas.microsoft.com/office/drawing/2014/main" id="{2CB52C3C-9EB3-8548-8E2E-8B9119E71A4F}"/>
              </a:ext>
            </a:extLst>
          </p:cNvPr>
          <p:cNvSpPr>
            <a:spLocks noGrp="1"/>
          </p:cNvSpPr>
          <p:nvPr>
            <p:ph type="pic" sz="quarter" idx="12"/>
          </p:nvPr>
        </p:nvSpPr>
        <p:spPr>
          <a:xfrm>
            <a:off x="0" y="-1"/>
            <a:ext cx="12192000" cy="6858001"/>
          </a:xfr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6" name="Text Placeholder 7">
            <a:extLst>
              <a:ext uri="{FF2B5EF4-FFF2-40B4-BE49-F238E27FC236}">
                <a16:creationId xmlns:a16="http://schemas.microsoft.com/office/drawing/2014/main" id="{58C3B302-0076-CC40-AAE7-B85F6DFF8726}"/>
              </a:ext>
            </a:extLst>
          </p:cNvPr>
          <p:cNvSpPr>
            <a:spLocks noGrp="1"/>
          </p:cNvSpPr>
          <p:nvPr>
            <p:ph type="body" sz="quarter" idx="14" hasCustomPrompt="1"/>
          </p:nvPr>
        </p:nvSpPr>
        <p:spPr>
          <a:xfrm>
            <a:off x="3" y="2324957"/>
            <a:ext cx="12191999" cy="2584963"/>
          </a:xfrm>
          <a:gradFill>
            <a:gsLst>
              <a:gs pos="100000">
                <a:schemeClr val="tx1">
                  <a:alpha val="0"/>
                </a:schemeClr>
              </a:gs>
              <a:gs pos="38000">
                <a:srgbClr val="333333">
                  <a:alpha val="35000"/>
                </a:srgbClr>
              </a:gs>
              <a:gs pos="60000">
                <a:srgbClr val="333333">
                  <a:lumMod val="100000"/>
                  <a:alpha val="35000"/>
                </a:srgbClr>
              </a:gs>
              <a:gs pos="0">
                <a:schemeClr val="tx1">
                  <a:alpha val="0"/>
                </a:schemeClr>
              </a:gs>
            </a:gsLst>
            <a:lin ang="16200000" scaled="1"/>
          </a:gradFill>
        </p:spPr>
        <p:txBody>
          <a:bodyPr lIns="1440000" tIns="648000" rIns="1440000" bIns="180000" anchor="ctr" anchorCtr="0"/>
          <a:lstStyle>
            <a:lvl1pPr marL="47997" indent="0" algn="ctr">
              <a:spcBef>
                <a:spcPts val="800"/>
              </a:spcBef>
              <a:buClr>
                <a:schemeClr val="accent3"/>
              </a:buClr>
              <a:buSzPct val="110000"/>
              <a:buFont typeface="Arial" panose="020B0604020202020204" pitchFamily="34" charset="0"/>
              <a:buNone/>
              <a:defRPr sz="2800" baseline="0">
                <a:solidFill>
                  <a:schemeClr val="bg1"/>
                </a:solidFill>
                <a:latin typeface="Arial" panose="020B0604020202020204" pitchFamily="34" charset="0"/>
                <a:cs typeface="Arial" panose="020B0604020202020204" pitchFamily="34" charset="0"/>
              </a:defRPr>
            </a:lvl1pPr>
            <a:lvl2pPr marL="287986" indent="0" algn="ctr">
              <a:spcBef>
                <a:spcPts val="800"/>
              </a:spcBef>
              <a:buClr>
                <a:schemeClr val="accent3"/>
              </a:buClr>
              <a:buSzPct val="110000"/>
              <a:buFont typeface="Arial" panose="020B0604020202020204" pitchFamily="34" charset="0"/>
              <a:buNone/>
              <a:defRPr sz="1600" baseline="0">
                <a:solidFill>
                  <a:schemeClr val="tx1"/>
                </a:solidFill>
                <a:latin typeface="Arial" panose="020B0604020202020204" pitchFamily="34" charset="0"/>
                <a:cs typeface="Arial" panose="020B0604020202020204" pitchFamily="34" charset="0"/>
              </a:defRPr>
            </a:lvl2pPr>
            <a:lvl3pPr marL="575972" indent="0" algn="ctr">
              <a:spcBef>
                <a:spcPts val="800"/>
              </a:spcBef>
              <a:buClr>
                <a:schemeClr val="accent3"/>
              </a:buClr>
              <a:buSzPct val="110000"/>
              <a:buFont typeface="Arial" panose="020B0604020202020204" pitchFamily="34" charset="0"/>
              <a:buNone/>
              <a:defRPr sz="1333" baseline="0">
                <a:solidFill>
                  <a:schemeClr val="tx1"/>
                </a:solidFill>
                <a:latin typeface="Arial" panose="020B0604020202020204" pitchFamily="34" charset="0"/>
                <a:cs typeface="Arial" panose="020B0604020202020204" pitchFamily="34" charset="0"/>
              </a:defRPr>
            </a:lvl3pPr>
            <a:lvl4pPr indent="-287986">
              <a:spcBef>
                <a:spcPts val="933"/>
              </a:spcBef>
              <a:buClr>
                <a:schemeClr val="accent6"/>
              </a:buClr>
              <a:buSzPct val="110000"/>
              <a:defRPr sz="2133" baseline="0">
                <a:solidFill>
                  <a:srgbClr val="007272"/>
                </a:solidFill>
                <a:latin typeface="Segoe UI"/>
              </a:defRPr>
            </a:lvl4pPr>
            <a:lvl5pPr indent="-287986">
              <a:spcBef>
                <a:spcPts val="933"/>
              </a:spcBef>
              <a:buClr>
                <a:schemeClr val="accent6"/>
              </a:buClr>
              <a:buSzPct val="110000"/>
              <a:defRPr sz="2133" baseline="0">
                <a:solidFill>
                  <a:srgbClr val="007272"/>
                </a:solidFill>
                <a:latin typeface="Segoe UI"/>
              </a:defRPr>
            </a:lvl5pPr>
          </a:lstStyle>
          <a:p>
            <a:pPr lvl="0"/>
            <a:r>
              <a:rPr lang="nb-NO"/>
              <a:t>Undertittel</a:t>
            </a:r>
          </a:p>
        </p:txBody>
      </p:sp>
      <p:sp>
        <p:nvSpPr>
          <p:cNvPr id="7" name="Tittel 8">
            <a:extLst>
              <a:ext uri="{FF2B5EF4-FFF2-40B4-BE49-F238E27FC236}">
                <a16:creationId xmlns:a16="http://schemas.microsoft.com/office/drawing/2014/main" id="{FF77F4E9-6DB2-DB49-A4F0-66FD09B06F2F}"/>
              </a:ext>
            </a:extLst>
          </p:cNvPr>
          <p:cNvSpPr>
            <a:spLocks noGrp="1"/>
          </p:cNvSpPr>
          <p:nvPr>
            <p:ph type="title" hasCustomPrompt="1"/>
          </p:nvPr>
        </p:nvSpPr>
        <p:spPr>
          <a:xfrm>
            <a:off x="1296000" y="2324957"/>
            <a:ext cx="9600000" cy="816011"/>
          </a:xfrm>
          <a:prstGeom prst="rect">
            <a:avLst/>
          </a:prstGeom>
        </p:spPr>
        <p:txBody>
          <a:bodyPr lIns="36000" tIns="36000" rIns="36000" bIns="36000" anchor="ctr" anchorCtr="0"/>
          <a:lstStyle>
            <a:lvl1pPr algn="ctr">
              <a:lnSpc>
                <a:spcPct val="100000"/>
              </a:lnSpc>
              <a:defRPr sz="5333" b="1" i="0">
                <a:solidFill>
                  <a:schemeClr val="bg1"/>
                </a:solidFill>
                <a:effectLst/>
                <a:latin typeface="Arial" panose="020B0604020202020204" pitchFamily="34" charset="0"/>
                <a:cs typeface="Arial" panose="020B0604020202020204" pitchFamily="34" charset="0"/>
              </a:defRPr>
            </a:lvl1pPr>
          </a:lstStyle>
          <a:p>
            <a:r>
              <a:rPr lang="nb-NO"/>
              <a:t>Tittel</a:t>
            </a:r>
          </a:p>
        </p:txBody>
      </p:sp>
    </p:spTree>
    <p:extLst>
      <p:ext uri="{BB962C8B-B14F-4D97-AF65-F5344CB8AC3E}">
        <p14:creationId xmlns:p14="http://schemas.microsoft.com/office/powerpoint/2010/main" val="2888320819"/>
      </p:ext>
    </p:extLst>
  </p:cSld>
  <p:clrMapOvr>
    <a:masterClrMapping/>
  </p:clrMapOvr>
  <p:transition spd="med" advClick="0">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 med bilde sirkel">
    <p:spTree>
      <p:nvGrpSpPr>
        <p:cNvPr id="1" name=""/>
        <p:cNvGrpSpPr/>
        <p:nvPr/>
      </p:nvGrpSpPr>
      <p:grpSpPr>
        <a:xfrm>
          <a:off x="0" y="0"/>
          <a:ext cx="0" cy="0"/>
          <a:chOff x="0" y="0"/>
          <a:chExt cx="0" cy="0"/>
        </a:xfrm>
      </p:grpSpPr>
      <p:sp>
        <p:nvSpPr>
          <p:cNvPr id="6" name="Plassholder for bilde 5"/>
          <p:cNvSpPr>
            <a:spLocks noGrp="1" noChangeAspect="1"/>
          </p:cNvSpPr>
          <p:nvPr>
            <p:ph type="pic" sz="quarter" idx="12"/>
          </p:nvPr>
        </p:nvSpPr>
        <p:spPr>
          <a:xfrm>
            <a:off x="6103986" y="627930"/>
            <a:ext cx="5585380" cy="5585380"/>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2" name="Plassholder for bunntekst 18">
            <a:extLst>
              <a:ext uri="{FF2B5EF4-FFF2-40B4-BE49-F238E27FC236}">
                <a16:creationId xmlns:a16="http://schemas.microsoft.com/office/drawing/2014/main" id="{B285C963-6F99-7747-89E3-8D8F749748D7}"/>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7" name="Tittel 8">
            <a:extLst>
              <a:ext uri="{FF2B5EF4-FFF2-40B4-BE49-F238E27FC236}">
                <a16:creationId xmlns:a16="http://schemas.microsoft.com/office/drawing/2014/main" id="{3B51B8D3-42D6-4244-9888-107A693CEFE4}"/>
              </a:ext>
            </a:extLst>
          </p:cNvPr>
          <p:cNvSpPr>
            <a:spLocks noGrp="1"/>
          </p:cNvSpPr>
          <p:nvPr>
            <p:ph type="title"/>
          </p:nvPr>
        </p:nvSpPr>
        <p:spPr>
          <a:xfrm>
            <a:off x="335360" y="644692"/>
            <a:ext cx="5562864"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8" name="Content Placeholder 2">
            <a:extLst>
              <a:ext uri="{FF2B5EF4-FFF2-40B4-BE49-F238E27FC236}">
                <a16:creationId xmlns:a16="http://schemas.microsoft.com/office/drawing/2014/main" id="{6A0D71DB-86A4-FD4F-A5D4-4E0CB4AA986C}"/>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1" name="TekstSylinder 10">
            <a:extLst>
              <a:ext uri="{FF2B5EF4-FFF2-40B4-BE49-F238E27FC236}">
                <a16:creationId xmlns:a16="http://schemas.microsoft.com/office/drawing/2014/main" id="{4A977D6C-B7E9-0045-AA21-0705612A54B7}"/>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794396849"/>
      </p:ext>
    </p:extLst>
  </p:cSld>
  <p:clrMapOvr>
    <a:masterClrMapping/>
  </p:clrMapOvr>
  <p:transition spd="med" advClick="0">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kst med sirkel bilder x 4">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A1741E12-5590-6842-8E72-521CDEA917F9}"/>
              </a:ext>
            </a:extLst>
          </p:cNvPr>
          <p:cNvSpPr>
            <a:spLocks noGrp="1" noChangeAspect="1"/>
          </p:cNvSpPr>
          <p:nvPr>
            <p:ph type="pic" sz="quarter" idx="18"/>
          </p:nvPr>
        </p:nvSpPr>
        <p:spPr>
          <a:xfrm>
            <a:off x="6004380"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bilde 5">
            <a:extLst>
              <a:ext uri="{FF2B5EF4-FFF2-40B4-BE49-F238E27FC236}">
                <a16:creationId xmlns:a16="http://schemas.microsoft.com/office/drawing/2014/main" id="{9F59E273-D67B-9E43-8E81-0C415729CCC9}"/>
              </a:ext>
            </a:extLst>
          </p:cNvPr>
          <p:cNvSpPr>
            <a:spLocks noGrp="1" noChangeAspect="1"/>
          </p:cNvSpPr>
          <p:nvPr>
            <p:ph type="pic" sz="quarter" idx="19"/>
          </p:nvPr>
        </p:nvSpPr>
        <p:spPr>
          <a:xfrm>
            <a:off x="889707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1" name="Plassholder for bilde 5">
            <a:extLst>
              <a:ext uri="{FF2B5EF4-FFF2-40B4-BE49-F238E27FC236}">
                <a16:creationId xmlns:a16="http://schemas.microsoft.com/office/drawing/2014/main" id="{496B072B-5892-5740-97CA-F3B10563C203}"/>
              </a:ext>
            </a:extLst>
          </p:cNvPr>
          <p:cNvSpPr>
            <a:spLocks noGrp="1" noChangeAspect="1"/>
          </p:cNvSpPr>
          <p:nvPr>
            <p:ph type="pic" sz="quarter" idx="20"/>
          </p:nvPr>
        </p:nvSpPr>
        <p:spPr>
          <a:xfrm>
            <a:off x="6004380"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3578DC4E-778B-C24B-BE34-58292BF4FE9E}"/>
              </a:ext>
            </a:extLst>
          </p:cNvPr>
          <p:cNvSpPr>
            <a:spLocks noGrp="1" noChangeAspect="1"/>
          </p:cNvSpPr>
          <p:nvPr>
            <p:ph type="pic" sz="quarter" idx="21"/>
          </p:nvPr>
        </p:nvSpPr>
        <p:spPr>
          <a:xfrm>
            <a:off x="889707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3" name="Plassholder for bunntekst 18">
            <a:extLst>
              <a:ext uri="{FF2B5EF4-FFF2-40B4-BE49-F238E27FC236}">
                <a16:creationId xmlns:a16="http://schemas.microsoft.com/office/drawing/2014/main" id="{C8ECC022-2B3D-2B48-A42F-D06442FDA251}"/>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35A95B85-8090-8740-940C-10D1449FFDE0}"/>
              </a:ext>
            </a:extLst>
          </p:cNvPr>
          <p:cNvSpPr>
            <a:spLocks noGrp="1"/>
          </p:cNvSpPr>
          <p:nvPr>
            <p:ph type="title"/>
          </p:nvPr>
        </p:nvSpPr>
        <p:spPr>
          <a:xfrm>
            <a:off x="335360" y="644692"/>
            <a:ext cx="5562864"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15" name="Content Placeholder 2">
            <a:extLst>
              <a:ext uri="{FF2B5EF4-FFF2-40B4-BE49-F238E27FC236}">
                <a16:creationId xmlns:a16="http://schemas.microsoft.com/office/drawing/2014/main" id="{1F1FF17B-DC3C-6744-86DB-CEAA8E36FD28}"/>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6" name="TekstSylinder 15">
            <a:extLst>
              <a:ext uri="{FF2B5EF4-FFF2-40B4-BE49-F238E27FC236}">
                <a16:creationId xmlns:a16="http://schemas.microsoft.com/office/drawing/2014/main" id="{5F49A203-4390-1741-B0EA-78717632C4CA}"/>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588821211"/>
      </p:ext>
    </p:extLst>
  </p:cSld>
  <p:clrMapOvr>
    <a:masterClrMapping/>
  </p:clrMapOvr>
  <p:transition spd="med" advClick="0">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kst med sirkel bilder x 4">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A1741E12-5590-6842-8E72-521CDEA917F9}"/>
              </a:ext>
            </a:extLst>
          </p:cNvPr>
          <p:cNvSpPr>
            <a:spLocks noGrp="1" noChangeAspect="1"/>
          </p:cNvSpPr>
          <p:nvPr>
            <p:ph type="pic" sz="quarter" idx="18"/>
          </p:nvPr>
        </p:nvSpPr>
        <p:spPr>
          <a:xfrm>
            <a:off x="6004380"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bilde 5">
            <a:extLst>
              <a:ext uri="{FF2B5EF4-FFF2-40B4-BE49-F238E27FC236}">
                <a16:creationId xmlns:a16="http://schemas.microsoft.com/office/drawing/2014/main" id="{9F59E273-D67B-9E43-8E81-0C415729CCC9}"/>
              </a:ext>
            </a:extLst>
          </p:cNvPr>
          <p:cNvSpPr>
            <a:spLocks noGrp="1" noChangeAspect="1"/>
          </p:cNvSpPr>
          <p:nvPr>
            <p:ph type="pic" sz="quarter" idx="19"/>
          </p:nvPr>
        </p:nvSpPr>
        <p:spPr>
          <a:xfrm>
            <a:off x="889707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1" name="Plassholder for bilde 5">
            <a:extLst>
              <a:ext uri="{FF2B5EF4-FFF2-40B4-BE49-F238E27FC236}">
                <a16:creationId xmlns:a16="http://schemas.microsoft.com/office/drawing/2014/main" id="{496B072B-5892-5740-97CA-F3B10563C203}"/>
              </a:ext>
            </a:extLst>
          </p:cNvPr>
          <p:cNvSpPr>
            <a:spLocks noGrp="1" noChangeAspect="1"/>
          </p:cNvSpPr>
          <p:nvPr>
            <p:ph type="pic" sz="quarter" idx="20"/>
          </p:nvPr>
        </p:nvSpPr>
        <p:spPr>
          <a:xfrm>
            <a:off x="6004380"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3578DC4E-778B-C24B-BE34-58292BF4FE9E}"/>
              </a:ext>
            </a:extLst>
          </p:cNvPr>
          <p:cNvSpPr>
            <a:spLocks noGrp="1" noChangeAspect="1"/>
          </p:cNvSpPr>
          <p:nvPr>
            <p:ph type="pic" sz="quarter" idx="21"/>
          </p:nvPr>
        </p:nvSpPr>
        <p:spPr>
          <a:xfrm>
            <a:off x="889707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3" name="Plassholder for bunntekst 18">
            <a:extLst>
              <a:ext uri="{FF2B5EF4-FFF2-40B4-BE49-F238E27FC236}">
                <a16:creationId xmlns:a16="http://schemas.microsoft.com/office/drawing/2014/main" id="{C8ECC022-2B3D-2B48-A42F-D06442FDA251}"/>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6" name="TekstSylinder 15">
            <a:extLst>
              <a:ext uri="{FF2B5EF4-FFF2-40B4-BE49-F238E27FC236}">
                <a16:creationId xmlns:a16="http://schemas.microsoft.com/office/drawing/2014/main" id="{5F49A203-4390-1741-B0EA-78717632C4CA}"/>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
        <p:nvSpPr>
          <p:cNvPr id="10" name="Plassholder for bilde 5">
            <a:extLst>
              <a:ext uri="{FF2B5EF4-FFF2-40B4-BE49-F238E27FC236}">
                <a16:creationId xmlns:a16="http://schemas.microsoft.com/office/drawing/2014/main" id="{AE18C1A9-126D-414B-973A-F5BEB5010656}"/>
              </a:ext>
            </a:extLst>
          </p:cNvPr>
          <p:cNvSpPr>
            <a:spLocks noGrp="1" noChangeAspect="1"/>
          </p:cNvSpPr>
          <p:nvPr>
            <p:ph type="pic" sz="quarter" idx="22"/>
          </p:nvPr>
        </p:nvSpPr>
        <p:spPr>
          <a:xfrm>
            <a:off x="21899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7" name="Plassholder for bilde 5">
            <a:extLst>
              <a:ext uri="{FF2B5EF4-FFF2-40B4-BE49-F238E27FC236}">
                <a16:creationId xmlns:a16="http://schemas.microsoft.com/office/drawing/2014/main" id="{470AA29E-8839-CB46-B321-5F71E059986D}"/>
              </a:ext>
            </a:extLst>
          </p:cNvPr>
          <p:cNvSpPr>
            <a:spLocks noGrp="1" noChangeAspect="1"/>
          </p:cNvSpPr>
          <p:nvPr>
            <p:ph type="pic" sz="quarter" idx="23"/>
          </p:nvPr>
        </p:nvSpPr>
        <p:spPr>
          <a:xfrm>
            <a:off x="3111687"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8" name="Plassholder for bilde 5">
            <a:extLst>
              <a:ext uri="{FF2B5EF4-FFF2-40B4-BE49-F238E27FC236}">
                <a16:creationId xmlns:a16="http://schemas.microsoft.com/office/drawing/2014/main" id="{966D5508-0149-AF40-92C6-96A126FFD76F}"/>
              </a:ext>
            </a:extLst>
          </p:cNvPr>
          <p:cNvSpPr>
            <a:spLocks noGrp="1" noChangeAspect="1"/>
          </p:cNvSpPr>
          <p:nvPr>
            <p:ph type="pic" sz="quarter" idx="24"/>
          </p:nvPr>
        </p:nvSpPr>
        <p:spPr>
          <a:xfrm>
            <a:off x="21899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9" name="Plassholder for bilde 5">
            <a:extLst>
              <a:ext uri="{FF2B5EF4-FFF2-40B4-BE49-F238E27FC236}">
                <a16:creationId xmlns:a16="http://schemas.microsoft.com/office/drawing/2014/main" id="{9280693B-B501-1E43-996D-76D51897C48D}"/>
              </a:ext>
            </a:extLst>
          </p:cNvPr>
          <p:cNvSpPr>
            <a:spLocks noGrp="1" noChangeAspect="1"/>
          </p:cNvSpPr>
          <p:nvPr>
            <p:ph type="pic" sz="quarter" idx="25"/>
          </p:nvPr>
        </p:nvSpPr>
        <p:spPr>
          <a:xfrm>
            <a:off x="3111687"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Tree>
    <p:extLst>
      <p:ext uri="{BB962C8B-B14F-4D97-AF65-F5344CB8AC3E}">
        <p14:creationId xmlns:p14="http://schemas.microsoft.com/office/powerpoint/2010/main" val="251074325"/>
      </p:ext>
    </p:extLst>
  </p:cSld>
  <p:clrMapOvr>
    <a:masterClrMapping/>
  </p:clrMapOvr>
  <p:transition spd="med" advClick="0">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x sirkel bilder + 3 x tekst">
    <p:spTree>
      <p:nvGrpSpPr>
        <p:cNvPr id="1" name=""/>
        <p:cNvGrpSpPr/>
        <p:nvPr/>
      </p:nvGrpSpPr>
      <p:grpSpPr>
        <a:xfrm>
          <a:off x="0" y="0"/>
          <a:ext cx="0" cy="0"/>
          <a:chOff x="0" y="0"/>
          <a:chExt cx="0" cy="0"/>
        </a:xfrm>
      </p:grpSpPr>
      <p:sp>
        <p:nvSpPr>
          <p:cNvPr id="11" name="Plassholder for bilde 5">
            <a:extLst>
              <a:ext uri="{FF2B5EF4-FFF2-40B4-BE49-F238E27FC236}">
                <a16:creationId xmlns:a16="http://schemas.microsoft.com/office/drawing/2014/main" id="{0F6D1C8D-4CC0-CC4E-B966-47965A0A0C94}"/>
              </a:ext>
            </a:extLst>
          </p:cNvPr>
          <p:cNvSpPr>
            <a:spLocks noGrp="1" noChangeAspect="1"/>
          </p:cNvSpPr>
          <p:nvPr>
            <p:ph type="pic" sz="quarter" idx="12"/>
          </p:nvPr>
        </p:nvSpPr>
        <p:spPr>
          <a:xfrm>
            <a:off x="1052559"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1FA9FE7D-C57E-8241-B898-58398DF22C2A}"/>
              </a:ext>
            </a:extLst>
          </p:cNvPr>
          <p:cNvSpPr>
            <a:spLocks noGrp="1" noChangeAspect="1"/>
          </p:cNvSpPr>
          <p:nvPr>
            <p:ph type="pic" sz="quarter" idx="27"/>
          </p:nvPr>
        </p:nvSpPr>
        <p:spPr>
          <a:xfrm>
            <a:off x="4598088"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0" name="Plassholder for bilde 5">
            <a:extLst>
              <a:ext uri="{FF2B5EF4-FFF2-40B4-BE49-F238E27FC236}">
                <a16:creationId xmlns:a16="http://schemas.microsoft.com/office/drawing/2014/main" id="{BD9D154E-CD5A-464D-9056-CF58AFAB2926}"/>
              </a:ext>
            </a:extLst>
          </p:cNvPr>
          <p:cNvSpPr>
            <a:spLocks noGrp="1" noChangeAspect="1"/>
          </p:cNvSpPr>
          <p:nvPr>
            <p:ph type="pic" sz="quarter" idx="28"/>
          </p:nvPr>
        </p:nvSpPr>
        <p:spPr>
          <a:xfrm>
            <a:off x="8102415"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8" name="Plassholder for bunntekst 18">
            <a:extLst>
              <a:ext uri="{FF2B5EF4-FFF2-40B4-BE49-F238E27FC236}">
                <a16:creationId xmlns:a16="http://schemas.microsoft.com/office/drawing/2014/main" id="{399D6FD6-CE76-9B44-B71F-C5D843E030D7}"/>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58CFD5D3-364A-8247-B509-D327F213A713}"/>
              </a:ext>
            </a:extLst>
          </p:cNvPr>
          <p:cNvSpPr>
            <a:spLocks noGrp="1"/>
          </p:cNvSpPr>
          <p:nvPr>
            <p:ph type="title"/>
          </p:nvPr>
        </p:nvSpPr>
        <p:spPr>
          <a:xfrm>
            <a:off x="1052557" y="644692"/>
            <a:ext cx="10080000" cy="960107"/>
          </a:xfrm>
          <a:prstGeom prst="rect">
            <a:avLst/>
          </a:prstGeom>
        </p:spPr>
        <p:txBody>
          <a:bodyPr lIns="36000" tIns="36000" rIns="36000" bIns="36000" anchor="ctr" anchorCtr="0"/>
          <a:lstStyle>
            <a:lvl1pPr algn="l">
              <a:lnSpc>
                <a:spcPct val="100000"/>
              </a:lnSpc>
              <a:defRPr sz="32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3" name="Plassholder for tekst 2">
            <a:extLst>
              <a:ext uri="{FF2B5EF4-FFF2-40B4-BE49-F238E27FC236}">
                <a16:creationId xmlns:a16="http://schemas.microsoft.com/office/drawing/2014/main" id="{C0CE99C5-8BAD-5048-9B1D-20BF795263CB}"/>
              </a:ext>
            </a:extLst>
          </p:cNvPr>
          <p:cNvSpPr>
            <a:spLocks noGrp="1"/>
          </p:cNvSpPr>
          <p:nvPr>
            <p:ph type="body" sz="quarter" idx="31" hasCustomPrompt="1"/>
          </p:nvPr>
        </p:nvSpPr>
        <p:spPr>
          <a:xfrm>
            <a:off x="1103447"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19" name="Plassholder for tekst 2">
            <a:extLst>
              <a:ext uri="{FF2B5EF4-FFF2-40B4-BE49-F238E27FC236}">
                <a16:creationId xmlns:a16="http://schemas.microsoft.com/office/drawing/2014/main" id="{0A17C126-082E-3F4B-A9EF-9BB3C5499F3C}"/>
              </a:ext>
            </a:extLst>
          </p:cNvPr>
          <p:cNvSpPr>
            <a:spLocks noGrp="1"/>
          </p:cNvSpPr>
          <p:nvPr>
            <p:ph type="body" sz="quarter" idx="32" hasCustomPrompt="1"/>
          </p:nvPr>
        </p:nvSpPr>
        <p:spPr>
          <a:xfrm>
            <a:off x="4648976"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21" name="Plassholder for tekst 2">
            <a:extLst>
              <a:ext uri="{FF2B5EF4-FFF2-40B4-BE49-F238E27FC236}">
                <a16:creationId xmlns:a16="http://schemas.microsoft.com/office/drawing/2014/main" id="{1461AF3D-3D59-7244-AA25-DE98E451D7B6}"/>
              </a:ext>
            </a:extLst>
          </p:cNvPr>
          <p:cNvSpPr>
            <a:spLocks noGrp="1"/>
          </p:cNvSpPr>
          <p:nvPr>
            <p:ph type="body" sz="quarter" idx="33" hasCustomPrompt="1"/>
          </p:nvPr>
        </p:nvSpPr>
        <p:spPr>
          <a:xfrm>
            <a:off x="8195080"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10" name="TekstSylinder 9">
            <a:extLst>
              <a:ext uri="{FF2B5EF4-FFF2-40B4-BE49-F238E27FC236}">
                <a16:creationId xmlns:a16="http://schemas.microsoft.com/office/drawing/2014/main" id="{65D06CDA-71FA-2744-8941-CA9B12D5E7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875746295"/>
      </p:ext>
    </p:extLst>
  </p:cSld>
  <p:clrMapOvr>
    <a:masterClrMapping/>
  </p:clrMapOvr>
  <p:transition spd="med" advClick="0">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x sirkel bilder og 3 x sirkel tekst">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7D6CDF7F-01CD-2141-9399-677687F79997}"/>
              </a:ext>
            </a:extLst>
          </p:cNvPr>
          <p:cNvSpPr>
            <a:spLocks noGrp="1" noChangeAspect="1"/>
          </p:cNvSpPr>
          <p:nvPr>
            <p:ph type="body" sz="quarter" idx="23" hasCustomPrompt="1"/>
          </p:nvPr>
        </p:nvSpPr>
        <p:spPr>
          <a:xfrm>
            <a:off x="4720927"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None/>
              <a:defRPr sz="2133">
                <a:solidFill>
                  <a:schemeClr val="tx1"/>
                </a:solidFill>
              </a:defRPr>
            </a:lvl1pPr>
          </a:lstStyle>
          <a:p>
            <a:pPr lvl="0"/>
            <a:r>
              <a:rPr lang="nb-NO"/>
              <a:t>Tekst</a:t>
            </a:r>
          </a:p>
        </p:txBody>
      </p:sp>
      <p:sp>
        <p:nvSpPr>
          <p:cNvPr id="13" name="Plassholder for tekst 3">
            <a:extLst>
              <a:ext uri="{FF2B5EF4-FFF2-40B4-BE49-F238E27FC236}">
                <a16:creationId xmlns:a16="http://schemas.microsoft.com/office/drawing/2014/main" id="{E0F0E79E-77AF-DB48-8737-043F17978DB8}"/>
              </a:ext>
            </a:extLst>
          </p:cNvPr>
          <p:cNvSpPr>
            <a:spLocks noGrp="1" noChangeAspect="1"/>
          </p:cNvSpPr>
          <p:nvPr>
            <p:ph type="body" sz="quarter" idx="24" hasCustomPrompt="1"/>
          </p:nvPr>
        </p:nvSpPr>
        <p:spPr>
          <a:xfrm>
            <a:off x="695644"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Font typeface="Arial" panose="020B0604020202020204" pitchFamily="34" charset="0"/>
              <a:buNone/>
              <a:defRPr sz="2133">
                <a:solidFill>
                  <a:schemeClr val="tx1"/>
                </a:solidFill>
              </a:defRPr>
            </a:lvl1pPr>
          </a:lstStyle>
          <a:p>
            <a:pPr lvl="0"/>
            <a:r>
              <a:rPr lang="nb-NO"/>
              <a:t>Tekst</a:t>
            </a:r>
          </a:p>
        </p:txBody>
      </p:sp>
      <p:sp>
        <p:nvSpPr>
          <p:cNvPr id="15" name="Plassholder for tekst 3">
            <a:extLst>
              <a:ext uri="{FF2B5EF4-FFF2-40B4-BE49-F238E27FC236}">
                <a16:creationId xmlns:a16="http://schemas.microsoft.com/office/drawing/2014/main" id="{4C3F6C3F-C34E-9D46-A8D0-27350909F6F7}"/>
              </a:ext>
            </a:extLst>
          </p:cNvPr>
          <p:cNvSpPr>
            <a:spLocks noGrp="1" noChangeAspect="1"/>
          </p:cNvSpPr>
          <p:nvPr>
            <p:ph type="body" sz="quarter" idx="26" hasCustomPrompt="1"/>
          </p:nvPr>
        </p:nvSpPr>
        <p:spPr>
          <a:xfrm>
            <a:off x="8880311"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None/>
              <a:defRPr sz="2133">
                <a:solidFill>
                  <a:schemeClr val="tx1"/>
                </a:solidFill>
              </a:defRPr>
            </a:lvl1pPr>
          </a:lstStyle>
          <a:p>
            <a:pPr lvl="0"/>
            <a:r>
              <a:rPr lang="nb-NO"/>
              <a:t>Tekst</a:t>
            </a:r>
          </a:p>
        </p:txBody>
      </p:sp>
      <p:sp>
        <p:nvSpPr>
          <p:cNvPr id="10" name="Tittel 8">
            <a:extLst>
              <a:ext uri="{FF2B5EF4-FFF2-40B4-BE49-F238E27FC236}">
                <a16:creationId xmlns:a16="http://schemas.microsoft.com/office/drawing/2014/main" id="{BC4F5221-A3FD-5244-B4F6-BEDA4EA5348A}"/>
              </a:ext>
            </a:extLst>
          </p:cNvPr>
          <p:cNvSpPr>
            <a:spLocks noGrp="1"/>
          </p:cNvSpPr>
          <p:nvPr>
            <p:ph type="title"/>
          </p:nvPr>
        </p:nvSpPr>
        <p:spPr>
          <a:xfrm>
            <a:off x="1103447" y="2948301"/>
            <a:ext cx="10113087" cy="720000"/>
          </a:xfrm>
          <a:prstGeom prst="rect">
            <a:avLst/>
          </a:prstGeom>
        </p:spPr>
        <p:txBody>
          <a:bodyPr lIns="36000" tIns="36000" rIns="36000" bIns="36000" anchor="ctr" anchorCtr="0"/>
          <a:lstStyle>
            <a:lvl1pPr algn="ctr">
              <a:defRPr sz="2667">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11" name="Plassholder for bilde 5">
            <a:extLst>
              <a:ext uri="{FF2B5EF4-FFF2-40B4-BE49-F238E27FC236}">
                <a16:creationId xmlns:a16="http://schemas.microsoft.com/office/drawing/2014/main" id="{0F6D1C8D-4CC0-CC4E-B966-47965A0A0C94}"/>
              </a:ext>
            </a:extLst>
          </p:cNvPr>
          <p:cNvSpPr>
            <a:spLocks noGrp="1" noChangeAspect="1"/>
          </p:cNvSpPr>
          <p:nvPr>
            <p:ph type="pic" sz="quarter" idx="12"/>
          </p:nvPr>
        </p:nvSpPr>
        <p:spPr>
          <a:xfrm>
            <a:off x="695644"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1FA9FE7D-C57E-8241-B898-58398DF22C2A}"/>
              </a:ext>
            </a:extLst>
          </p:cNvPr>
          <p:cNvSpPr>
            <a:spLocks noGrp="1" noChangeAspect="1"/>
          </p:cNvSpPr>
          <p:nvPr>
            <p:ph type="pic" sz="quarter" idx="27"/>
          </p:nvPr>
        </p:nvSpPr>
        <p:spPr>
          <a:xfrm>
            <a:off x="4720927"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0" name="Plassholder for bilde 5">
            <a:extLst>
              <a:ext uri="{FF2B5EF4-FFF2-40B4-BE49-F238E27FC236}">
                <a16:creationId xmlns:a16="http://schemas.microsoft.com/office/drawing/2014/main" id="{BD9D154E-CD5A-464D-9056-CF58AFAB2926}"/>
              </a:ext>
            </a:extLst>
          </p:cNvPr>
          <p:cNvSpPr>
            <a:spLocks noGrp="1" noChangeAspect="1"/>
          </p:cNvSpPr>
          <p:nvPr>
            <p:ph type="pic" sz="quarter" idx="28"/>
          </p:nvPr>
        </p:nvSpPr>
        <p:spPr>
          <a:xfrm>
            <a:off x="8884608"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8" name="Plassholder for bunntekst 18">
            <a:extLst>
              <a:ext uri="{FF2B5EF4-FFF2-40B4-BE49-F238E27FC236}">
                <a16:creationId xmlns:a16="http://schemas.microsoft.com/office/drawing/2014/main" id="{399D6FD6-CE76-9B44-B71F-C5D843E030D7}"/>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ekstSylinder 13">
            <a:extLst>
              <a:ext uri="{FF2B5EF4-FFF2-40B4-BE49-F238E27FC236}">
                <a16:creationId xmlns:a16="http://schemas.microsoft.com/office/drawing/2014/main" id="{62045557-10A3-E44C-92FD-F255B9DC937F}"/>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432135905"/>
      </p:ext>
    </p:extLst>
  </p:cSld>
  <p:clrMapOvr>
    <a:masterClrMapping/>
  </p:clrMapOvr>
  <p:transition spd="med" advClick="0">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lde inn i skjerm">
    <p:spTree>
      <p:nvGrpSpPr>
        <p:cNvPr id="1" name=""/>
        <p:cNvGrpSpPr/>
        <p:nvPr/>
      </p:nvGrpSpPr>
      <p:grpSpPr>
        <a:xfrm>
          <a:off x="0" y="0"/>
          <a:ext cx="0" cy="0"/>
          <a:chOff x="0" y="0"/>
          <a:chExt cx="0" cy="0"/>
        </a:xfrm>
      </p:grpSpPr>
      <p:pic>
        <p:nvPicPr>
          <p:cNvPr id="8" name="Plassholder for innhold 3">
            <a:extLst>
              <a:ext uri="{FF2B5EF4-FFF2-40B4-BE49-F238E27FC236}">
                <a16:creationId xmlns:a16="http://schemas.microsoft.com/office/drawing/2014/main" id="{E72B63BC-3552-614C-982C-1BFFFE6EC6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
          <a:stretch/>
        </p:blipFill>
        <p:spPr bwMode="auto">
          <a:xfrm>
            <a:off x="815415" y="552224"/>
            <a:ext cx="10160455" cy="57616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9" name="Plassholder for bilde 5">
            <a:extLst>
              <a:ext uri="{FF2B5EF4-FFF2-40B4-BE49-F238E27FC236}">
                <a16:creationId xmlns:a16="http://schemas.microsoft.com/office/drawing/2014/main" id="{0D899A3A-6F91-AF4A-9188-2F3230BE646E}"/>
              </a:ext>
            </a:extLst>
          </p:cNvPr>
          <p:cNvSpPr>
            <a:spLocks noGrp="1"/>
          </p:cNvSpPr>
          <p:nvPr>
            <p:ph type="pic" sz="quarter" idx="12" hasCustomPrompt="1"/>
          </p:nvPr>
        </p:nvSpPr>
        <p:spPr>
          <a:xfrm>
            <a:off x="1800331" y="822888"/>
            <a:ext cx="8258024" cy="4928705"/>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
        <p:nvSpPr>
          <p:cNvPr id="5" name="Plassholder for bunntekst 18">
            <a:extLst>
              <a:ext uri="{FF2B5EF4-FFF2-40B4-BE49-F238E27FC236}">
                <a16:creationId xmlns:a16="http://schemas.microsoft.com/office/drawing/2014/main" id="{EB0F7208-EB59-8446-B9E4-826193235C50}"/>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6" name="TekstSylinder 5">
            <a:extLst>
              <a:ext uri="{FF2B5EF4-FFF2-40B4-BE49-F238E27FC236}">
                <a16:creationId xmlns:a16="http://schemas.microsoft.com/office/drawing/2014/main" id="{4F12B9E2-03D8-C44D-AACA-910530FA1E32}"/>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767619708"/>
      </p:ext>
    </p:extLst>
  </p:cSld>
  <p:clrMapOvr>
    <a:masterClrMapping/>
  </p:clrMapOvr>
  <p:transition spd="med" advClick="0">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5" name="Plassholder for media 4"/>
          <p:cNvSpPr>
            <a:spLocks noGrp="1"/>
          </p:cNvSpPr>
          <p:nvPr>
            <p:ph type="media" sz="quarter" idx="10"/>
          </p:nvPr>
        </p:nvSpPr>
        <p:spPr>
          <a:xfrm>
            <a:off x="0" y="0"/>
            <a:ext cx="12192000" cy="6858000"/>
          </a:xfrm>
        </p:spPr>
        <p:txBody>
          <a:bodyPr/>
          <a:lstStyle>
            <a:lvl1pPr marL="510093" indent="-510093">
              <a:buClr>
                <a:schemeClr val="accent3"/>
              </a:buClr>
              <a:buFont typeface="Arial" panose="020B0604020202020204" pitchFamily="34" charset="0"/>
              <a:buChar char="•"/>
              <a:defRPr/>
            </a:lvl1pPr>
          </a:lstStyle>
          <a:p>
            <a:r>
              <a:rPr lang="nb-NO"/>
              <a:t>Klikk ikonet for å legge til media</a:t>
            </a:r>
          </a:p>
        </p:txBody>
      </p:sp>
    </p:spTree>
    <p:extLst>
      <p:ext uri="{BB962C8B-B14F-4D97-AF65-F5344CB8AC3E}">
        <p14:creationId xmlns:p14="http://schemas.microsoft.com/office/powerpoint/2010/main" val="741589407"/>
      </p:ext>
    </p:extLst>
  </p:cSld>
  <p:clrMapOvr>
    <a:masterClrMapping/>
  </p:clrMapOvr>
  <p:transition spd="med" advClick="0">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3920033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Forside hvit stripe">
    <p:spTree>
      <p:nvGrpSpPr>
        <p:cNvPr id="1" name=""/>
        <p:cNvGrpSpPr/>
        <p:nvPr/>
      </p:nvGrpSpPr>
      <p:grpSpPr>
        <a:xfrm>
          <a:off x="0" y="0"/>
          <a:ext cx="0" cy="0"/>
          <a:chOff x="0" y="0"/>
          <a:chExt cx="0" cy="0"/>
        </a:xfrm>
      </p:grpSpPr>
      <p:sp>
        <p:nvSpPr>
          <p:cNvPr id="3" name="Rektangel 2"/>
          <p:cNvSpPr/>
          <p:nvPr userDrawn="1"/>
        </p:nvSpPr>
        <p:spPr bwMode="auto">
          <a:xfrm rot="16200000">
            <a:off x="4319810" y="-1562877"/>
            <a:ext cx="3552396" cy="12191999"/>
          </a:xfrm>
          <a:prstGeom prst="rect">
            <a:avLst/>
          </a:prstGeom>
          <a:no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sp>
        <p:nvSpPr>
          <p:cNvPr id="21" name="Rektangel 20">
            <a:extLst>
              <a:ext uri="{FF2B5EF4-FFF2-40B4-BE49-F238E27FC236}">
                <a16:creationId xmlns:a16="http://schemas.microsoft.com/office/drawing/2014/main" id="{40EF47FD-95FF-1947-9C6E-818066C4C499}"/>
              </a:ext>
            </a:extLst>
          </p:cNvPr>
          <p:cNvSpPr/>
          <p:nvPr userDrawn="1"/>
        </p:nvSpPr>
        <p:spPr bwMode="auto">
          <a:xfrm>
            <a:off x="0" y="12821"/>
            <a:ext cx="12192000" cy="6858000"/>
          </a:xfrm>
          <a:prstGeom prst="rect">
            <a:avLst/>
          </a:prstGeom>
          <a:solidFill>
            <a:schemeClr val="accent2"/>
          </a:solid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grpSp>
        <p:nvGrpSpPr>
          <p:cNvPr id="14" name="Gruppe 13">
            <a:extLst>
              <a:ext uri="{FF2B5EF4-FFF2-40B4-BE49-F238E27FC236}">
                <a16:creationId xmlns:a16="http://schemas.microsoft.com/office/drawing/2014/main" id="{643FA7E6-B73E-5941-B864-6A988E000ECD}"/>
              </a:ext>
            </a:extLst>
          </p:cNvPr>
          <p:cNvGrpSpPr/>
          <p:nvPr userDrawn="1"/>
        </p:nvGrpSpPr>
        <p:grpSpPr>
          <a:xfrm>
            <a:off x="5060270" y="2468895"/>
            <a:ext cx="1995839" cy="1255701"/>
            <a:chOff x="3745440" y="2967119"/>
            <a:chExt cx="2725919" cy="1715039"/>
          </a:xfrm>
        </p:grpSpPr>
        <p:sp>
          <p:nvSpPr>
            <p:cNvPr id="15" name="Friform 14">
              <a:extLst>
                <a:ext uri="{FF2B5EF4-FFF2-40B4-BE49-F238E27FC236}">
                  <a16:creationId xmlns:a16="http://schemas.microsoft.com/office/drawing/2014/main" id="{8E599B73-B799-1241-A11B-58C52CD2C851}"/>
                </a:ext>
              </a:extLst>
            </p:cNvPr>
            <p:cNvSpPr/>
            <p:nvPr/>
          </p:nvSpPr>
          <p:spPr>
            <a:xfrm>
              <a:off x="3745440" y="3765600"/>
              <a:ext cx="344160" cy="434519"/>
            </a:xfrm>
            <a:custGeom>
              <a:avLst/>
              <a:gdLst/>
              <a:ahLst/>
              <a:cxnLst>
                <a:cxn ang="3cd4">
                  <a:pos x="hc" y="t"/>
                </a:cxn>
                <a:cxn ang="cd2">
                  <a:pos x="l" y="vc"/>
                </a:cxn>
                <a:cxn ang="cd4">
                  <a:pos x="hc" y="b"/>
                </a:cxn>
                <a:cxn ang="0">
                  <a:pos x="r" y="vc"/>
                </a:cxn>
              </a:cxnLst>
              <a:rect l="l" t="t" r="r" b="b"/>
              <a:pathLst>
                <a:path w="957" h="1208">
                  <a:moveTo>
                    <a:pt x="0" y="1208"/>
                  </a:moveTo>
                  <a:cubicBezTo>
                    <a:pt x="163" y="805"/>
                    <a:pt x="325" y="403"/>
                    <a:pt x="488" y="0"/>
                  </a:cubicBezTo>
                  <a:cubicBezTo>
                    <a:pt x="644" y="0"/>
                    <a:pt x="801" y="0"/>
                    <a:pt x="957" y="0"/>
                  </a:cubicBezTo>
                  <a:cubicBezTo>
                    <a:pt x="794" y="403"/>
                    <a:pt x="631" y="805"/>
                    <a:pt x="468" y="1208"/>
                  </a:cubicBezTo>
                  <a:cubicBezTo>
                    <a:pt x="312" y="1208"/>
                    <a:pt x="156"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6" name="Friform 15">
              <a:extLst>
                <a:ext uri="{FF2B5EF4-FFF2-40B4-BE49-F238E27FC236}">
                  <a16:creationId xmlns:a16="http://schemas.microsoft.com/office/drawing/2014/main" id="{0F2F0530-FC39-9241-9558-9B0FEA8DB26D}"/>
                </a:ext>
              </a:extLst>
            </p:cNvPr>
            <p:cNvSpPr/>
            <p:nvPr/>
          </p:nvSpPr>
          <p:spPr>
            <a:xfrm>
              <a:off x="5909040" y="3765600"/>
              <a:ext cx="264600" cy="434519"/>
            </a:xfrm>
            <a:custGeom>
              <a:avLst/>
              <a:gdLst/>
              <a:ahLst/>
              <a:cxnLst>
                <a:cxn ang="3cd4">
                  <a:pos x="hc" y="t"/>
                </a:cxn>
                <a:cxn ang="cd2">
                  <a:pos x="l" y="vc"/>
                </a:cxn>
                <a:cxn ang="cd4">
                  <a:pos x="hc" y="b"/>
                </a:cxn>
                <a:cxn ang="0">
                  <a:pos x="r" y="vc"/>
                </a:cxn>
              </a:cxnLst>
              <a:rect l="l" t="t" r="r" b="b"/>
              <a:pathLst>
                <a:path w="736" h="1208">
                  <a:moveTo>
                    <a:pt x="0" y="1208"/>
                  </a:moveTo>
                  <a:cubicBezTo>
                    <a:pt x="161" y="805"/>
                    <a:pt x="321" y="403"/>
                    <a:pt x="482" y="0"/>
                  </a:cubicBezTo>
                  <a:cubicBezTo>
                    <a:pt x="567" y="0"/>
                    <a:pt x="651" y="0"/>
                    <a:pt x="736" y="0"/>
                  </a:cubicBezTo>
                  <a:cubicBezTo>
                    <a:pt x="576" y="403"/>
                    <a:pt x="416" y="805"/>
                    <a:pt x="256" y="1208"/>
                  </a:cubicBezTo>
                  <a:cubicBezTo>
                    <a:pt x="171" y="1208"/>
                    <a:pt x="8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7" name="Friform 16">
              <a:extLst>
                <a:ext uri="{FF2B5EF4-FFF2-40B4-BE49-F238E27FC236}">
                  <a16:creationId xmlns:a16="http://schemas.microsoft.com/office/drawing/2014/main" id="{FFD00367-08DD-7945-93C8-94C84DC96D31}"/>
                </a:ext>
              </a:extLst>
            </p:cNvPr>
            <p:cNvSpPr/>
            <p:nvPr/>
          </p:nvSpPr>
          <p:spPr>
            <a:xfrm>
              <a:off x="6250319" y="3765600"/>
              <a:ext cx="221040" cy="434519"/>
            </a:xfrm>
            <a:custGeom>
              <a:avLst/>
              <a:gdLst/>
              <a:ahLst/>
              <a:cxnLst>
                <a:cxn ang="3cd4">
                  <a:pos x="hc" y="t"/>
                </a:cxn>
                <a:cxn ang="cd2">
                  <a:pos x="l" y="vc"/>
                </a:cxn>
                <a:cxn ang="cd4">
                  <a:pos x="hc" y="b"/>
                </a:cxn>
                <a:cxn ang="0">
                  <a:pos x="r" y="vc"/>
                </a:cxn>
              </a:cxnLst>
              <a:rect l="l" t="t" r="r" b="b"/>
              <a:pathLst>
                <a:path w="615" h="1208">
                  <a:moveTo>
                    <a:pt x="0" y="1208"/>
                  </a:moveTo>
                  <a:cubicBezTo>
                    <a:pt x="160" y="805"/>
                    <a:pt x="320" y="403"/>
                    <a:pt x="480" y="0"/>
                  </a:cubicBezTo>
                  <a:cubicBezTo>
                    <a:pt x="525" y="0"/>
                    <a:pt x="570" y="0"/>
                    <a:pt x="615" y="0"/>
                  </a:cubicBezTo>
                  <a:cubicBezTo>
                    <a:pt x="455" y="403"/>
                    <a:pt x="295" y="805"/>
                    <a:pt x="135" y="1208"/>
                  </a:cubicBezTo>
                  <a:cubicBezTo>
                    <a:pt x="90" y="1208"/>
                    <a:pt x="4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8" name="Friform 17">
              <a:extLst>
                <a:ext uri="{FF2B5EF4-FFF2-40B4-BE49-F238E27FC236}">
                  <a16:creationId xmlns:a16="http://schemas.microsoft.com/office/drawing/2014/main" id="{2C634F8B-039C-AB46-AE6C-2652BBAF5863}"/>
                </a:ext>
              </a:extLst>
            </p:cNvPr>
            <p:cNvSpPr/>
            <p:nvPr/>
          </p:nvSpPr>
          <p:spPr>
            <a:xfrm>
              <a:off x="4943159" y="3915720"/>
              <a:ext cx="151920" cy="127440"/>
            </a:xfrm>
            <a:custGeom>
              <a:avLst/>
              <a:gdLst/>
              <a:ahLst/>
              <a:cxnLst>
                <a:cxn ang="3cd4">
                  <a:pos x="hc" y="t"/>
                </a:cxn>
                <a:cxn ang="cd2">
                  <a:pos x="l" y="vc"/>
                </a:cxn>
                <a:cxn ang="cd4">
                  <a:pos x="hc" y="b"/>
                </a:cxn>
                <a:cxn ang="0">
                  <a:pos x="r" y="vc"/>
                </a:cxn>
              </a:cxnLst>
              <a:rect l="l" t="t" r="r" b="b"/>
              <a:pathLst>
                <a:path w="423" h="355">
                  <a:moveTo>
                    <a:pt x="246" y="0"/>
                  </a:moveTo>
                  <a:cubicBezTo>
                    <a:pt x="344" y="0"/>
                    <a:pt x="423" y="79"/>
                    <a:pt x="423" y="177"/>
                  </a:cubicBezTo>
                  <a:cubicBezTo>
                    <a:pt x="423" y="236"/>
                    <a:pt x="423" y="296"/>
                    <a:pt x="423" y="355"/>
                  </a:cubicBezTo>
                  <a:cubicBezTo>
                    <a:pt x="341" y="355"/>
                    <a:pt x="260" y="355"/>
                    <a:pt x="178" y="355"/>
                  </a:cubicBezTo>
                  <a:cubicBezTo>
                    <a:pt x="79" y="355"/>
                    <a:pt x="0" y="275"/>
                    <a:pt x="0" y="177"/>
                  </a:cubicBezTo>
                  <a:cubicBezTo>
                    <a:pt x="0" y="78"/>
                    <a:pt x="79" y="0"/>
                    <a:pt x="178" y="0"/>
                  </a:cubicBezTo>
                  <a:cubicBezTo>
                    <a:pt x="201" y="0"/>
                    <a:pt x="223" y="0"/>
                    <a:pt x="246" y="0"/>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22" name="Friform 21">
              <a:extLst>
                <a:ext uri="{FF2B5EF4-FFF2-40B4-BE49-F238E27FC236}">
                  <a16:creationId xmlns:a16="http://schemas.microsoft.com/office/drawing/2014/main" id="{B70E4205-1F79-914C-8CA0-0332C4388C2F}"/>
                </a:ext>
              </a:extLst>
            </p:cNvPr>
            <p:cNvSpPr/>
            <p:nvPr/>
          </p:nvSpPr>
          <p:spPr>
            <a:xfrm>
              <a:off x="4159800" y="2967119"/>
              <a:ext cx="1716119" cy="1715039"/>
            </a:xfrm>
            <a:custGeom>
              <a:avLst/>
              <a:gdLst/>
              <a:ahLst/>
              <a:cxnLst>
                <a:cxn ang="3cd4">
                  <a:pos x="hc" y="t"/>
                </a:cxn>
                <a:cxn ang="cd2">
                  <a:pos x="l" y="vc"/>
                </a:cxn>
                <a:cxn ang="cd4">
                  <a:pos x="hc" y="b"/>
                </a:cxn>
                <a:cxn ang="0">
                  <a:pos x="r" y="vc"/>
                </a:cxn>
              </a:cxnLst>
              <a:rect l="l" t="t" r="r" b="b"/>
              <a:pathLst>
                <a:path w="4768" h="4765">
                  <a:moveTo>
                    <a:pt x="2270" y="4765"/>
                  </a:moveTo>
                  <a:cubicBezTo>
                    <a:pt x="1006" y="4706"/>
                    <a:pt x="0" y="3660"/>
                    <a:pt x="0" y="2383"/>
                  </a:cubicBezTo>
                  <a:cubicBezTo>
                    <a:pt x="0" y="1067"/>
                    <a:pt x="1070" y="0"/>
                    <a:pt x="2385" y="0"/>
                  </a:cubicBezTo>
                  <a:cubicBezTo>
                    <a:pt x="3703" y="0"/>
                    <a:pt x="4768" y="1066"/>
                    <a:pt x="4768" y="2383"/>
                  </a:cubicBezTo>
                  <a:cubicBezTo>
                    <a:pt x="4768" y="3662"/>
                    <a:pt x="3764" y="4706"/>
                    <a:pt x="2499" y="4765"/>
                  </a:cubicBezTo>
                  <a:cubicBezTo>
                    <a:pt x="2423" y="4765"/>
                    <a:pt x="2347" y="4765"/>
                    <a:pt x="2270" y="4765"/>
                  </a:cubicBezTo>
                  <a:close/>
                  <a:moveTo>
                    <a:pt x="3992" y="3382"/>
                  </a:moveTo>
                  <a:cubicBezTo>
                    <a:pt x="4145" y="3008"/>
                    <a:pt x="4297" y="2634"/>
                    <a:pt x="4449" y="2260"/>
                  </a:cubicBezTo>
                  <a:cubicBezTo>
                    <a:pt x="4464" y="2221"/>
                    <a:pt x="4429" y="2234"/>
                    <a:pt x="4418" y="2221"/>
                  </a:cubicBezTo>
                  <a:cubicBezTo>
                    <a:pt x="4277" y="2221"/>
                    <a:pt x="4136" y="2221"/>
                    <a:pt x="3995" y="2221"/>
                  </a:cubicBezTo>
                  <a:cubicBezTo>
                    <a:pt x="3982" y="2229"/>
                    <a:pt x="3967" y="2221"/>
                    <a:pt x="3956" y="2246"/>
                  </a:cubicBezTo>
                  <a:cubicBezTo>
                    <a:pt x="3878" y="2484"/>
                    <a:pt x="3800" y="2723"/>
                    <a:pt x="3722" y="2962"/>
                  </a:cubicBezTo>
                  <a:cubicBezTo>
                    <a:pt x="3644" y="2723"/>
                    <a:pt x="3566" y="2484"/>
                    <a:pt x="3488" y="2246"/>
                  </a:cubicBezTo>
                  <a:cubicBezTo>
                    <a:pt x="3477" y="2221"/>
                    <a:pt x="3462" y="2229"/>
                    <a:pt x="3449" y="2221"/>
                  </a:cubicBezTo>
                  <a:cubicBezTo>
                    <a:pt x="3177" y="2221"/>
                    <a:pt x="2905" y="2221"/>
                    <a:pt x="2633" y="2221"/>
                  </a:cubicBezTo>
                  <a:cubicBezTo>
                    <a:pt x="2616" y="2221"/>
                    <a:pt x="2602" y="2235"/>
                    <a:pt x="2602" y="2252"/>
                  </a:cubicBezTo>
                  <a:cubicBezTo>
                    <a:pt x="2602" y="2332"/>
                    <a:pt x="2602" y="2413"/>
                    <a:pt x="2602" y="2493"/>
                  </a:cubicBezTo>
                  <a:cubicBezTo>
                    <a:pt x="2602" y="2300"/>
                    <a:pt x="2396" y="2218"/>
                    <a:pt x="2275" y="2218"/>
                  </a:cubicBezTo>
                  <a:cubicBezTo>
                    <a:pt x="2004" y="2218"/>
                    <a:pt x="1823" y="2395"/>
                    <a:pt x="1767" y="2666"/>
                  </a:cubicBezTo>
                  <a:cubicBezTo>
                    <a:pt x="1764" y="2485"/>
                    <a:pt x="1750" y="2420"/>
                    <a:pt x="1702" y="2356"/>
                  </a:cubicBezTo>
                  <a:cubicBezTo>
                    <a:pt x="1679" y="2325"/>
                    <a:pt x="1646" y="2297"/>
                    <a:pt x="1612" y="2274"/>
                  </a:cubicBezTo>
                  <a:cubicBezTo>
                    <a:pt x="1541" y="2232"/>
                    <a:pt x="1476" y="2218"/>
                    <a:pt x="1338" y="2218"/>
                  </a:cubicBezTo>
                  <a:cubicBezTo>
                    <a:pt x="1283" y="2218"/>
                    <a:pt x="1229" y="2218"/>
                    <a:pt x="1174" y="2218"/>
                  </a:cubicBezTo>
                  <a:cubicBezTo>
                    <a:pt x="1161" y="2226"/>
                    <a:pt x="1146" y="2218"/>
                    <a:pt x="1135" y="2243"/>
                  </a:cubicBezTo>
                  <a:cubicBezTo>
                    <a:pt x="1085" y="2365"/>
                    <a:pt x="1035" y="2487"/>
                    <a:pt x="985" y="2609"/>
                  </a:cubicBezTo>
                  <a:cubicBezTo>
                    <a:pt x="985" y="2489"/>
                    <a:pt x="985" y="2369"/>
                    <a:pt x="985" y="2249"/>
                  </a:cubicBezTo>
                  <a:cubicBezTo>
                    <a:pt x="985" y="2232"/>
                    <a:pt x="971" y="2218"/>
                    <a:pt x="954" y="2218"/>
                  </a:cubicBezTo>
                  <a:cubicBezTo>
                    <a:pt x="828" y="2218"/>
                    <a:pt x="702" y="2218"/>
                    <a:pt x="576" y="2218"/>
                  </a:cubicBezTo>
                  <a:cubicBezTo>
                    <a:pt x="563" y="2226"/>
                    <a:pt x="548" y="2218"/>
                    <a:pt x="537" y="2243"/>
                  </a:cubicBezTo>
                  <a:cubicBezTo>
                    <a:pt x="485" y="2370"/>
                    <a:pt x="433" y="2496"/>
                    <a:pt x="381" y="2623"/>
                  </a:cubicBezTo>
                  <a:cubicBezTo>
                    <a:pt x="388" y="2637"/>
                    <a:pt x="367" y="2663"/>
                    <a:pt x="401" y="2663"/>
                  </a:cubicBezTo>
                  <a:cubicBezTo>
                    <a:pt x="450" y="2663"/>
                    <a:pt x="499" y="2663"/>
                    <a:pt x="548" y="2663"/>
                  </a:cubicBezTo>
                  <a:cubicBezTo>
                    <a:pt x="548" y="2907"/>
                    <a:pt x="548" y="3151"/>
                    <a:pt x="548" y="3394"/>
                  </a:cubicBezTo>
                  <a:cubicBezTo>
                    <a:pt x="548" y="3411"/>
                    <a:pt x="562" y="3425"/>
                    <a:pt x="579" y="3425"/>
                  </a:cubicBezTo>
                  <a:cubicBezTo>
                    <a:pt x="704" y="3425"/>
                    <a:pt x="829" y="3425"/>
                    <a:pt x="954" y="3425"/>
                  </a:cubicBezTo>
                  <a:cubicBezTo>
                    <a:pt x="971" y="3425"/>
                    <a:pt x="985" y="3411"/>
                    <a:pt x="985" y="3394"/>
                  </a:cubicBezTo>
                  <a:cubicBezTo>
                    <a:pt x="985" y="3152"/>
                    <a:pt x="985" y="2909"/>
                    <a:pt x="985" y="2666"/>
                  </a:cubicBezTo>
                  <a:cubicBezTo>
                    <a:pt x="1034" y="2666"/>
                    <a:pt x="1083" y="2666"/>
                    <a:pt x="1132" y="2666"/>
                  </a:cubicBezTo>
                  <a:cubicBezTo>
                    <a:pt x="1214" y="2666"/>
                    <a:pt x="1231" y="2668"/>
                    <a:pt x="1265" y="2683"/>
                  </a:cubicBezTo>
                  <a:cubicBezTo>
                    <a:pt x="1284" y="2691"/>
                    <a:pt x="1304" y="2705"/>
                    <a:pt x="1313" y="2722"/>
                  </a:cubicBezTo>
                  <a:cubicBezTo>
                    <a:pt x="1332" y="2759"/>
                    <a:pt x="1338" y="2801"/>
                    <a:pt x="1338" y="2934"/>
                  </a:cubicBezTo>
                  <a:cubicBezTo>
                    <a:pt x="1338" y="3088"/>
                    <a:pt x="1338" y="3241"/>
                    <a:pt x="1338" y="3394"/>
                  </a:cubicBezTo>
                  <a:cubicBezTo>
                    <a:pt x="1338" y="3411"/>
                    <a:pt x="1352" y="3425"/>
                    <a:pt x="1369" y="3425"/>
                  </a:cubicBezTo>
                  <a:cubicBezTo>
                    <a:pt x="1489" y="3425"/>
                    <a:pt x="1609" y="3425"/>
                    <a:pt x="1730" y="3425"/>
                  </a:cubicBezTo>
                  <a:cubicBezTo>
                    <a:pt x="1749" y="3412"/>
                    <a:pt x="1770" y="3425"/>
                    <a:pt x="1787" y="3385"/>
                  </a:cubicBezTo>
                  <a:cubicBezTo>
                    <a:pt x="1813" y="3320"/>
                    <a:pt x="1839" y="3254"/>
                    <a:pt x="1866" y="3188"/>
                  </a:cubicBezTo>
                  <a:cubicBezTo>
                    <a:pt x="1970" y="3337"/>
                    <a:pt x="2145" y="3425"/>
                    <a:pt x="2359" y="3425"/>
                  </a:cubicBezTo>
                  <a:cubicBezTo>
                    <a:pt x="2375" y="3425"/>
                    <a:pt x="2391" y="3425"/>
                    <a:pt x="2407" y="3425"/>
                  </a:cubicBezTo>
                  <a:cubicBezTo>
                    <a:pt x="2426" y="3412"/>
                    <a:pt x="2447" y="3425"/>
                    <a:pt x="2464" y="3385"/>
                  </a:cubicBezTo>
                  <a:cubicBezTo>
                    <a:pt x="2510" y="3272"/>
                    <a:pt x="2556" y="3158"/>
                    <a:pt x="2602" y="3044"/>
                  </a:cubicBezTo>
                  <a:cubicBezTo>
                    <a:pt x="2602" y="3161"/>
                    <a:pt x="2602" y="3278"/>
                    <a:pt x="2602" y="3394"/>
                  </a:cubicBezTo>
                  <a:cubicBezTo>
                    <a:pt x="2602" y="3411"/>
                    <a:pt x="2616" y="3425"/>
                    <a:pt x="2633" y="3425"/>
                  </a:cubicBezTo>
                  <a:cubicBezTo>
                    <a:pt x="2755" y="3425"/>
                    <a:pt x="2877" y="3425"/>
                    <a:pt x="3000" y="3425"/>
                  </a:cubicBezTo>
                  <a:cubicBezTo>
                    <a:pt x="3018" y="3412"/>
                    <a:pt x="3040" y="3425"/>
                    <a:pt x="3056" y="3385"/>
                  </a:cubicBezTo>
                  <a:cubicBezTo>
                    <a:pt x="3105" y="3263"/>
                    <a:pt x="3203" y="3021"/>
                    <a:pt x="3203" y="3018"/>
                  </a:cubicBezTo>
                  <a:cubicBezTo>
                    <a:pt x="3209" y="2987"/>
                    <a:pt x="3180" y="2998"/>
                    <a:pt x="3169" y="2987"/>
                  </a:cubicBezTo>
                  <a:cubicBezTo>
                    <a:pt x="3126" y="2987"/>
                    <a:pt x="3083" y="2987"/>
                    <a:pt x="3040" y="2987"/>
                  </a:cubicBezTo>
                  <a:cubicBezTo>
                    <a:pt x="3040" y="2780"/>
                    <a:pt x="3040" y="2572"/>
                    <a:pt x="3040" y="2365"/>
                  </a:cubicBezTo>
                  <a:cubicBezTo>
                    <a:pt x="3176" y="2704"/>
                    <a:pt x="3312" y="3043"/>
                    <a:pt x="3449" y="3382"/>
                  </a:cubicBezTo>
                  <a:cubicBezTo>
                    <a:pt x="3466" y="3422"/>
                    <a:pt x="3486" y="3409"/>
                    <a:pt x="3505" y="3422"/>
                  </a:cubicBezTo>
                  <a:cubicBezTo>
                    <a:pt x="3649" y="3422"/>
                    <a:pt x="3792" y="3422"/>
                    <a:pt x="3936" y="3422"/>
                  </a:cubicBezTo>
                  <a:cubicBezTo>
                    <a:pt x="3955" y="3409"/>
                    <a:pt x="3975" y="3422"/>
                    <a:pt x="3992" y="3382"/>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grpSp>
      <p:sp>
        <p:nvSpPr>
          <p:cNvPr id="12" name="Plassholder for bunntekst 18">
            <a:extLst>
              <a:ext uri="{FF2B5EF4-FFF2-40B4-BE49-F238E27FC236}">
                <a16:creationId xmlns:a16="http://schemas.microsoft.com/office/drawing/2014/main" id="{1700A9B0-EFF7-4948-9D95-DEA7F53CEC0D}"/>
              </a:ext>
            </a:extLst>
          </p:cNvPr>
          <p:cNvSpPr>
            <a:spLocks noGrp="1"/>
          </p:cNvSpPr>
          <p:nvPr>
            <p:ph type="ftr" sz="quarter" idx="17"/>
          </p:nvPr>
        </p:nvSpPr>
        <p:spPr>
          <a:xfrm>
            <a:off x="450651" y="6501343"/>
            <a:ext cx="10925936" cy="242349"/>
          </a:xfrm>
          <a:prstGeom prst="rect">
            <a:avLst/>
          </a:prstGeom>
        </p:spPr>
        <p:txBody>
          <a:bodyPr lIns="36000" tIns="0" rIns="36000" bIns="0" rtlCol="0" anchor="ctr" anchorCtr="0"/>
          <a:lstStyle>
            <a:lvl1pPr algn="ctr" defTabSz="609570" fontAlgn="auto">
              <a:spcBef>
                <a:spcPts val="0"/>
              </a:spcBef>
              <a:spcAft>
                <a:spcPts val="0"/>
              </a:spcAft>
              <a:defRPr sz="1067" dirty="0">
                <a:solidFill>
                  <a:schemeClr val="bg1"/>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Tree>
    <p:extLst>
      <p:ext uri="{BB962C8B-B14F-4D97-AF65-F5344CB8AC3E}">
        <p14:creationId xmlns:p14="http://schemas.microsoft.com/office/powerpoint/2010/main" val="1276202329"/>
      </p:ext>
    </p:extLst>
  </p:cSld>
  <p:clrMapOvr>
    <a:masterClrMapping/>
  </p:clrMapOvr>
  <p:transition spd="med" advClick="0">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Rectangle 3"/>
          <p:cNvSpPr>
            <a:spLocks noGrp="1" noChangeArrowheads="1"/>
          </p:cNvSpPr>
          <p:nvPr>
            <p:ph idx="1"/>
          </p:nvPr>
        </p:nvSpPr>
        <p:spPr bwMode="auto">
          <a:xfrm>
            <a:off x="514354" y="1412776"/>
            <a:ext cx="11163300" cy="485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Rectangle 2"/>
          <p:cNvSpPr>
            <a:spLocks noGrp="1" noChangeArrowheads="1"/>
          </p:cNvSpPr>
          <p:nvPr>
            <p:ph type="title"/>
          </p:nvPr>
        </p:nvSpPr>
        <p:spPr bwMode="auto">
          <a:xfrm>
            <a:off x="504829" y="190502"/>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a:t>Klikk for å redigere tittelstil</a:t>
            </a:r>
          </a:p>
        </p:txBody>
      </p:sp>
    </p:spTree>
    <p:extLst>
      <p:ext uri="{BB962C8B-B14F-4D97-AF65-F5344CB8AC3E}">
        <p14:creationId xmlns:p14="http://schemas.microsoft.com/office/powerpoint/2010/main" val="23254085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2"/>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39185838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Skilleark">
    <p:spTree>
      <p:nvGrpSpPr>
        <p:cNvPr id="1" name=""/>
        <p:cNvGrpSpPr/>
        <p:nvPr/>
      </p:nvGrpSpPr>
      <p:grpSpPr>
        <a:xfrm>
          <a:off x="0" y="0"/>
          <a:ext cx="0" cy="0"/>
          <a:chOff x="0" y="0"/>
          <a:chExt cx="0" cy="0"/>
        </a:xfrm>
      </p:grpSpPr>
      <p:sp>
        <p:nvSpPr>
          <p:cNvPr id="3" name="Rektangel 2"/>
          <p:cNvSpPr/>
          <p:nvPr userDrawn="1"/>
        </p:nvSpPr>
        <p:spPr>
          <a:xfrm>
            <a:off x="-1" y="0"/>
            <a:ext cx="12192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4" name="Tittel 1"/>
          <p:cNvSpPr>
            <a:spLocks noGrp="1"/>
          </p:cNvSpPr>
          <p:nvPr>
            <p:ph type="title"/>
          </p:nvPr>
        </p:nvSpPr>
        <p:spPr>
          <a:xfrm>
            <a:off x="1116546" y="3829912"/>
            <a:ext cx="9958916" cy="1362075"/>
          </a:xfrm>
          <a:prstGeom prst="rect">
            <a:avLst/>
          </a:prstGeom>
          <a:noFill/>
        </p:spPr>
        <p:txBody>
          <a:bodyPr anchor="t">
            <a:normAutofit/>
          </a:bodyPr>
          <a:lstStyle>
            <a:lvl1pPr algn="ctr">
              <a:defRPr sz="3200" b="0" cap="all">
                <a:ln w="12700">
                  <a:noFill/>
                </a:ln>
                <a:solidFill>
                  <a:schemeClr val="bg1"/>
                </a:solidFill>
              </a:defRPr>
            </a:lvl1pPr>
          </a:lstStyle>
          <a:p>
            <a:r>
              <a:rPr lang="nb-NO"/>
              <a:t>Klikk for å redigere tittelstil</a:t>
            </a:r>
          </a:p>
        </p:txBody>
      </p:sp>
      <p:pic>
        <p:nvPicPr>
          <p:cNvPr id="9" name="Picture 7" descr="F:\F2823_KOM\Felles Filer\Rådgivingseksjonen\Profil og materiell\5. Profil og design\NAV profil\nav_logo\Til mal\nav_logo_Hvit_ubakgrunn [Converted].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49542" y="2431157"/>
            <a:ext cx="1580804" cy="994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7852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3"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9" y="241304"/>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876214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8F0C2D0C-F750-2644-95F9-0C952AE3AF8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4" name="Plassholder for lysbildenummer 3">
            <a:extLst>
              <a:ext uri="{FF2B5EF4-FFF2-40B4-BE49-F238E27FC236}">
                <a16:creationId xmlns:a16="http://schemas.microsoft.com/office/drawing/2014/main" id="{D912E190-170D-CB48-ABA2-AC1FB7840FD3}"/>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442212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med bilde til høy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0" y="1825625"/>
            <a:ext cx="5469835"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39" y="6356350"/>
            <a:ext cx="447261" cy="365125"/>
          </a:xfrm>
        </p:spPr>
        <p:txBody>
          <a:bodyPr/>
          <a:lstStyle/>
          <a:p>
            <a:fld id="{95102788-B3AA-6746-B4E5-C52EBB4D0CEE}" type="slidenum">
              <a:rPr lang="nb-NO" smtClean="0"/>
              <a:t>‹#›</a:t>
            </a:fld>
            <a:endParaRPr lang="nb-NO"/>
          </a:p>
        </p:txBody>
      </p:sp>
      <p:sp>
        <p:nvSpPr>
          <p:cNvPr id="7" name="Plassholder for bilde 3">
            <a:extLst>
              <a:ext uri="{FF2B5EF4-FFF2-40B4-BE49-F238E27FC236}">
                <a16:creationId xmlns:a16="http://schemas.microsoft.com/office/drawing/2014/main" id="{9CCA7799-B00E-2A41-ADCA-ABD6B94D7671}"/>
              </a:ext>
            </a:extLst>
          </p:cNvPr>
          <p:cNvSpPr>
            <a:spLocks noGrp="1" noChangeAspect="1"/>
          </p:cNvSpPr>
          <p:nvPr>
            <p:ph type="pic" sz="quarter" idx="13"/>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2"/>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en-US"/>
              <a:t>Click icon to add picture</a:t>
            </a:r>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7362371" cy="1072080"/>
          </a:xfrm>
        </p:spPr>
        <p:txBody>
          <a:bodyPr/>
          <a:lstStyle/>
          <a:p>
            <a:r>
              <a:rPr lang="nb-NO"/>
              <a:t>Klikk for å redigere tittelen</a:t>
            </a:r>
          </a:p>
        </p:txBody>
      </p:sp>
    </p:spTree>
    <p:extLst>
      <p:ext uri="{BB962C8B-B14F-4D97-AF65-F5344CB8AC3E}">
        <p14:creationId xmlns:p14="http://schemas.microsoft.com/office/powerpoint/2010/main" val="336983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6096000" y="1825625"/>
            <a:ext cx="524786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1" y="6356350"/>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0"/>
            <a:ext cx="447261" cy="365125"/>
          </a:xfrm>
        </p:spPr>
        <p:txBody>
          <a:bodyPr/>
          <a:lstStyle/>
          <a:p>
            <a:fld id="{95102788-B3AA-6746-B4E5-C52EBB4D0CEE}" type="slidenum">
              <a:rPr lang="nb-NO" smtClean="0"/>
              <a:t>‹#›</a:t>
            </a:fld>
            <a:endParaRPr lang="nb-NO"/>
          </a:p>
        </p:txBody>
      </p:sp>
      <p:sp>
        <p:nvSpPr>
          <p:cNvPr id="8" name="Plassholder for bilde 3">
            <a:extLst>
              <a:ext uri="{FF2B5EF4-FFF2-40B4-BE49-F238E27FC236}">
                <a16:creationId xmlns:a16="http://schemas.microsoft.com/office/drawing/2014/main" id="{CBA52608-8CEA-2B45-8142-21F944ADC0E0}"/>
              </a:ext>
            </a:extLst>
          </p:cNvPr>
          <p:cNvSpPr>
            <a:spLocks noGrp="1" noChangeAspect="1"/>
          </p:cNvSpPr>
          <p:nvPr>
            <p:ph type="pic" sz="quarter" idx="18"/>
          </p:nvPr>
        </p:nvSpPr>
        <p:spPr bwMode="auto">
          <a:xfrm>
            <a:off x="0" y="1"/>
            <a:ext cx="6052900" cy="6857999"/>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304706"/>
              <a:gd name="connsiteY0" fmla="*/ 3910014 h 3910014"/>
              <a:gd name="connsiteX1" fmla="*/ 1042924 w 2304706"/>
              <a:gd name="connsiteY1" fmla="*/ 0 h 3910014"/>
              <a:gd name="connsiteX2" fmla="*/ 2304706 w 2304706"/>
              <a:gd name="connsiteY2" fmla="*/ 6914 h 3910014"/>
              <a:gd name="connsiteX3" fmla="*/ 1267586 w 2304706"/>
              <a:gd name="connsiteY3" fmla="*/ 3907005 h 3910014"/>
              <a:gd name="connsiteX4" fmla="*/ 0 w 2304706"/>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4906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706" h="3910014">
                <a:moveTo>
                  <a:pt x="0" y="3910014"/>
                </a:moveTo>
                <a:cubicBezTo>
                  <a:pt x="1635" y="2606676"/>
                  <a:pt x="3271" y="1303338"/>
                  <a:pt x="4906" y="0"/>
                </a:cubicBezTo>
                <a:lnTo>
                  <a:pt x="2304706" y="795"/>
                </a:lnTo>
                <a:cubicBezTo>
                  <a:pt x="1891771" y="1578443"/>
                  <a:pt x="1696868" y="2311001"/>
                  <a:pt x="1267586" y="3907005"/>
                </a:cubicBezTo>
                <a:lnTo>
                  <a:pt x="0" y="3910014"/>
                </a:lnTo>
                <a:close/>
              </a:path>
            </a:pathLst>
          </a:custGeom>
          <a:solidFill>
            <a:srgbClr val="E9E7E7"/>
          </a:solidFill>
          <a:ln>
            <a:noFill/>
          </a:ln>
          <a:effectLst/>
        </p:spPr>
        <p:txBody>
          <a:bodyPr lIns="1152000" tIns="540000" anchor="ctr" anchorCtr="0">
            <a:normAutofit/>
          </a:bodyPr>
          <a:lstStyle>
            <a:lvl1pPr marL="14288" indent="0">
              <a:buNone/>
              <a:tabLst/>
              <a:defRPr sz="1400" baseline="0">
                <a:solidFill>
                  <a:schemeClr val="tx1"/>
                </a:solidFill>
              </a:defRPr>
            </a:lvl1pPr>
          </a:lstStyle>
          <a:p>
            <a:r>
              <a:rPr lang="en-US"/>
              <a:t>Click icon to add picture</a:t>
            </a:r>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6096000" y="482400"/>
            <a:ext cx="5247861" cy="1072080"/>
          </a:xfrm>
        </p:spPr>
        <p:txBody>
          <a:bodyPr/>
          <a:lstStyle/>
          <a:p>
            <a:r>
              <a:rPr lang="nb-NO"/>
              <a:t>Klikk for å redigere tittelen</a:t>
            </a:r>
          </a:p>
        </p:txBody>
      </p:sp>
    </p:spTree>
    <p:extLst>
      <p:ext uri="{BB962C8B-B14F-4D97-AF65-F5344CB8AC3E}">
        <p14:creationId xmlns:p14="http://schemas.microsoft.com/office/powerpoint/2010/main" val="1098591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FAD10EF-47D4-0240-947C-844B6DB7DA1B}"/>
              </a:ext>
            </a:extLst>
          </p:cNvPr>
          <p:cNvSpPr>
            <a:spLocks noGrp="1"/>
          </p:cNvSpPr>
          <p:nvPr>
            <p:ph type="title"/>
          </p:nvPr>
        </p:nvSpPr>
        <p:spPr>
          <a:xfrm>
            <a:off x="838200" y="482400"/>
            <a:ext cx="10515600" cy="1072080"/>
          </a:xfrm>
          <a:prstGeom prst="rect">
            <a:avLst/>
          </a:prstGeom>
        </p:spPr>
        <p:txBody>
          <a:bodyPr vert="horz" lIns="91440" tIns="45720" rIns="91440" bIns="45720" rtlCol="0" anchor="ctr">
            <a:normAutofit/>
          </a:bodyPr>
          <a:lstStyle/>
          <a:p>
            <a:r>
              <a:rPr lang="nb-NO"/>
              <a:t>Klikk for å redigere tittelen</a:t>
            </a:r>
          </a:p>
        </p:txBody>
      </p:sp>
      <p:sp>
        <p:nvSpPr>
          <p:cNvPr id="3" name="Plassholder for tekst 2">
            <a:extLst>
              <a:ext uri="{FF2B5EF4-FFF2-40B4-BE49-F238E27FC236}">
                <a16:creationId xmlns:a16="http://schemas.microsoft.com/office/drawing/2014/main" id="{CF3E8312-F0C7-3C46-BEEB-87BD7EA7DE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D8D59EA7-F2B2-7C49-89A4-3A578F1C80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a:solidFill>
                  <a:schemeClr val="tx2"/>
                </a:solidFill>
                <a:latin typeface="Arial" panose="020B0604020202020204" pitchFamily="34" charset="0"/>
                <a:cs typeface="Arial" panose="020B0604020202020204" pitchFamily="34" charset="0"/>
              </a:defRPr>
            </a:lvl1pPr>
          </a:lstStyle>
          <a:p>
            <a:fld id="{95102788-B3AA-6746-B4E5-C52EBB4D0CEE}" type="slidenum">
              <a:rPr lang="nb-NO" smtClean="0"/>
              <a:pPr/>
              <a:t>‹#›</a:t>
            </a:fld>
            <a:endParaRPr lang="nb-NO"/>
          </a:p>
        </p:txBody>
      </p:sp>
      <p:sp>
        <p:nvSpPr>
          <p:cNvPr id="7" name="TekstSylinder 6">
            <a:extLst>
              <a:ext uri="{FF2B5EF4-FFF2-40B4-BE49-F238E27FC236}">
                <a16:creationId xmlns:a16="http://schemas.microsoft.com/office/drawing/2014/main" id="{555FED8A-16C9-8F42-B8B3-8C18FF9D4244}"/>
              </a:ext>
            </a:extLst>
          </p:cNvPr>
          <p:cNvSpPr txBox="1"/>
          <p:nvPr userDrawn="1"/>
        </p:nvSpPr>
        <p:spPr>
          <a:xfrm>
            <a:off x="249560" y="6477356"/>
            <a:ext cx="360040" cy="123111"/>
          </a:xfrm>
          <a:prstGeom prst="rect">
            <a:avLst/>
          </a:prstGeom>
          <a:noFill/>
        </p:spPr>
        <p:txBody>
          <a:bodyPr wrap="square" lIns="0" tIns="0" rIns="0" bIns="0" rtlCol="0">
            <a:spAutoFit/>
          </a:bodyPr>
          <a:lstStyle/>
          <a:p>
            <a:pPr marL="36000" indent="0" algn="l">
              <a:spcBef>
                <a:spcPts val="600"/>
              </a:spcBef>
              <a:buClr>
                <a:schemeClr val="accent2"/>
              </a:buClr>
              <a:buSzPct val="80000"/>
              <a:buNone/>
            </a:pPr>
            <a:r>
              <a:rPr lang="nb-NO" sz="800">
                <a:solidFill>
                  <a:schemeClr val="accent1"/>
                </a:solidFill>
                <a:latin typeface="Arial" panose="020B0604020202020204" pitchFamily="34" charset="0"/>
                <a:ea typeface="Segoe UI" charset="0"/>
                <a:cs typeface="Arial" panose="020B0604020202020204" pitchFamily="34" charset="0"/>
              </a:rPr>
              <a:t>//</a:t>
            </a:r>
            <a:r>
              <a:rPr lang="nb-NO" sz="800">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800">
                <a:solidFill>
                  <a:schemeClr val="tx2"/>
                </a:solidFill>
                <a:latin typeface="Arial" panose="020B0604020202020204" pitchFamily="34" charset="0"/>
                <a:ea typeface="Segoe UI" charset="0"/>
                <a:cs typeface="Arial" panose="020B0604020202020204" pitchFamily="34" charset="0"/>
              </a:rPr>
              <a:t>NAV</a:t>
            </a:r>
          </a:p>
        </p:txBody>
      </p:sp>
      <p:sp>
        <p:nvSpPr>
          <p:cNvPr id="8" name="Plassholder for bunntekst 7">
            <a:extLst>
              <a:ext uri="{FF2B5EF4-FFF2-40B4-BE49-F238E27FC236}">
                <a16:creationId xmlns:a16="http://schemas.microsoft.com/office/drawing/2014/main" id="{7122E58E-2832-4244-8616-203251C291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nb-NO"/>
          </a:p>
        </p:txBody>
      </p:sp>
    </p:spTree>
    <p:extLst>
      <p:ext uri="{BB962C8B-B14F-4D97-AF65-F5344CB8AC3E}">
        <p14:creationId xmlns:p14="http://schemas.microsoft.com/office/powerpoint/2010/main" val="2827523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4" r:id="rId6"/>
    <p:sldLayoutId id="2147483655" r:id="rId7"/>
    <p:sldLayoutId id="2147483661" r:id="rId8"/>
    <p:sldLayoutId id="2147483662" r:id="rId9"/>
    <p:sldLayoutId id="2147483667" r:id="rId10"/>
    <p:sldLayoutId id="2147483670" r:id="rId11"/>
    <p:sldLayoutId id="2147483671" r:id="rId12"/>
    <p:sldLayoutId id="2147483663" r:id="rId13"/>
    <p:sldLayoutId id="2147483669" r:id="rId14"/>
    <p:sldLayoutId id="2147483672" r:id="rId15"/>
    <p:sldLayoutId id="2147483673" r:id="rId16"/>
    <p:sldLayoutId id="2147483674" r:id="rId17"/>
    <p:sldLayoutId id="2147483689" r:id="rId18"/>
    <p:sldLayoutId id="2147483690" r:id="rId19"/>
  </p:sldLayoutIdLst>
  <p:hf sldNum="0" hdr="0" ftr="0" dt="0"/>
  <p:txStyles>
    <p:titleStyle>
      <a:lvl1pPr algn="l" defTabSz="914400"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0000"/>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FAD10EF-47D4-0240-947C-844B6DB7DA1B}"/>
              </a:ext>
            </a:extLst>
          </p:cNvPr>
          <p:cNvSpPr>
            <a:spLocks noGrp="1"/>
          </p:cNvSpPr>
          <p:nvPr>
            <p:ph type="title"/>
          </p:nvPr>
        </p:nvSpPr>
        <p:spPr>
          <a:xfrm>
            <a:off x="838200" y="482400"/>
            <a:ext cx="10515600" cy="1072080"/>
          </a:xfrm>
          <a:prstGeom prst="rect">
            <a:avLst/>
          </a:prstGeom>
        </p:spPr>
        <p:txBody>
          <a:bodyPr vert="horz" lIns="91440" tIns="45720" rIns="91440" bIns="45720" rtlCol="0" anchor="ctr">
            <a:normAutofit/>
          </a:bodyPr>
          <a:lstStyle/>
          <a:p>
            <a:r>
              <a:rPr lang="nb-NO"/>
              <a:t>Klikk for å redigere tittelen</a:t>
            </a:r>
          </a:p>
        </p:txBody>
      </p:sp>
      <p:sp>
        <p:nvSpPr>
          <p:cNvPr id="3" name="Plassholder for tekst 2">
            <a:extLst>
              <a:ext uri="{FF2B5EF4-FFF2-40B4-BE49-F238E27FC236}">
                <a16:creationId xmlns:a16="http://schemas.microsoft.com/office/drawing/2014/main" id="{CF3E8312-F0C7-3C46-BEEB-87BD7EA7DEA4}"/>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D8D59EA7-F2B2-7C49-89A4-3A578F1C804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800">
                <a:solidFill>
                  <a:schemeClr val="tx2"/>
                </a:solidFill>
                <a:latin typeface="Arial" panose="020B0604020202020204" pitchFamily="34" charset="0"/>
                <a:cs typeface="Arial" panose="020B0604020202020204" pitchFamily="34" charset="0"/>
              </a:defRPr>
            </a:lvl1pPr>
          </a:lstStyle>
          <a:p>
            <a:fld id="{95102788-B3AA-6746-B4E5-C52EBB4D0CEE}" type="slidenum">
              <a:rPr lang="nb-NO" smtClean="0"/>
              <a:pPr/>
              <a:t>‹#›</a:t>
            </a:fld>
            <a:endParaRPr lang="nb-NO"/>
          </a:p>
        </p:txBody>
      </p:sp>
      <p:sp>
        <p:nvSpPr>
          <p:cNvPr id="7" name="TekstSylinder 6">
            <a:extLst>
              <a:ext uri="{FF2B5EF4-FFF2-40B4-BE49-F238E27FC236}">
                <a16:creationId xmlns:a16="http://schemas.microsoft.com/office/drawing/2014/main" id="{555FED8A-16C9-8F42-B8B3-8C18FF9D4244}"/>
              </a:ext>
            </a:extLst>
          </p:cNvPr>
          <p:cNvSpPr txBox="1"/>
          <p:nvPr userDrawn="1"/>
        </p:nvSpPr>
        <p:spPr>
          <a:xfrm>
            <a:off x="249560" y="6477357"/>
            <a:ext cx="360040" cy="123111"/>
          </a:xfrm>
          <a:prstGeom prst="rect">
            <a:avLst/>
          </a:prstGeom>
          <a:noFill/>
        </p:spPr>
        <p:txBody>
          <a:bodyPr wrap="square" lIns="0" tIns="0" rIns="0" bIns="0" rtlCol="0">
            <a:spAutoFit/>
          </a:bodyPr>
          <a:lstStyle/>
          <a:p>
            <a:pPr marL="35999" indent="0" algn="l">
              <a:spcBef>
                <a:spcPts val="600"/>
              </a:spcBef>
              <a:buClr>
                <a:schemeClr val="accent2"/>
              </a:buClr>
              <a:buSzPct val="80000"/>
              <a:buNone/>
            </a:pPr>
            <a:r>
              <a:rPr lang="nb-NO" sz="800">
                <a:solidFill>
                  <a:schemeClr val="accent1"/>
                </a:solidFill>
                <a:latin typeface="Arial" panose="020B0604020202020204" pitchFamily="34" charset="0"/>
                <a:ea typeface="Segoe UI" charset="0"/>
                <a:cs typeface="Arial" panose="020B0604020202020204" pitchFamily="34" charset="0"/>
              </a:rPr>
              <a:t>//</a:t>
            </a:r>
            <a:r>
              <a:rPr lang="nb-NO" sz="800">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800">
                <a:solidFill>
                  <a:schemeClr val="tx2"/>
                </a:solidFill>
                <a:latin typeface="Arial" panose="020B0604020202020204" pitchFamily="34" charset="0"/>
                <a:ea typeface="Segoe UI" charset="0"/>
                <a:cs typeface="Arial" panose="020B0604020202020204" pitchFamily="34" charset="0"/>
              </a:rPr>
              <a:t>NAV</a:t>
            </a:r>
          </a:p>
        </p:txBody>
      </p:sp>
      <p:sp>
        <p:nvSpPr>
          <p:cNvPr id="8" name="Plassholder for bunntekst 7">
            <a:extLst>
              <a:ext uri="{FF2B5EF4-FFF2-40B4-BE49-F238E27FC236}">
                <a16:creationId xmlns:a16="http://schemas.microsoft.com/office/drawing/2014/main" id="{7122E58E-2832-4244-8616-203251C2916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nb-NO"/>
          </a:p>
        </p:txBody>
      </p:sp>
    </p:spTree>
    <p:extLst>
      <p:ext uri="{BB962C8B-B14F-4D97-AF65-F5344CB8AC3E}">
        <p14:creationId xmlns:p14="http://schemas.microsoft.com/office/powerpoint/2010/main" val="25462730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Lst>
  <p:hf sldNum="0" hdr="0" ftr="0" dt="0"/>
  <p:txStyles>
    <p:titleStyle>
      <a:lvl1pPr algn="l" defTabSz="914377"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ClrTx/>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Tx/>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Tx/>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Tx/>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9"/>
          <p:cNvSpPr>
            <a:spLocks noGrp="1" noChangeArrowheads="1"/>
          </p:cNvSpPr>
          <p:nvPr>
            <p:ph type="body" idx="1"/>
          </p:nvPr>
        </p:nvSpPr>
        <p:spPr bwMode="auto">
          <a:xfrm>
            <a:off x="406401" y="696384"/>
            <a:ext cx="11387667" cy="52239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35717" tIns="35717" rIns="35717" bIns="35717" numCol="1" anchor="t" anchorCtr="0" compatLnSpc="1">
            <a:prstTxWarp prst="textNoShape">
              <a:avLst/>
            </a:prstTxWarp>
          </a:bodyPr>
          <a:lstStyle/>
          <a:p>
            <a:pPr marL="510093" marR="0" lvl="0" indent="-510093" algn="l" defTabSz="1219140" rtl="0" eaLnBrk="0" fontAlgn="base" latinLnBrk="0" hangingPunct="0">
              <a:lnSpc>
                <a:spcPct val="100000"/>
              </a:lnSpc>
              <a:spcBef>
                <a:spcPts val="3467"/>
              </a:spcBef>
              <a:spcAft>
                <a:spcPct val="0"/>
              </a:spcAft>
              <a:buClr>
                <a:srgbClr val="C30000"/>
              </a:buClr>
              <a:buSzPct val="100000"/>
              <a:buFont typeface="Arial" panose="020B0604020202020204" pitchFamily="34" charset="0"/>
              <a:buChar char="•"/>
              <a:tabLst/>
              <a:defRPr/>
            </a:pPr>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32331345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Lst>
  <p:transition spd="med" advClick="0">
    <p:fade/>
  </p:transition>
  <p:hf sldNum="0" hdr="0" ftr="0" dt="0"/>
  <p:txStyles>
    <p:titleStyle>
      <a:lvl1pPr algn="l" rtl="0" eaLnBrk="1" fontAlgn="base" hangingPunct="1">
        <a:lnSpc>
          <a:spcPct val="80000"/>
        </a:lnSpc>
        <a:spcBef>
          <a:spcPct val="0"/>
        </a:spcBef>
        <a:spcAft>
          <a:spcPct val="0"/>
        </a:spcAft>
        <a:defRPr sz="2667">
          <a:solidFill>
            <a:schemeClr val="accent2"/>
          </a:solidFill>
          <a:latin typeface="+mj-lt"/>
          <a:ea typeface="ヒラギノ角ゴ Pro W3" charset="0"/>
          <a:cs typeface="ＭＳ Ｐゴシック" charset="0"/>
          <a:sym typeface="Arial" charset="0"/>
        </a:defRPr>
      </a:lvl1pPr>
      <a:lvl2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2pPr>
      <a:lvl3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3pPr>
      <a:lvl4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4pPr>
      <a:lvl5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5pPr>
      <a:lvl6pPr marL="428588"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6pPr>
      <a:lvl7pPr marL="857177"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7pPr>
      <a:lvl8pPr marL="1285765"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8pPr>
      <a:lvl9pPr marL="1714353"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9pPr>
    </p:titleStyle>
    <p:bodyStyle>
      <a:lvl1pPr marL="287986" marR="0" indent="-239989" algn="l" defTabSz="1219140" rtl="0" eaLnBrk="1" fontAlgn="base" latinLnBrk="0" hangingPunct="1">
        <a:lnSpc>
          <a:spcPct val="100000"/>
        </a:lnSpc>
        <a:spcBef>
          <a:spcPts val="800"/>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1pPr>
      <a:lvl2pPr marL="1011716" marR="0" indent="-510093" algn="l" defTabSz="1219140" rtl="0" eaLnBrk="1" fontAlgn="base" latinLnBrk="0" hangingPunct="1">
        <a:lnSpc>
          <a:spcPct val="100000"/>
        </a:lnSpc>
        <a:spcBef>
          <a:spcPts val="3467"/>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2pPr>
      <a:lvl3pPr marL="1511225" marR="0" indent="-499509" algn="l" defTabSz="1219140" rtl="0" eaLnBrk="1" fontAlgn="base" latinLnBrk="0" hangingPunct="1">
        <a:lnSpc>
          <a:spcPct val="100000"/>
        </a:lnSpc>
        <a:spcBef>
          <a:spcPts val="3467"/>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3pPr>
      <a:lvl4pPr marL="2023432" indent="-510093" algn="l" rtl="0" eaLnBrk="1" fontAlgn="base" hangingPunct="1">
        <a:spcBef>
          <a:spcPts val="3467"/>
        </a:spcBef>
        <a:spcAft>
          <a:spcPct val="0"/>
        </a:spcAft>
        <a:buClr>
          <a:schemeClr val="accent2"/>
        </a:buClr>
        <a:buSzPct val="100000"/>
        <a:buFont typeface="Arial" panose="020B0604020202020204" pitchFamily="34" charset="0"/>
        <a:buChar char="•"/>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4pPr>
      <a:lvl5pPr marL="2522941" indent="-499509" algn="l" rtl="0" eaLnBrk="1" fontAlgn="base" hangingPunct="1">
        <a:spcBef>
          <a:spcPts val="3467"/>
        </a:spcBef>
        <a:spcAft>
          <a:spcPct val="0"/>
        </a:spcAft>
        <a:buClr>
          <a:schemeClr val="accent2"/>
        </a:buClr>
        <a:buSzPct val="100000"/>
        <a:buFont typeface="Arial" panose="020B0604020202020204" pitchFamily="34" charset="0"/>
        <a:buChar char="•"/>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5pPr>
      <a:lvl6pPr marL="3142981"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6pPr>
      <a:lvl7pPr marL="3571569"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7pPr>
      <a:lvl8pPr marL="4000157"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8pPr>
      <a:lvl9pPr marL="4428747"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9pPr>
    </p:bodyStyle>
    <p:otherStyle>
      <a:defPPr>
        <a:defRPr lang="en-US"/>
      </a:defPPr>
      <a:lvl1pPr marL="0" algn="l" defTabSz="428588" rtl="0" eaLnBrk="1" latinLnBrk="0" hangingPunct="1">
        <a:defRPr sz="1733" kern="1200">
          <a:solidFill>
            <a:schemeClr val="tx1"/>
          </a:solidFill>
          <a:latin typeface="+mn-lt"/>
          <a:ea typeface="+mn-ea"/>
          <a:cs typeface="+mn-cs"/>
        </a:defRPr>
      </a:lvl1pPr>
      <a:lvl2pPr marL="428588" algn="l" defTabSz="428588" rtl="0" eaLnBrk="1" latinLnBrk="0" hangingPunct="1">
        <a:defRPr sz="1733" kern="1200">
          <a:solidFill>
            <a:schemeClr val="tx1"/>
          </a:solidFill>
          <a:latin typeface="+mn-lt"/>
          <a:ea typeface="+mn-ea"/>
          <a:cs typeface="+mn-cs"/>
        </a:defRPr>
      </a:lvl2pPr>
      <a:lvl3pPr marL="857177" algn="l" defTabSz="428588" rtl="0" eaLnBrk="1" latinLnBrk="0" hangingPunct="1">
        <a:defRPr sz="1733" kern="1200">
          <a:solidFill>
            <a:schemeClr val="tx1"/>
          </a:solidFill>
          <a:latin typeface="+mn-lt"/>
          <a:ea typeface="+mn-ea"/>
          <a:cs typeface="+mn-cs"/>
        </a:defRPr>
      </a:lvl3pPr>
      <a:lvl4pPr marL="1285765" algn="l" defTabSz="428588" rtl="0" eaLnBrk="1" latinLnBrk="0" hangingPunct="1">
        <a:defRPr sz="1733" kern="1200">
          <a:solidFill>
            <a:schemeClr val="tx1"/>
          </a:solidFill>
          <a:latin typeface="+mn-lt"/>
          <a:ea typeface="+mn-ea"/>
          <a:cs typeface="+mn-cs"/>
        </a:defRPr>
      </a:lvl4pPr>
      <a:lvl5pPr marL="1714353" algn="l" defTabSz="428588" rtl="0" eaLnBrk="1" latinLnBrk="0" hangingPunct="1">
        <a:defRPr sz="1733" kern="1200">
          <a:solidFill>
            <a:schemeClr val="tx1"/>
          </a:solidFill>
          <a:latin typeface="+mn-lt"/>
          <a:ea typeface="+mn-ea"/>
          <a:cs typeface="+mn-cs"/>
        </a:defRPr>
      </a:lvl5pPr>
      <a:lvl6pPr marL="2142942" algn="l" defTabSz="428588" rtl="0" eaLnBrk="1" latinLnBrk="0" hangingPunct="1">
        <a:defRPr sz="1733" kern="1200">
          <a:solidFill>
            <a:schemeClr val="tx1"/>
          </a:solidFill>
          <a:latin typeface="+mn-lt"/>
          <a:ea typeface="+mn-ea"/>
          <a:cs typeface="+mn-cs"/>
        </a:defRPr>
      </a:lvl6pPr>
      <a:lvl7pPr marL="2571530" algn="l" defTabSz="428588" rtl="0" eaLnBrk="1" latinLnBrk="0" hangingPunct="1">
        <a:defRPr sz="1733" kern="1200">
          <a:solidFill>
            <a:schemeClr val="tx1"/>
          </a:solidFill>
          <a:latin typeface="+mn-lt"/>
          <a:ea typeface="+mn-ea"/>
          <a:cs typeface="+mn-cs"/>
        </a:defRPr>
      </a:lvl7pPr>
      <a:lvl8pPr marL="3000118" algn="l" defTabSz="428588" rtl="0" eaLnBrk="1" latinLnBrk="0" hangingPunct="1">
        <a:defRPr sz="1733" kern="1200">
          <a:solidFill>
            <a:schemeClr val="tx1"/>
          </a:solidFill>
          <a:latin typeface="+mn-lt"/>
          <a:ea typeface="+mn-ea"/>
          <a:cs typeface="+mn-cs"/>
        </a:defRPr>
      </a:lvl8pPr>
      <a:lvl9pPr marL="3428708" algn="l" defTabSz="428588"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 Id="rId4" Type="http://schemas.openxmlformats.org/officeDocument/2006/relationships/image" Target="../media/image12.svg"/></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47.svg"/><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61.jpeg"/></Relationships>
</file>

<file path=ppt/slides/_rels/slide1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63.jpeg"/></Relationships>
</file>

<file path=ppt/slides/_rels/slide1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 Target="slide41.xml"/><Relationship Id="rId13" Type="http://schemas.openxmlformats.org/officeDocument/2006/relationships/image" Target="../media/image14.svg"/><Relationship Id="rId3" Type="http://schemas.openxmlformats.org/officeDocument/2006/relationships/slide" Target="slide3.xml"/><Relationship Id="rId7" Type="http://schemas.openxmlformats.org/officeDocument/2006/relationships/slide" Target="slide35.xml"/><Relationship Id="rId12"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slide" Target="slide27.xml"/><Relationship Id="rId11" Type="http://schemas.openxmlformats.org/officeDocument/2006/relationships/slide" Target="slide63.xml"/><Relationship Id="rId5" Type="http://schemas.openxmlformats.org/officeDocument/2006/relationships/slide" Target="slide20.xml"/><Relationship Id="rId10" Type="http://schemas.openxmlformats.org/officeDocument/2006/relationships/slide" Target="slide55.xml"/><Relationship Id="rId4" Type="http://schemas.openxmlformats.org/officeDocument/2006/relationships/slide" Target="slide12.xml"/><Relationship Id="rId9" Type="http://schemas.openxmlformats.org/officeDocument/2006/relationships/slide" Target="slide47.xml"/></Relationships>
</file>

<file path=ppt/slides/_rels/slide2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66.jpeg"/></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chart" Target="../charts/chart7.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69.jpeg"/></Relationships>
</file>

<file path=ppt/slides/_rels/slide2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image" Target="../media/image87.png"/><Relationship Id="rId7" Type="http://schemas.openxmlformats.org/officeDocument/2006/relationships/image" Target="../media/image91.jpe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 Id="rId9" Type="http://schemas.openxmlformats.org/officeDocument/2006/relationships/image" Target="../media/image93.jpeg"/></Relationships>
</file>

<file path=ppt/slides/_rels/slide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7.xml"/><Relationship Id="rId1" Type="http://schemas.openxmlformats.org/officeDocument/2006/relationships/slideLayout" Target="../slideLayouts/slideLayout11.xml"/><Relationship Id="rId5" Type="http://schemas.openxmlformats.org/officeDocument/2006/relationships/image" Target="../media/image96.jpeg"/><Relationship Id="rId4" Type="http://schemas.openxmlformats.org/officeDocument/2006/relationships/image" Target="../media/image95.jpeg"/></Relationships>
</file>

<file path=ppt/slides/_rels/slide38.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38.xml"/><Relationship Id="rId1" Type="http://schemas.openxmlformats.org/officeDocument/2006/relationships/slideLayout" Target="../slideLayouts/slideLayout11.xml"/><Relationship Id="rId5" Type="http://schemas.openxmlformats.org/officeDocument/2006/relationships/image" Target="../media/image99.png"/><Relationship Id="rId4" Type="http://schemas.openxmlformats.org/officeDocument/2006/relationships/image" Target="../media/image98.png"/></Relationships>
</file>

<file path=ppt/slides/_rels/slide39.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39.xml"/><Relationship Id="rId1" Type="http://schemas.openxmlformats.org/officeDocument/2006/relationships/slideLayout" Target="../slideLayouts/slideLayout6.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4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41.xml"/><Relationship Id="rId1" Type="http://schemas.openxmlformats.org/officeDocument/2006/relationships/slideLayout" Target="../slideLayouts/slideLayout14.xml"/><Relationship Id="rId4" Type="http://schemas.openxmlformats.org/officeDocument/2006/relationships/image" Target="../media/image107.jpeg"/></Relationships>
</file>

<file path=ppt/slides/_rels/slide4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2.xml"/><Relationship Id="rId1" Type="http://schemas.openxmlformats.org/officeDocument/2006/relationships/slideLayout" Target="../slideLayouts/slideLayout10.xml"/><Relationship Id="rId4" Type="http://schemas.openxmlformats.org/officeDocument/2006/relationships/image" Target="../media/image108.jpeg"/></Relationships>
</file>

<file path=ppt/slides/_rels/slide4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112.png"/><Relationship Id="rId5" Type="http://schemas.openxmlformats.org/officeDocument/2006/relationships/image" Target="../media/image111.svg"/><Relationship Id="rId4" Type="http://schemas.openxmlformats.org/officeDocument/2006/relationships/image" Target="../media/image110.png"/><Relationship Id="rId9" Type="http://schemas.openxmlformats.org/officeDocument/2006/relationships/image" Target="../media/image115.jpeg"/></Relationships>
</file>

<file path=ppt/slides/_rels/slide4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chart" Target="../charts/chart12.xml"/><Relationship Id="rId7" Type="http://schemas.openxmlformats.org/officeDocument/2006/relationships/image" Target="../media/image120.png"/><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 Id="rId9" Type="http://schemas.openxmlformats.org/officeDocument/2006/relationships/chart" Target="../charts/chart13.xml"/></Relationships>
</file>

<file path=ppt/slides/_rels/slide49.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49.xml"/><Relationship Id="rId1" Type="http://schemas.openxmlformats.org/officeDocument/2006/relationships/slideLayout" Target="../slideLayouts/slideLayout8.xml"/><Relationship Id="rId4" Type="http://schemas.openxmlformats.org/officeDocument/2006/relationships/chart" Target="../charts/char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51.xml"/><Relationship Id="rId1" Type="http://schemas.openxmlformats.org/officeDocument/2006/relationships/slideLayout" Target="../slideLayouts/slideLayout18.xml"/><Relationship Id="rId4" Type="http://schemas.openxmlformats.org/officeDocument/2006/relationships/image" Target="../media/image124.png"/></Relationships>
</file>

<file path=ppt/slides/_rels/slide5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52.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notesSlide" Target="../notesSlides/notesSlide6.xml"/><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slideLayout" Target="../slideLayouts/slideLayout26.xml"/><Relationship Id="rId1" Type="http://schemas.openxmlformats.org/officeDocument/2006/relationships/tags" Target="../tags/tag1.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emf"/><Relationship Id="rId10" Type="http://schemas.openxmlformats.org/officeDocument/2006/relationships/image" Target="../media/image26.png"/><Relationship Id="rId4" Type="http://schemas.openxmlformats.org/officeDocument/2006/relationships/oleObject" Target="../embeddings/oleObject1.bin"/><Relationship Id="rId9" Type="http://schemas.openxmlformats.org/officeDocument/2006/relationships/image" Target="../media/image25.svg"/></Relationships>
</file>

<file path=ppt/slides/_rels/slide6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1.png"/><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40.svg"/><Relationship Id="rId2" Type="http://schemas.openxmlformats.org/officeDocument/2006/relationships/notesSlide" Target="../notesSlides/notesSlide63.xml"/><Relationship Id="rId1" Type="http://schemas.openxmlformats.org/officeDocument/2006/relationships/slideLayout" Target="../slideLayouts/slideLayout6.xml"/><Relationship Id="rId6" Type="http://schemas.openxmlformats.org/officeDocument/2006/relationships/image" Target="../media/image135.svg"/><Relationship Id="rId11" Type="http://schemas.openxmlformats.org/officeDocument/2006/relationships/image" Target="../media/image39.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 Id="rId14" Type="http://schemas.openxmlformats.org/officeDocument/2006/relationships/image" Target="../media/image142.svg"/></Relationships>
</file>

<file path=ppt/slides/_rels/slide64.xml.rels><?xml version="1.0" encoding="UTF-8" standalone="yes"?>
<Relationships xmlns="http://schemas.openxmlformats.org/package/2006/relationships"><Relationship Id="rId3" Type="http://schemas.openxmlformats.org/officeDocument/2006/relationships/hyperlink" Target="https://www.nav.no/omverdensanalyse" TargetMode="External"/><Relationship Id="rId2" Type="http://schemas.openxmlformats.org/officeDocument/2006/relationships/notesSlide" Target="../notesSlides/notesSlide64.xml"/><Relationship Id="rId1" Type="http://schemas.openxmlformats.org/officeDocument/2006/relationships/slideLayout" Target="../slideLayouts/slideLayout17.xml"/><Relationship Id="rId5" Type="http://schemas.openxmlformats.org/officeDocument/2006/relationships/hyperlink" Target="mailto:redaksjon.omverdensanalysen@nav.no" TargetMode="External"/><Relationship Id="rId4" Type="http://schemas.openxmlformats.org/officeDocument/2006/relationships/hyperlink" Target="https://web.yammer.com/main/groups/eyJfdHlwZSI6Ikdyb3VwIiwiaWQiOiIxNzA5MDEwOSJ9"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notesSlide" Target="../notesSlides/notesSlide8.xml"/><Relationship Id="rId16" Type="http://schemas.openxmlformats.org/officeDocument/2006/relationships/image" Target="../media/image44.svg"/><Relationship Id="rId1" Type="http://schemas.openxmlformats.org/officeDocument/2006/relationships/slideLayout" Target="../slideLayouts/slideLayout45.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sv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89B9913-9085-153C-0AF3-921C8AF1725B}"/>
              </a:ext>
            </a:extLst>
          </p:cNvPr>
          <p:cNvSpPr>
            <a:spLocks noGrp="1"/>
          </p:cNvSpPr>
          <p:nvPr>
            <p:ph type="title"/>
          </p:nvPr>
        </p:nvSpPr>
        <p:spPr/>
        <p:txBody>
          <a:bodyPr/>
          <a:lstStyle/>
          <a:p>
            <a:r>
              <a:rPr lang="nb-NO"/>
              <a:t>Informasjon til deg som skal bruke denne presentasjonen</a:t>
            </a:r>
          </a:p>
        </p:txBody>
      </p:sp>
      <p:sp>
        <p:nvSpPr>
          <p:cNvPr id="3" name="Plassholder for innhold 2">
            <a:extLst>
              <a:ext uri="{FF2B5EF4-FFF2-40B4-BE49-F238E27FC236}">
                <a16:creationId xmlns:a16="http://schemas.microsoft.com/office/drawing/2014/main" id="{D33CB1C3-60CC-33D2-420E-299F4D47DFC6}"/>
              </a:ext>
            </a:extLst>
          </p:cNvPr>
          <p:cNvSpPr>
            <a:spLocks noGrp="1"/>
          </p:cNvSpPr>
          <p:nvPr>
            <p:ph sz="quarter" idx="10"/>
          </p:nvPr>
        </p:nvSpPr>
        <p:spPr>
          <a:xfrm>
            <a:off x="489282" y="1701799"/>
            <a:ext cx="8493353" cy="4399644"/>
          </a:xfrm>
        </p:spPr>
        <p:txBody>
          <a:bodyPr>
            <a:normAutofit/>
          </a:bodyPr>
          <a:lstStyle/>
          <a:p>
            <a:r>
              <a:rPr lang="nb-NO" sz="2000"/>
              <a:t>Denne PowerPoint-presentasjonen er et bibliotek med </a:t>
            </a:r>
            <a:br>
              <a:rPr lang="nb-NO" sz="2000"/>
            </a:br>
            <a:r>
              <a:rPr lang="nb-NO" sz="2000"/>
              <a:t>lysark hvor du selv kan velge det du ønsker å bruke, </a:t>
            </a:r>
            <a:br>
              <a:rPr lang="nb-NO" sz="2000"/>
            </a:br>
            <a:r>
              <a:rPr lang="nb-NO" sz="2000"/>
              <a:t>ut fra</a:t>
            </a:r>
          </a:p>
          <a:p>
            <a:pPr lvl="1"/>
            <a:r>
              <a:rPr lang="nb-NO" sz="1600"/>
              <a:t>hvor lang presentasjon du vil holde</a:t>
            </a:r>
          </a:p>
          <a:p>
            <a:pPr lvl="1"/>
            <a:r>
              <a:rPr lang="nb-NO" sz="1600"/>
              <a:t>hvilke av de sju samfunnsområdene i analysen du vil vektlegge</a:t>
            </a:r>
          </a:p>
          <a:p>
            <a:pPr lvl="1"/>
            <a:r>
              <a:rPr lang="nb-NO" sz="1600"/>
              <a:t>hvor mye refleksjon du vil legge opp til</a:t>
            </a:r>
          </a:p>
          <a:p>
            <a:pPr marL="0" indent="0">
              <a:buNone/>
            </a:pPr>
            <a:endParaRPr lang="nb-NO" sz="2000"/>
          </a:p>
          <a:p>
            <a:r>
              <a:rPr lang="nb-NO" sz="2000"/>
              <a:t>Grundige tekster i notatfeltet gjør presentasjonen enkel </a:t>
            </a:r>
            <a:br>
              <a:rPr lang="nb-NO" sz="2000"/>
            </a:br>
            <a:r>
              <a:rPr lang="nb-NO" sz="2000"/>
              <a:t>å bruke for alle.</a:t>
            </a:r>
          </a:p>
          <a:p>
            <a:pPr marL="0" indent="0">
              <a:buNone/>
            </a:pPr>
            <a:endParaRPr lang="nb-NO" sz="2000"/>
          </a:p>
          <a:p>
            <a:r>
              <a:rPr lang="nb-NO" sz="2000"/>
              <a:t>Det ligger refleksjonsspørsmål til slutt i hvert kapittel. </a:t>
            </a:r>
          </a:p>
          <a:p>
            <a:pPr lvl="1"/>
            <a:r>
              <a:rPr lang="nb-NO" sz="1600"/>
              <a:t>Disse kan brukes for å reflektere over hvordan funnene </a:t>
            </a:r>
            <a:br>
              <a:rPr lang="nb-NO" sz="1600"/>
            </a:br>
            <a:r>
              <a:rPr lang="nb-NO" sz="1600"/>
              <a:t>i analysen treffer NAV i stort og din enhet spesielt.</a:t>
            </a:r>
          </a:p>
        </p:txBody>
      </p:sp>
      <p:pic>
        <p:nvPicPr>
          <p:cNvPr id="5" name="Grafikk 4" descr="Informasjon kontur">
            <a:extLst>
              <a:ext uri="{FF2B5EF4-FFF2-40B4-BE49-F238E27FC236}">
                <a16:creationId xmlns:a16="http://schemas.microsoft.com/office/drawing/2014/main" id="{BD751BE5-AAEC-EE1F-25A2-9605AC0F5B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7330" y="2000625"/>
            <a:ext cx="3494740" cy="3494740"/>
          </a:xfrm>
          <a:prstGeom prst="rect">
            <a:avLst/>
          </a:prstGeom>
        </p:spPr>
      </p:pic>
    </p:spTree>
    <p:extLst>
      <p:ext uri="{BB962C8B-B14F-4D97-AF65-F5344CB8AC3E}">
        <p14:creationId xmlns:p14="http://schemas.microsoft.com/office/powerpoint/2010/main" val="22466454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0FC33BBB-1133-5862-36A5-1604EE4A7A62}"/>
              </a:ext>
            </a:extLst>
          </p:cNvPr>
          <p:cNvSpPr/>
          <p:nvPr/>
        </p:nvSpPr>
        <p:spPr>
          <a:xfrm>
            <a:off x="0" y="1"/>
            <a:ext cx="12192000" cy="688488"/>
          </a:xfrm>
          <a:prstGeom prst="rect">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4000">
                <a:latin typeface="Arial" panose="020B0604020202020204" pitchFamily="34" charset="0"/>
                <a:cs typeface="Arial" panose="020B0604020202020204" pitchFamily="34" charset="0"/>
              </a:rPr>
              <a:t>Spørreundersøkelse blant egne ansatte juni 2022</a:t>
            </a:r>
          </a:p>
        </p:txBody>
      </p:sp>
      <p:sp>
        <p:nvSpPr>
          <p:cNvPr id="4" name="Title 3">
            <a:extLst>
              <a:ext uri="{FF2B5EF4-FFF2-40B4-BE49-F238E27FC236}">
                <a16:creationId xmlns:a16="http://schemas.microsoft.com/office/drawing/2014/main" id="{AA5C6E26-946D-944F-9208-C70BAB71DFA9}"/>
              </a:ext>
            </a:extLst>
          </p:cNvPr>
          <p:cNvSpPr txBox="1">
            <a:spLocks/>
          </p:cNvSpPr>
          <p:nvPr/>
        </p:nvSpPr>
        <p:spPr>
          <a:xfrm>
            <a:off x="0" y="675220"/>
            <a:ext cx="12191999" cy="6884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a:lstStyle>
          <a:p>
            <a:pPr algn="ctr"/>
            <a:r>
              <a:rPr lang="nb-NO" sz="2800"/>
              <a:t>Omverdensanalysen med økende nytte og påvirkning</a:t>
            </a:r>
            <a:endParaRPr lang="nb-NO" sz="5400"/>
          </a:p>
        </p:txBody>
      </p:sp>
      <p:graphicFrame>
        <p:nvGraphicFramePr>
          <p:cNvPr id="8" name="Chart 1">
            <a:extLst>
              <a:ext uri="{FF2B5EF4-FFF2-40B4-BE49-F238E27FC236}">
                <a16:creationId xmlns:a16="http://schemas.microsoft.com/office/drawing/2014/main" id="{2BB32FEC-A32B-4FCC-B7AD-667A8D8A874A}"/>
              </a:ext>
            </a:extLst>
          </p:cNvPr>
          <p:cNvGraphicFramePr>
            <a:graphicFrameLocks/>
          </p:cNvGraphicFramePr>
          <p:nvPr>
            <p:extLst>
              <p:ext uri="{D42A27DB-BD31-4B8C-83A1-F6EECF244321}">
                <p14:modId xmlns:p14="http://schemas.microsoft.com/office/powerpoint/2010/main" val="1317607505"/>
              </p:ext>
            </p:extLst>
          </p:nvPr>
        </p:nvGraphicFramePr>
        <p:xfrm>
          <a:off x="1829696" y="1499509"/>
          <a:ext cx="8491254" cy="48831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58531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403D55B-652F-9869-E2E1-13483CFD6287}"/>
              </a:ext>
            </a:extLst>
          </p:cNvPr>
          <p:cNvSpPr>
            <a:spLocks noGrp="1"/>
          </p:cNvSpPr>
          <p:nvPr>
            <p:ph type="title"/>
          </p:nvPr>
        </p:nvSpPr>
        <p:spPr>
          <a:xfrm>
            <a:off x="901811" y="854180"/>
            <a:ext cx="3248770" cy="1777702"/>
          </a:xfrm>
        </p:spPr>
        <p:txBody>
          <a:bodyPr>
            <a:noAutofit/>
          </a:bodyPr>
          <a:lstStyle/>
          <a:p>
            <a:r>
              <a:rPr lang="nb-NO" sz="4400">
                <a:solidFill>
                  <a:schemeClr val="tx1"/>
                </a:solidFill>
              </a:rPr>
              <a:t>Vi spurte </a:t>
            </a:r>
            <a:br>
              <a:rPr lang="nb-NO" sz="4400">
                <a:solidFill>
                  <a:schemeClr val="tx1"/>
                </a:solidFill>
              </a:rPr>
            </a:br>
            <a:r>
              <a:rPr lang="nb-NO" sz="4400">
                <a:solidFill>
                  <a:schemeClr val="tx1"/>
                </a:solidFill>
              </a:rPr>
              <a:t>kunstig </a:t>
            </a:r>
            <a:br>
              <a:rPr lang="nb-NO" sz="4400">
                <a:solidFill>
                  <a:schemeClr val="tx1"/>
                </a:solidFill>
              </a:rPr>
            </a:br>
            <a:r>
              <a:rPr lang="nb-NO" sz="4400">
                <a:solidFill>
                  <a:schemeClr val="tx1"/>
                </a:solidFill>
              </a:rPr>
              <a:t>intelligens</a:t>
            </a:r>
          </a:p>
        </p:txBody>
      </p:sp>
      <p:pic>
        <p:nvPicPr>
          <p:cNvPr id="3" name="Bilde 2">
            <a:extLst>
              <a:ext uri="{FF2B5EF4-FFF2-40B4-BE49-F238E27FC236}">
                <a16:creationId xmlns:a16="http://schemas.microsoft.com/office/drawing/2014/main" id="{63AC73ED-4510-E419-1603-1DAA04A287D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09551" y="854180"/>
            <a:ext cx="7391401" cy="5326566"/>
          </a:xfrm>
          <a:prstGeom prst="rect">
            <a:avLst/>
          </a:prstGeom>
          <a:effectLst>
            <a:outerShdw blurRad="50800" dist="38100" dir="2700000" algn="tl" rotWithShape="0">
              <a:prstClr val="black">
                <a:alpha val="40000"/>
              </a:prstClr>
            </a:outerShdw>
          </a:effectLst>
        </p:spPr>
      </p:pic>
      <p:pic>
        <p:nvPicPr>
          <p:cNvPr id="5" name="Grafikk 4" descr="Robot kontur">
            <a:extLst>
              <a:ext uri="{FF2B5EF4-FFF2-40B4-BE49-F238E27FC236}">
                <a16:creationId xmlns:a16="http://schemas.microsoft.com/office/drawing/2014/main" id="{19C428FF-E241-8A77-EC91-C4D7FCF875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91472" y="2967351"/>
            <a:ext cx="1613228" cy="1613228"/>
          </a:xfrm>
          <a:prstGeom prst="rect">
            <a:avLst/>
          </a:prstGeom>
        </p:spPr>
      </p:pic>
    </p:spTree>
    <p:extLst>
      <p:ext uri="{BB962C8B-B14F-4D97-AF65-F5344CB8AC3E}">
        <p14:creationId xmlns:p14="http://schemas.microsoft.com/office/powerpoint/2010/main" val="11035665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BF128BB2-FB3B-FD1C-38C1-35DC7FD3633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637044"/>
            <a:ext cx="12192000" cy="8132088"/>
          </a:xfrm>
          <a:prstGeom prst="rect">
            <a:avLst/>
          </a:prstGeom>
        </p:spPr>
      </p:pic>
      <p:sp>
        <p:nvSpPr>
          <p:cNvPr id="2" name="Ellipse 1">
            <a:extLst>
              <a:ext uri="{FF2B5EF4-FFF2-40B4-BE49-F238E27FC236}">
                <a16:creationId xmlns:a16="http://schemas.microsoft.com/office/drawing/2014/main" id="{A3D91D93-C46B-EB73-2813-CEEB875C48CA}"/>
              </a:ext>
            </a:extLst>
          </p:cNvPr>
          <p:cNvSpPr/>
          <p:nvPr/>
        </p:nvSpPr>
        <p:spPr>
          <a:xfrm>
            <a:off x="7589764" y="315684"/>
            <a:ext cx="3520195" cy="3472543"/>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kstSylinder 6">
            <a:extLst>
              <a:ext uri="{FF2B5EF4-FFF2-40B4-BE49-F238E27FC236}">
                <a16:creationId xmlns:a16="http://schemas.microsoft.com/office/drawing/2014/main" id="{1674067F-C975-922D-7329-6B5EB4A89FFD}"/>
              </a:ext>
            </a:extLst>
          </p:cNvPr>
          <p:cNvSpPr txBox="1"/>
          <p:nvPr/>
        </p:nvSpPr>
        <p:spPr>
          <a:xfrm>
            <a:off x="7650601" y="1236347"/>
            <a:ext cx="3398520"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rbeids-marked</a:t>
            </a:r>
          </a:p>
        </p:txBody>
      </p:sp>
    </p:spTree>
    <p:extLst>
      <p:ext uri="{BB962C8B-B14F-4D97-AF65-F5344CB8AC3E}">
        <p14:creationId xmlns:p14="http://schemas.microsoft.com/office/powerpoint/2010/main" val="2665262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5DC75E4-3269-B54C-A6DE-60AFB65C8393}"/>
              </a:ext>
            </a:extLst>
          </p:cNvPr>
          <p:cNvSpPr>
            <a:spLocks noGrp="1"/>
          </p:cNvSpPr>
          <p:nvPr>
            <p:ph idx="1"/>
          </p:nvPr>
        </p:nvSpPr>
        <p:spPr>
          <a:xfrm>
            <a:off x="838200" y="1825624"/>
            <a:ext cx="5257800" cy="3954689"/>
          </a:xfrm>
        </p:spPr>
        <p:txBody>
          <a:bodyPr>
            <a:normAutofit fontScale="92500" lnSpcReduction="10000"/>
          </a:bodyPr>
          <a:lstStyle/>
          <a:p>
            <a:pPr>
              <a:buClr>
                <a:schemeClr val="tx1"/>
              </a:buClr>
            </a:pPr>
            <a:r>
              <a:rPr lang="nb-NO" b="1" noProof="0"/>
              <a:t>Teknologisk utvikling</a:t>
            </a:r>
          </a:p>
          <a:p>
            <a:pPr lvl="1">
              <a:buClr>
                <a:schemeClr val="tx1"/>
              </a:buClr>
            </a:pPr>
            <a:r>
              <a:rPr lang="nb-NO"/>
              <a:t>Skaper, fjerner og endrer jobber</a:t>
            </a:r>
          </a:p>
          <a:p>
            <a:pPr lvl="1">
              <a:buClr>
                <a:schemeClr val="tx1"/>
              </a:buClr>
            </a:pPr>
            <a:r>
              <a:rPr lang="nb-NO" noProof="0"/>
              <a:t>Endrer kompetansekrav</a:t>
            </a:r>
          </a:p>
          <a:p>
            <a:pPr lvl="1">
              <a:buClr>
                <a:schemeClr val="tx1"/>
              </a:buClr>
            </a:pPr>
            <a:r>
              <a:rPr lang="nb-NO" noProof="0"/>
              <a:t>Økte forskjeller</a:t>
            </a:r>
          </a:p>
          <a:p>
            <a:pPr lvl="1">
              <a:buClr>
                <a:schemeClr val="tx1"/>
              </a:buClr>
            </a:pPr>
            <a:r>
              <a:rPr lang="nb-NO" noProof="0"/>
              <a:t>Forbigående økt ledighet</a:t>
            </a:r>
          </a:p>
          <a:p>
            <a:pPr lvl="1"/>
            <a:endParaRPr lang="nb-NO" noProof="0"/>
          </a:p>
          <a:p>
            <a:pPr>
              <a:buClr>
                <a:schemeClr val="tx1"/>
              </a:buClr>
            </a:pPr>
            <a:r>
              <a:rPr lang="nb-NO" b="1"/>
              <a:t>Det grønne skiftet</a:t>
            </a:r>
          </a:p>
          <a:p>
            <a:pPr lvl="1">
              <a:buClr>
                <a:schemeClr val="tx1"/>
              </a:buClr>
            </a:pPr>
            <a:r>
              <a:rPr lang="nb-NO"/>
              <a:t>Skaper og fjerner jobber</a:t>
            </a:r>
          </a:p>
          <a:p>
            <a:pPr lvl="1">
              <a:buClr>
                <a:schemeClr val="tx1"/>
              </a:buClr>
            </a:pPr>
            <a:r>
              <a:rPr lang="nb-NO"/>
              <a:t>Usikker betydning for kompetansekrav</a:t>
            </a:r>
          </a:p>
          <a:p>
            <a:pPr lvl="1">
              <a:buClr>
                <a:schemeClr val="tx1"/>
              </a:buClr>
            </a:pPr>
            <a:r>
              <a:rPr lang="nb-NO"/>
              <a:t>Store regionale konsekvenser</a:t>
            </a:r>
          </a:p>
        </p:txBody>
      </p:sp>
      <p:sp>
        <p:nvSpPr>
          <p:cNvPr id="4" name="Title 3">
            <a:extLst>
              <a:ext uri="{FF2B5EF4-FFF2-40B4-BE49-F238E27FC236}">
                <a16:creationId xmlns:a16="http://schemas.microsoft.com/office/drawing/2014/main" id="{AF8FECE3-BFAF-184C-9845-D038BF8CCFD0}"/>
              </a:ext>
            </a:extLst>
          </p:cNvPr>
          <p:cNvSpPr>
            <a:spLocks noGrp="1"/>
          </p:cNvSpPr>
          <p:nvPr>
            <p:ph type="title"/>
          </p:nvPr>
        </p:nvSpPr>
        <p:spPr>
          <a:xfrm>
            <a:off x="838200" y="482400"/>
            <a:ext cx="5533571" cy="1072080"/>
          </a:xfrm>
        </p:spPr>
        <p:txBody>
          <a:bodyPr anchor="ctr">
            <a:normAutofit/>
          </a:bodyPr>
          <a:lstStyle/>
          <a:p>
            <a:r>
              <a:rPr lang="nb-NO" noProof="0">
                <a:solidFill>
                  <a:schemeClr val="tx1"/>
                </a:solidFill>
              </a:rPr>
              <a:t>To grunner til høy omstillingstakt</a:t>
            </a:r>
          </a:p>
        </p:txBody>
      </p:sp>
      <p:sp>
        <p:nvSpPr>
          <p:cNvPr id="2" name="TekstSylinder 6">
            <a:extLst>
              <a:ext uri="{FF2B5EF4-FFF2-40B4-BE49-F238E27FC236}">
                <a16:creationId xmlns:a16="http://schemas.microsoft.com/office/drawing/2014/main" id="{79D89712-16F9-8A2F-DA83-38477510C737}"/>
              </a:ext>
            </a:extLst>
          </p:cNvPr>
          <p:cNvSpPr txBox="1"/>
          <p:nvPr/>
        </p:nvSpPr>
        <p:spPr>
          <a:xfrm>
            <a:off x="9973306" y="5780313"/>
            <a:ext cx="212072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to, Colourbox</a:t>
            </a:r>
          </a:p>
        </p:txBody>
      </p:sp>
      <p:sp>
        <p:nvSpPr>
          <p:cNvPr id="3" name="Rektangel 2">
            <a:extLst>
              <a:ext uri="{FF2B5EF4-FFF2-40B4-BE49-F238E27FC236}">
                <a16:creationId xmlns:a16="http://schemas.microsoft.com/office/drawing/2014/main" id="{7734E38C-D98D-E465-8849-BE5D5286585E}"/>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 name="Bilde 6" descr="Et bilde som inneholder himmel, utendørs, solcelle, nett&#10;&#10;Automatisk generert beskrivelse">
            <a:extLst>
              <a:ext uri="{FF2B5EF4-FFF2-40B4-BE49-F238E27FC236}">
                <a16:creationId xmlns:a16="http://schemas.microsoft.com/office/drawing/2014/main" id="{FB97B8EF-879A-79AE-F99E-871CB00B47A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25412" y="1255655"/>
            <a:ext cx="5437176" cy="4321262"/>
          </a:xfrm>
          <a:prstGeom prst="rect">
            <a:avLst/>
          </a:prstGeom>
        </p:spPr>
      </p:pic>
    </p:spTree>
    <p:extLst>
      <p:ext uri="{BB962C8B-B14F-4D97-AF65-F5344CB8AC3E}">
        <p14:creationId xmlns:p14="http://schemas.microsoft.com/office/powerpoint/2010/main" val="34604811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3">
            <a:extLst>
              <a:ext uri="{FF2B5EF4-FFF2-40B4-BE49-F238E27FC236}">
                <a16:creationId xmlns:a16="http://schemas.microsoft.com/office/drawing/2014/main" id="{F2605B76-6CF5-85AC-779E-15D2C1FDF24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610180" y="1575962"/>
            <a:ext cx="4022559" cy="4022559"/>
          </a:xfrm>
          <a:prstGeom prst="rect">
            <a:avLst/>
          </a:prstGeom>
          <a:effectLst>
            <a:outerShdw blurRad="50800" dist="38100" dir="2700000" algn="tl" rotWithShape="0">
              <a:prstClr val="black">
                <a:alpha val="40000"/>
              </a:prstClr>
            </a:outerShdw>
          </a:effectLst>
        </p:spPr>
      </p:pic>
      <p:grpSp>
        <p:nvGrpSpPr>
          <p:cNvPr id="3" name="Group 11">
            <a:extLst>
              <a:ext uri="{FF2B5EF4-FFF2-40B4-BE49-F238E27FC236}">
                <a16:creationId xmlns:a16="http://schemas.microsoft.com/office/drawing/2014/main" id="{265EE70D-EDB7-C628-CE0A-C8CA5B7F7A75}"/>
              </a:ext>
            </a:extLst>
          </p:cNvPr>
          <p:cNvGrpSpPr/>
          <p:nvPr/>
        </p:nvGrpSpPr>
        <p:grpSpPr>
          <a:xfrm>
            <a:off x="4666650" y="2095110"/>
            <a:ext cx="6475045" cy="1298987"/>
            <a:chOff x="4005385" y="603304"/>
            <a:chExt cx="6475045" cy="1298987"/>
          </a:xfrm>
        </p:grpSpPr>
        <p:grpSp>
          <p:nvGrpSpPr>
            <p:cNvPr id="4" name="Group 9">
              <a:extLst>
                <a:ext uri="{FF2B5EF4-FFF2-40B4-BE49-F238E27FC236}">
                  <a16:creationId xmlns:a16="http://schemas.microsoft.com/office/drawing/2014/main" id="{C6D70DC4-0FB0-8677-A74D-192ECBDC80A9}"/>
                </a:ext>
              </a:extLst>
            </p:cNvPr>
            <p:cNvGrpSpPr/>
            <p:nvPr/>
          </p:nvGrpSpPr>
          <p:grpSpPr>
            <a:xfrm>
              <a:off x="4005385" y="603304"/>
              <a:ext cx="6475045" cy="1298987"/>
              <a:chOff x="4005385" y="603304"/>
              <a:chExt cx="6475045" cy="1298987"/>
            </a:xfrm>
          </p:grpSpPr>
          <p:sp>
            <p:nvSpPr>
              <p:cNvPr id="6" name="Rectangle 31">
                <a:extLst>
                  <a:ext uri="{FF2B5EF4-FFF2-40B4-BE49-F238E27FC236}">
                    <a16:creationId xmlns:a16="http://schemas.microsoft.com/office/drawing/2014/main" id="{53C8F3CC-AB5C-502D-5B24-A33E086BBFDB}"/>
                  </a:ext>
                </a:extLst>
              </p:cNvPr>
              <p:cNvSpPr/>
              <p:nvPr/>
            </p:nvSpPr>
            <p:spPr>
              <a:xfrm>
                <a:off x="4666651" y="733122"/>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 name="Group 1">
                <a:extLst>
                  <a:ext uri="{FF2B5EF4-FFF2-40B4-BE49-F238E27FC236}">
                    <a16:creationId xmlns:a16="http://schemas.microsoft.com/office/drawing/2014/main" id="{83EE939D-E533-145F-B0CE-7D58345ACB61}"/>
                  </a:ext>
                </a:extLst>
              </p:cNvPr>
              <p:cNvGrpSpPr/>
              <p:nvPr/>
            </p:nvGrpSpPr>
            <p:grpSpPr>
              <a:xfrm>
                <a:off x="4005385" y="603304"/>
                <a:ext cx="1298987" cy="1298987"/>
                <a:chOff x="4005385" y="603304"/>
                <a:chExt cx="1298987" cy="1298987"/>
              </a:xfrm>
            </p:grpSpPr>
            <p:pic>
              <p:nvPicPr>
                <p:cNvPr id="8" name="Graphic 10">
                  <a:extLst>
                    <a:ext uri="{FF2B5EF4-FFF2-40B4-BE49-F238E27FC236}">
                      <a16:creationId xmlns:a16="http://schemas.microsoft.com/office/drawing/2014/main" id="{0E3CCA05-F413-B2C6-8FFE-252B78C1D42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005385" y="603304"/>
                  <a:ext cx="1298987" cy="1298987"/>
                </a:xfrm>
                <a:prstGeom prst="rect">
                  <a:avLst/>
                </a:prstGeom>
                <a:effectLst>
                  <a:outerShdw blurRad="50800" dist="38100" dir="2700000" algn="tl" rotWithShape="0">
                    <a:prstClr val="black">
                      <a:alpha val="40000"/>
                    </a:prstClr>
                  </a:outerShdw>
                </a:effectLst>
              </p:spPr>
            </p:pic>
            <p:pic>
              <p:nvPicPr>
                <p:cNvPr id="9" name="Graphic 24" descr="Kvinne med stav med heldekkende fyll">
                  <a:extLst>
                    <a:ext uri="{FF2B5EF4-FFF2-40B4-BE49-F238E27FC236}">
                      <a16:creationId xmlns:a16="http://schemas.microsoft.com/office/drawing/2014/main" id="{1965E932-15BB-1029-976C-022A83E0496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265109" y="851255"/>
                  <a:ext cx="776239" cy="776239"/>
                </a:xfrm>
                <a:prstGeom prst="rect">
                  <a:avLst/>
                </a:prstGeom>
              </p:spPr>
            </p:pic>
          </p:grpSp>
        </p:grpSp>
        <p:sp>
          <p:nvSpPr>
            <p:cNvPr id="5" name="TextBox 26">
              <a:extLst>
                <a:ext uri="{FF2B5EF4-FFF2-40B4-BE49-F238E27FC236}">
                  <a16:creationId xmlns:a16="http://schemas.microsoft.com/office/drawing/2014/main" id="{DCEF4EA1-FBB2-D222-A90C-D12ED0D440BA}"/>
                </a:ext>
              </a:extLst>
            </p:cNvPr>
            <p:cNvSpPr txBox="1"/>
            <p:nvPr/>
          </p:nvSpPr>
          <p:spPr>
            <a:xfrm>
              <a:off x="5564546" y="935347"/>
              <a:ext cx="4770301" cy="707886"/>
            </a:xfrm>
            <a:prstGeom prst="rect">
              <a:avLst/>
            </a:prstGeom>
            <a:noFill/>
          </p:spPr>
          <p:txBody>
            <a:bodyPr wrap="square">
              <a:spAutoFit/>
            </a:bodyPr>
            <a:lstStyle/>
            <a:p>
              <a:r>
                <a:rPr lang="nb-NO" sz="2000">
                  <a:latin typeface="Arial" panose="020B0604020202020204" pitchFamily="34" charset="0"/>
                  <a:cs typeface="Arial" panose="020B0604020202020204" pitchFamily="34" charset="0"/>
                </a:rPr>
                <a:t>Aldringen av befolkningen gir svakere vekstutsikter også på lengre sikt</a:t>
              </a:r>
              <a:endParaRPr lang="en-US" sz="2000">
                <a:latin typeface="Arial" panose="020B0604020202020204" pitchFamily="34" charset="0"/>
                <a:cs typeface="Arial" panose="020B0604020202020204" pitchFamily="34" charset="0"/>
              </a:endParaRPr>
            </a:p>
          </p:txBody>
        </p:sp>
      </p:grpSp>
      <p:grpSp>
        <p:nvGrpSpPr>
          <p:cNvPr id="10" name="Group 12">
            <a:extLst>
              <a:ext uri="{FF2B5EF4-FFF2-40B4-BE49-F238E27FC236}">
                <a16:creationId xmlns:a16="http://schemas.microsoft.com/office/drawing/2014/main" id="{A594FCD0-5F95-98F0-689B-130D7ECD8FE7}"/>
              </a:ext>
            </a:extLst>
          </p:cNvPr>
          <p:cNvGrpSpPr/>
          <p:nvPr/>
        </p:nvGrpSpPr>
        <p:grpSpPr>
          <a:xfrm>
            <a:off x="4007526" y="400669"/>
            <a:ext cx="6472903" cy="1298987"/>
            <a:chOff x="4790831" y="2188446"/>
            <a:chExt cx="6327320" cy="1298987"/>
          </a:xfrm>
        </p:grpSpPr>
        <p:grpSp>
          <p:nvGrpSpPr>
            <p:cNvPr id="11" name="Group 8">
              <a:extLst>
                <a:ext uri="{FF2B5EF4-FFF2-40B4-BE49-F238E27FC236}">
                  <a16:creationId xmlns:a16="http://schemas.microsoft.com/office/drawing/2014/main" id="{036FDB77-0EBF-1DCD-FF1D-C52390F09368}"/>
                </a:ext>
              </a:extLst>
            </p:cNvPr>
            <p:cNvGrpSpPr/>
            <p:nvPr/>
          </p:nvGrpSpPr>
          <p:grpSpPr>
            <a:xfrm>
              <a:off x="4790831" y="2188446"/>
              <a:ext cx="6327320" cy="1298987"/>
              <a:chOff x="4790831" y="2188446"/>
              <a:chExt cx="6327320" cy="1298987"/>
            </a:xfrm>
          </p:grpSpPr>
          <p:sp>
            <p:nvSpPr>
              <p:cNvPr id="13" name="Rectangle 32">
                <a:extLst>
                  <a:ext uri="{FF2B5EF4-FFF2-40B4-BE49-F238E27FC236}">
                    <a16:creationId xmlns:a16="http://schemas.microsoft.com/office/drawing/2014/main" id="{19E8149F-9F75-F718-7BC3-1931C568E203}"/>
                  </a:ext>
                </a:extLst>
              </p:cNvPr>
              <p:cNvSpPr/>
              <p:nvPr/>
            </p:nvSpPr>
            <p:spPr>
              <a:xfrm>
                <a:off x="5304372" y="2331359"/>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5" name="Graphic 14">
                <a:extLst>
                  <a:ext uri="{FF2B5EF4-FFF2-40B4-BE49-F238E27FC236}">
                    <a16:creationId xmlns:a16="http://schemas.microsoft.com/office/drawing/2014/main" id="{A6E64118-34D8-661B-1836-64BD399D01F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790831" y="2188446"/>
                <a:ext cx="1298987" cy="1298987"/>
              </a:xfrm>
              <a:prstGeom prst="rect">
                <a:avLst/>
              </a:prstGeom>
              <a:effectLst>
                <a:outerShdw blurRad="50800" dist="38100" dir="2700000" algn="tl" rotWithShape="0">
                  <a:prstClr val="black">
                    <a:alpha val="40000"/>
                  </a:prstClr>
                </a:outerShdw>
              </a:effectLst>
            </p:spPr>
          </p:pic>
        </p:grpSp>
        <p:sp>
          <p:nvSpPr>
            <p:cNvPr id="12" name="TextBox 27">
              <a:extLst>
                <a:ext uri="{FF2B5EF4-FFF2-40B4-BE49-F238E27FC236}">
                  <a16:creationId xmlns:a16="http://schemas.microsoft.com/office/drawing/2014/main" id="{91F84C3A-0125-0C3D-DF26-ECAE6B8899E6}"/>
                </a:ext>
              </a:extLst>
            </p:cNvPr>
            <p:cNvSpPr txBox="1"/>
            <p:nvPr/>
          </p:nvSpPr>
          <p:spPr>
            <a:xfrm>
              <a:off x="6225770" y="2500268"/>
              <a:ext cx="4220749" cy="707886"/>
            </a:xfrm>
            <a:prstGeom prst="rect">
              <a:avLst/>
            </a:prstGeom>
            <a:noFill/>
          </p:spPr>
          <p:txBody>
            <a:bodyPr wrap="square">
              <a:spAutoFit/>
            </a:bodyPr>
            <a:lstStyle/>
            <a:p>
              <a:pPr>
                <a:buClrTx/>
              </a:pPr>
              <a:r>
                <a:rPr lang="nb-NO" sz="2000">
                  <a:latin typeface="Arial" panose="020B0604020202020204" pitchFamily="34" charset="0"/>
                  <a:cs typeface="Arial" panose="020B0604020202020204" pitchFamily="34" charset="0"/>
                </a:rPr>
                <a:t>Lav arbeidsledighet, men svekkede vekstutsikter på kort sikt</a:t>
              </a:r>
            </a:p>
          </p:txBody>
        </p:sp>
      </p:grpSp>
      <p:grpSp>
        <p:nvGrpSpPr>
          <p:cNvPr id="17" name="Group 13">
            <a:extLst>
              <a:ext uri="{FF2B5EF4-FFF2-40B4-BE49-F238E27FC236}">
                <a16:creationId xmlns:a16="http://schemas.microsoft.com/office/drawing/2014/main" id="{CB135247-6BEF-B171-5C83-8E0ADD2FF87F}"/>
              </a:ext>
            </a:extLst>
          </p:cNvPr>
          <p:cNvGrpSpPr/>
          <p:nvPr/>
        </p:nvGrpSpPr>
        <p:grpSpPr>
          <a:xfrm>
            <a:off x="4790831" y="3773589"/>
            <a:ext cx="6327319" cy="1298987"/>
            <a:chOff x="4790831" y="3773589"/>
            <a:chExt cx="6327319" cy="1298987"/>
          </a:xfrm>
        </p:grpSpPr>
        <p:grpSp>
          <p:nvGrpSpPr>
            <p:cNvPr id="18" name="Group 7">
              <a:extLst>
                <a:ext uri="{FF2B5EF4-FFF2-40B4-BE49-F238E27FC236}">
                  <a16:creationId xmlns:a16="http://schemas.microsoft.com/office/drawing/2014/main" id="{7FABC7B6-8501-9BB0-E45B-E212EB18200D}"/>
                </a:ext>
              </a:extLst>
            </p:cNvPr>
            <p:cNvGrpSpPr/>
            <p:nvPr/>
          </p:nvGrpSpPr>
          <p:grpSpPr>
            <a:xfrm>
              <a:off x="4790831" y="3773589"/>
              <a:ext cx="6327319" cy="1298987"/>
              <a:chOff x="4790831" y="3773589"/>
              <a:chExt cx="6327319" cy="1298987"/>
            </a:xfrm>
          </p:grpSpPr>
          <p:sp>
            <p:nvSpPr>
              <p:cNvPr id="20" name="Rectangle 33">
                <a:extLst>
                  <a:ext uri="{FF2B5EF4-FFF2-40B4-BE49-F238E27FC236}">
                    <a16:creationId xmlns:a16="http://schemas.microsoft.com/office/drawing/2014/main" id="{1760EF49-99B4-D6AF-B4BB-EA22F519766F}"/>
                  </a:ext>
                </a:extLst>
              </p:cNvPr>
              <p:cNvSpPr/>
              <p:nvPr/>
            </p:nvSpPr>
            <p:spPr>
              <a:xfrm>
                <a:off x="5304371" y="3929596"/>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2" name="Graphic 15">
                <a:extLst>
                  <a:ext uri="{FF2B5EF4-FFF2-40B4-BE49-F238E27FC236}">
                    <a16:creationId xmlns:a16="http://schemas.microsoft.com/office/drawing/2014/main" id="{9B92B46E-CB50-F9A8-AE28-FBF002AD7E9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790831" y="3773589"/>
                <a:ext cx="1298987" cy="1298987"/>
              </a:xfrm>
              <a:prstGeom prst="rect">
                <a:avLst/>
              </a:prstGeom>
              <a:effectLst>
                <a:outerShdw blurRad="50800" dist="38100" dir="2700000" algn="tl" rotWithShape="0">
                  <a:prstClr val="black">
                    <a:alpha val="40000"/>
                  </a:prstClr>
                </a:outerShdw>
              </a:effectLst>
            </p:spPr>
          </p:pic>
        </p:grpSp>
        <p:sp>
          <p:nvSpPr>
            <p:cNvPr id="19" name="TextBox 28">
              <a:extLst>
                <a:ext uri="{FF2B5EF4-FFF2-40B4-BE49-F238E27FC236}">
                  <a16:creationId xmlns:a16="http://schemas.microsoft.com/office/drawing/2014/main" id="{D7E9FF36-C643-F9F2-C035-FB1A0386CFE5}"/>
                </a:ext>
              </a:extLst>
            </p:cNvPr>
            <p:cNvSpPr txBox="1"/>
            <p:nvPr/>
          </p:nvSpPr>
          <p:spPr>
            <a:xfrm>
              <a:off x="6225770" y="4230827"/>
              <a:ext cx="4655083" cy="400110"/>
            </a:xfrm>
            <a:prstGeom prst="rect">
              <a:avLst/>
            </a:prstGeom>
            <a:noFill/>
          </p:spPr>
          <p:txBody>
            <a:bodyPr wrap="square">
              <a:spAutoFit/>
            </a:bodyPr>
            <a:lstStyle/>
            <a:p>
              <a:pPr>
                <a:buClrTx/>
              </a:pPr>
              <a:r>
                <a:rPr lang="nb-NO" sz="2000">
                  <a:latin typeface="Arial" panose="020B0604020202020204" pitchFamily="34" charset="0"/>
                  <a:cs typeface="Arial" panose="020B0604020202020204" pitchFamily="34" charset="0"/>
                </a:rPr>
                <a:t>Lavere produktivitetsvekst i rike land</a:t>
              </a:r>
            </a:p>
          </p:txBody>
        </p:sp>
      </p:grpSp>
      <p:grpSp>
        <p:nvGrpSpPr>
          <p:cNvPr id="24" name="Group 35">
            <a:extLst>
              <a:ext uri="{FF2B5EF4-FFF2-40B4-BE49-F238E27FC236}">
                <a16:creationId xmlns:a16="http://schemas.microsoft.com/office/drawing/2014/main" id="{B8E6F1D7-0D9F-C7B0-7784-20A5F04AE8EA}"/>
              </a:ext>
            </a:extLst>
          </p:cNvPr>
          <p:cNvGrpSpPr/>
          <p:nvPr/>
        </p:nvGrpSpPr>
        <p:grpSpPr>
          <a:xfrm>
            <a:off x="4005385" y="5250705"/>
            <a:ext cx="6475045" cy="1298987"/>
            <a:chOff x="4005385" y="5250705"/>
            <a:chExt cx="6475045" cy="1298987"/>
          </a:xfrm>
        </p:grpSpPr>
        <p:grpSp>
          <p:nvGrpSpPr>
            <p:cNvPr id="25" name="Group 6">
              <a:extLst>
                <a:ext uri="{FF2B5EF4-FFF2-40B4-BE49-F238E27FC236}">
                  <a16:creationId xmlns:a16="http://schemas.microsoft.com/office/drawing/2014/main" id="{FED607C4-36EC-DD46-04AA-0F595BDD56FC}"/>
                </a:ext>
              </a:extLst>
            </p:cNvPr>
            <p:cNvGrpSpPr/>
            <p:nvPr/>
          </p:nvGrpSpPr>
          <p:grpSpPr>
            <a:xfrm>
              <a:off x="4005385" y="5250705"/>
              <a:ext cx="6475045" cy="1298987"/>
              <a:chOff x="4005385" y="5250705"/>
              <a:chExt cx="6475045" cy="1298987"/>
            </a:xfrm>
          </p:grpSpPr>
          <p:sp>
            <p:nvSpPr>
              <p:cNvPr id="27" name="Rectangle 34">
                <a:extLst>
                  <a:ext uri="{FF2B5EF4-FFF2-40B4-BE49-F238E27FC236}">
                    <a16:creationId xmlns:a16="http://schemas.microsoft.com/office/drawing/2014/main" id="{C854C50F-8AA3-6BD2-2DEC-1C3E061B889B}"/>
                  </a:ext>
                </a:extLst>
              </p:cNvPr>
              <p:cNvSpPr/>
              <p:nvPr/>
            </p:nvSpPr>
            <p:spPr>
              <a:xfrm>
                <a:off x="4666651" y="5395235"/>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9" name="Graphic 16">
                <a:extLst>
                  <a:ext uri="{FF2B5EF4-FFF2-40B4-BE49-F238E27FC236}">
                    <a16:creationId xmlns:a16="http://schemas.microsoft.com/office/drawing/2014/main" id="{E16DCF32-E173-2BB6-B146-B49B49D651A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005385" y="5250705"/>
                <a:ext cx="1298987" cy="1298987"/>
              </a:xfrm>
              <a:prstGeom prst="rect">
                <a:avLst/>
              </a:prstGeom>
              <a:effectLst>
                <a:outerShdw blurRad="50800" dist="38100" dir="2700000" algn="tl" rotWithShape="0">
                  <a:prstClr val="black">
                    <a:alpha val="40000"/>
                  </a:prstClr>
                </a:outerShdw>
              </a:effectLst>
            </p:spPr>
          </p:pic>
        </p:grpSp>
        <p:sp>
          <p:nvSpPr>
            <p:cNvPr id="26" name="TextBox 29">
              <a:extLst>
                <a:ext uri="{FF2B5EF4-FFF2-40B4-BE49-F238E27FC236}">
                  <a16:creationId xmlns:a16="http://schemas.microsoft.com/office/drawing/2014/main" id="{0C3668D6-1C1A-2998-F9EE-59FDDA51281C}"/>
                </a:ext>
              </a:extLst>
            </p:cNvPr>
            <p:cNvSpPr txBox="1"/>
            <p:nvPr/>
          </p:nvSpPr>
          <p:spPr>
            <a:xfrm>
              <a:off x="5559681" y="5715532"/>
              <a:ext cx="4775166" cy="400110"/>
            </a:xfrm>
            <a:prstGeom prst="rect">
              <a:avLst/>
            </a:prstGeom>
            <a:noFill/>
          </p:spPr>
          <p:txBody>
            <a:bodyPr wrap="square">
              <a:spAutoFit/>
            </a:bodyPr>
            <a:lstStyle/>
            <a:p>
              <a:pPr>
                <a:buClrTx/>
              </a:pPr>
              <a:r>
                <a:rPr lang="nb-NO" sz="2000">
                  <a:latin typeface="Arial" panose="020B0604020202020204" pitchFamily="34" charset="0"/>
                  <a:cs typeface="Arial" panose="020B0604020202020204" pitchFamily="34" charset="0"/>
                </a:rPr>
                <a:t>Vi er mer sårbare enn vi trodde</a:t>
              </a:r>
            </a:p>
          </p:txBody>
        </p:sp>
      </p:grpSp>
      <p:sp>
        <p:nvSpPr>
          <p:cNvPr id="31" name="TextBox 30">
            <a:extLst>
              <a:ext uri="{FF2B5EF4-FFF2-40B4-BE49-F238E27FC236}">
                <a16:creationId xmlns:a16="http://schemas.microsoft.com/office/drawing/2014/main" id="{0409E3C1-F3C4-839C-DECB-FF50E0F6B98E}"/>
              </a:ext>
            </a:extLst>
          </p:cNvPr>
          <p:cNvSpPr txBox="1"/>
          <p:nvPr/>
        </p:nvSpPr>
        <p:spPr>
          <a:xfrm>
            <a:off x="857332" y="3065398"/>
            <a:ext cx="3549143" cy="1569660"/>
          </a:xfrm>
          <a:prstGeom prst="rect">
            <a:avLst/>
          </a:prstGeom>
          <a:noFill/>
        </p:spPr>
        <p:txBody>
          <a:bodyPr wrap="square" rtlCol="0">
            <a:spAutoFit/>
          </a:bodyPr>
          <a:lstStyle/>
          <a:p>
            <a:pPr algn="ctr"/>
            <a:r>
              <a:rPr lang="nb-NO" sz="2400" dirty="0">
                <a:solidFill>
                  <a:schemeClr val="bg1"/>
                </a:solidFill>
                <a:latin typeface="Arial" panose="020B0604020202020204" pitchFamily="34" charset="0"/>
                <a:cs typeface="Arial" panose="020B0604020202020204" pitchFamily="34" charset="0"/>
              </a:rPr>
              <a:t>Svakere internasjonal vekst og sårbarheter i den globaliserte økonomien</a:t>
            </a:r>
            <a:endParaRPr lang="en-IN" sz="2400" b="1" dirty="0">
              <a:solidFill>
                <a:schemeClr val="bg1"/>
              </a:solidFill>
              <a:latin typeface="Arial" panose="020B0604020202020204" pitchFamily="34" charset="0"/>
              <a:cs typeface="Arial" panose="020B0604020202020204" pitchFamily="34" charset="0"/>
            </a:endParaRPr>
          </a:p>
        </p:txBody>
      </p:sp>
      <p:pic>
        <p:nvPicPr>
          <p:cNvPr id="32" name="Graphic 19" descr="Plaster med heldekkende fyll">
            <a:extLst>
              <a:ext uri="{FF2B5EF4-FFF2-40B4-BE49-F238E27FC236}">
                <a16:creationId xmlns:a16="http://schemas.microsoft.com/office/drawing/2014/main" id="{98A72624-0FE4-1736-A5DB-F788EC1CCD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265109" y="5498656"/>
            <a:ext cx="803083" cy="803083"/>
          </a:xfrm>
          <a:prstGeom prst="rect">
            <a:avLst/>
          </a:prstGeom>
        </p:spPr>
      </p:pic>
      <p:sp>
        <p:nvSpPr>
          <p:cNvPr id="14" name="Rectangle 15">
            <a:extLst>
              <a:ext uri="{FF2B5EF4-FFF2-40B4-BE49-F238E27FC236}">
                <a16:creationId xmlns:a16="http://schemas.microsoft.com/office/drawing/2014/main" id="{0D7A2CA0-A9F5-1685-10A7-ACED53BA0CFF}"/>
              </a:ext>
            </a:extLst>
          </p:cNvPr>
          <p:cNvSpPr/>
          <p:nvPr/>
        </p:nvSpPr>
        <p:spPr>
          <a:xfrm rot="5400000">
            <a:off x="5128297" y="4120621"/>
            <a:ext cx="640553" cy="604589"/>
          </a:xfrm>
          <a:custGeom>
            <a:avLst/>
            <a:gdLst/>
            <a:ahLst/>
            <a:cxnLst/>
            <a:rect l="l" t="t" r="r" b="b"/>
            <a:pathLst>
              <a:path w="3244313" h="3240000">
                <a:moveTo>
                  <a:pt x="2055482" y="677891"/>
                </a:moveTo>
                <a:lnTo>
                  <a:pt x="2055482" y="209891"/>
                </a:lnTo>
                <a:lnTo>
                  <a:pt x="2919482" y="209891"/>
                </a:lnTo>
                <a:lnTo>
                  <a:pt x="2919482" y="677891"/>
                </a:lnTo>
                <a:close/>
                <a:moveTo>
                  <a:pt x="1695482" y="1397971"/>
                </a:moveTo>
                <a:lnTo>
                  <a:pt x="1695482" y="929971"/>
                </a:lnTo>
                <a:lnTo>
                  <a:pt x="2919482" y="929971"/>
                </a:lnTo>
                <a:lnTo>
                  <a:pt x="2919482" y="1397971"/>
                </a:lnTo>
                <a:close/>
                <a:moveTo>
                  <a:pt x="1335482" y="2118051"/>
                </a:moveTo>
                <a:lnTo>
                  <a:pt x="1335482" y="1650051"/>
                </a:lnTo>
                <a:lnTo>
                  <a:pt x="2919482" y="1650051"/>
                </a:lnTo>
                <a:lnTo>
                  <a:pt x="2919482" y="2118051"/>
                </a:lnTo>
                <a:close/>
                <a:moveTo>
                  <a:pt x="975482" y="2838131"/>
                </a:moveTo>
                <a:lnTo>
                  <a:pt x="975482" y="2370131"/>
                </a:lnTo>
                <a:lnTo>
                  <a:pt x="2919482" y="2370131"/>
                </a:lnTo>
                <a:lnTo>
                  <a:pt x="2919482" y="2838131"/>
                </a:lnTo>
                <a:close/>
                <a:moveTo>
                  <a:pt x="10788" y="2651034"/>
                </a:moveTo>
                <a:lnTo>
                  <a:pt x="1168116" y="646484"/>
                </a:lnTo>
                <a:lnTo>
                  <a:pt x="1038664" y="571745"/>
                </a:lnTo>
                <a:lnTo>
                  <a:pt x="1533856" y="311959"/>
                </a:lnTo>
                <a:lnTo>
                  <a:pt x="1556471" y="870701"/>
                </a:lnTo>
                <a:lnTo>
                  <a:pt x="1427019" y="795962"/>
                </a:lnTo>
                <a:lnTo>
                  <a:pt x="269691" y="2800512"/>
                </a:lnTo>
                <a:close/>
                <a:moveTo>
                  <a:pt x="0" y="3240000"/>
                </a:moveTo>
                <a:lnTo>
                  <a:pt x="0" y="3060000"/>
                </a:lnTo>
                <a:lnTo>
                  <a:pt x="3064313" y="3060000"/>
                </a:lnTo>
                <a:lnTo>
                  <a:pt x="3064313" y="0"/>
                </a:lnTo>
                <a:lnTo>
                  <a:pt x="3244313" y="0"/>
                </a:lnTo>
                <a:lnTo>
                  <a:pt x="3244313" y="3240000"/>
                </a:lnTo>
                <a:lnTo>
                  <a:pt x="3240000" y="3240000"/>
                </a:lnTo>
                <a:lnTo>
                  <a:pt x="3064313" y="3240000"/>
                </a:lnTo>
                <a:close/>
              </a:path>
            </a:pathLst>
          </a:cu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pic>
        <p:nvPicPr>
          <p:cNvPr id="16" name="Graphic 24" descr="Arbeid med heldekkende fyll">
            <a:extLst>
              <a:ext uri="{FF2B5EF4-FFF2-40B4-BE49-F238E27FC236}">
                <a16:creationId xmlns:a16="http://schemas.microsoft.com/office/drawing/2014/main" id="{A91D8196-6545-488D-B567-15FAD4B9FBA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4284888" y="624362"/>
            <a:ext cx="776239" cy="776239"/>
          </a:xfrm>
          <a:prstGeom prst="rect">
            <a:avLst/>
          </a:prstGeom>
        </p:spPr>
      </p:pic>
    </p:spTree>
    <p:extLst>
      <p:ext uri="{BB962C8B-B14F-4D97-AF65-F5344CB8AC3E}">
        <p14:creationId xmlns:p14="http://schemas.microsoft.com/office/powerpoint/2010/main" val="1469400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282A213-7FB4-C547-906D-0964F8F27C7C}"/>
              </a:ext>
            </a:extLst>
          </p:cNvPr>
          <p:cNvSpPr>
            <a:spLocks noGrp="1"/>
          </p:cNvSpPr>
          <p:nvPr>
            <p:ph idx="1"/>
          </p:nvPr>
        </p:nvSpPr>
        <p:spPr>
          <a:xfrm>
            <a:off x="838200" y="1554480"/>
            <a:ext cx="4602933" cy="5024450"/>
          </a:xfrm>
        </p:spPr>
        <p:txBody>
          <a:bodyPr>
            <a:normAutofit/>
          </a:bodyPr>
          <a:lstStyle/>
          <a:p>
            <a:pPr>
              <a:lnSpc>
                <a:spcPct val="100000"/>
              </a:lnSpc>
            </a:pPr>
            <a:r>
              <a:rPr lang="nb-NO" sz="2000" noProof="0"/>
              <a:t>Størst vekst i tjenesteytende næringer i privat og offentlig sektor</a:t>
            </a:r>
          </a:p>
          <a:p>
            <a:pPr marL="0" indent="0">
              <a:lnSpc>
                <a:spcPct val="100000"/>
              </a:lnSpc>
              <a:buNone/>
            </a:pPr>
            <a:endParaRPr lang="nb-NO" sz="2000" noProof="0"/>
          </a:p>
          <a:p>
            <a:pPr>
              <a:lnSpc>
                <a:spcPct val="100000"/>
              </a:lnSpc>
            </a:pPr>
            <a:r>
              <a:rPr lang="nb-NO" sz="2000" noProof="0"/>
              <a:t>Færre sysselsatte i oljenæringen, varehandel og (mer usikkert) industri</a:t>
            </a:r>
          </a:p>
          <a:p>
            <a:pPr>
              <a:lnSpc>
                <a:spcPct val="100000"/>
              </a:lnSpc>
            </a:pPr>
            <a:endParaRPr lang="nb-NO" sz="2000" noProof="0"/>
          </a:p>
          <a:p>
            <a:pPr>
              <a:lnSpc>
                <a:spcPct val="100000"/>
              </a:lnSpc>
            </a:pPr>
            <a:r>
              <a:rPr lang="nb-NO" sz="2000" noProof="0"/>
              <a:t>Økte kompetansekrav</a:t>
            </a:r>
          </a:p>
          <a:p>
            <a:pPr marL="0" lvl="0" indent="0">
              <a:lnSpc>
                <a:spcPct val="100000"/>
              </a:lnSpc>
              <a:buClr>
                <a:srgbClr val="C30000"/>
              </a:buClr>
              <a:buNone/>
            </a:pPr>
            <a:endParaRPr lang="nb-NO" sz="2000">
              <a:solidFill>
                <a:srgbClr val="000000"/>
              </a:solidFill>
            </a:endParaRPr>
          </a:p>
          <a:p>
            <a:pPr lvl="0">
              <a:lnSpc>
                <a:spcPct val="100000"/>
              </a:lnSpc>
              <a:buClrTx/>
            </a:pPr>
            <a:r>
              <a:rPr lang="nb-NO" sz="2000">
                <a:solidFill>
                  <a:srgbClr val="000000"/>
                </a:solidFill>
              </a:rPr>
              <a:t>Stor mangel på</a:t>
            </a:r>
          </a:p>
          <a:p>
            <a:pPr lvl="1">
              <a:lnSpc>
                <a:spcPct val="100000"/>
              </a:lnSpc>
              <a:buClrTx/>
            </a:pPr>
            <a:r>
              <a:rPr lang="nb-NO" sz="1600">
                <a:solidFill>
                  <a:srgbClr val="000000"/>
                </a:solidFill>
              </a:rPr>
              <a:t>Helsearbeidere på alle utdanningsnivåer</a:t>
            </a:r>
          </a:p>
          <a:p>
            <a:pPr lvl="1">
              <a:lnSpc>
                <a:spcPct val="100000"/>
              </a:lnSpc>
              <a:buClrTx/>
            </a:pPr>
            <a:r>
              <a:rPr lang="nb-NO" sz="1600">
                <a:solidFill>
                  <a:srgbClr val="000000"/>
                </a:solidFill>
              </a:rPr>
              <a:t>Yrker som krever fagbrev – spesielt innen helsefag og håndverksfag</a:t>
            </a:r>
          </a:p>
          <a:p>
            <a:pPr lvl="1">
              <a:lnSpc>
                <a:spcPct val="100000"/>
              </a:lnSpc>
              <a:buClrTx/>
            </a:pPr>
            <a:r>
              <a:rPr lang="nb-NO" sz="1600">
                <a:solidFill>
                  <a:srgbClr val="000000"/>
                </a:solidFill>
              </a:rPr>
              <a:t>IKT-kompetanse</a:t>
            </a:r>
          </a:p>
          <a:p>
            <a:pPr>
              <a:lnSpc>
                <a:spcPct val="170000"/>
              </a:lnSpc>
            </a:pPr>
            <a:endParaRPr lang="nb-NO" sz="2400" noProof="0"/>
          </a:p>
        </p:txBody>
      </p:sp>
      <p:sp>
        <p:nvSpPr>
          <p:cNvPr id="5" name="Title 4">
            <a:extLst>
              <a:ext uri="{FF2B5EF4-FFF2-40B4-BE49-F238E27FC236}">
                <a16:creationId xmlns:a16="http://schemas.microsoft.com/office/drawing/2014/main" id="{250A9662-B78F-3C42-B68B-BF9094B089E0}"/>
              </a:ext>
            </a:extLst>
          </p:cNvPr>
          <p:cNvSpPr>
            <a:spLocks noGrp="1"/>
          </p:cNvSpPr>
          <p:nvPr>
            <p:ph type="title"/>
          </p:nvPr>
        </p:nvSpPr>
        <p:spPr>
          <a:xfrm>
            <a:off x="838200" y="482400"/>
            <a:ext cx="8550349" cy="1072080"/>
          </a:xfrm>
        </p:spPr>
        <p:txBody>
          <a:bodyPr/>
          <a:lstStyle/>
          <a:p>
            <a:r>
              <a:rPr lang="nb-NO" noProof="0"/>
              <a:t>Næringssammensetningen vil endre seg</a:t>
            </a:r>
          </a:p>
        </p:txBody>
      </p:sp>
      <p:sp>
        <p:nvSpPr>
          <p:cNvPr id="8" name="TekstSylinder 8">
            <a:extLst>
              <a:ext uri="{FF2B5EF4-FFF2-40B4-BE49-F238E27FC236}">
                <a16:creationId xmlns:a16="http://schemas.microsoft.com/office/drawing/2014/main" id="{40F1CDB7-2450-4D47-904E-D47CF5373B95}"/>
              </a:ext>
            </a:extLst>
          </p:cNvPr>
          <p:cNvSpPr txBox="1"/>
          <p:nvPr/>
        </p:nvSpPr>
        <p:spPr>
          <a:xfrm>
            <a:off x="9063406" y="6239080"/>
            <a:ext cx="2922953"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E3832"/>
                </a:solidFill>
                <a:effectLst/>
                <a:uLnTx/>
                <a:uFillTx/>
                <a:latin typeface="Arial" panose="020B0604020202020204" pitchFamily="34" charset="0"/>
                <a:cs typeface="Arial" panose="020B0604020202020204" pitchFamily="34" charset="0"/>
              </a:rPr>
              <a:t>* Gjelder 2019 for private tjenester</a:t>
            </a:r>
            <a:endParaRPr lang="nb-NO" sz="1200">
              <a:solidFill>
                <a:srgbClr val="3E3832"/>
              </a:solidFill>
              <a:latin typeface="Arial" panose="020B0604020202020204" pitchFamily="34" charset="0"/>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E3832"/>
                </a:solidFill>
                <a:effectLst/>
                <a:uLnTx/>
                <a:uFillTx/>
                <a:latin typeface="Arial" panose="020B0604020202020204" pitchFamily="34" charset="0"/>
                <a:cs typeface="Arial" panose="020B0604020202020204" pitchFamily="34" charset="0"/>
              </a:rPr>
              <a:t>Kilde: SSB (Cappelen mfl. 2020)</a:t>
            </a:r>
          </a:p>
        </p:txBody>
      </p:sp>
      <p:sp>
        <p:nvSpPr>
          <p:cNvPr id="9" name="TekstSylinder 9">
            <a:extLst>
              <a:ext uri="{FF2B5EF4-FFF2-40B4-BE49-F238E27FC236}">
                <a16:creationId xmlns:a16="http://schemas.microsoft.com/office/drawing/2014/main" id="{A2EAA18F-67D3-714F-AF0A-E05C744C7EB6}"/>
              </a:ext>
            </a:extLst>
          </p:cNvPr>
          <p:cNvSpPr txBox="1"/>
          <p:nvPr/>
        </p:nvSpPr>
        <p:spPr>
          <a:xfrm>
            <a:off x="6588579" y="1460036"/>
            <a:ext cx="47743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ysselsetting etter næring. Tusen personer </a:t>
            </a:r>
          </a:p>
        </p:txBody>
      </p:sp>
      <p:graphicFrame>
        <p:nvGraphicFramePr>
          <p:cNvPr id="11" name="Diagram 10">
            <a:extLst>
              <a:ext uri="{FF2B5EF4-FFF2-40B4-BE49-F238E27FC236}">
                <a16:creationId xmlns:a16="http://schemas.microsoft.com/office/drawing/2014/main" id="{D5DE6F6E-E2D3-C0BC-83D3-CE4714E51F53}"/>
              </a:ext>
            </a:extLst>
          </p:cNvPr>
          <p:cNvGraphicFramePr>
            <a:graphicFrameLocks/>
          </p:cNvGraphicFramePr>
          <p:nvPr>
            <p:extLst>
              <p:ext uri="{D42A27DB-BD31-4B8C-83A1-F6EECF244321}">
                <p14:modId xmlns:p14="http://schemas.microsoft.com/office/powerpoint/2010/main" val="3555900938"/>
              </p:ext>
            </p:extLst>
          </p:nvPr>
        </p:nvGraphicFramePr>
        <p:xfrm>
          <a:off x="5661434" y="1704146"/>
          <a:ext cx="5786438" cy="49965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32850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6A9C9B0F-55DA-8129-88DC-03B40AF8417F}"/>
              </a:ext>
            </a:extLst>
          </p:cNvPr>
          <p:cNvSpPr>
            <a:spLocks noGrp="1"/>
          </p:cNvSpPr>
          <p:nvPr>
            <p:ph idx="1"/>
          </p:nvPr>
        </p:nvSpPr>
        <p:spPr>
          <a:xfrm>
            <a:off x="838200" y="1825625"/>
            <a:ext cx="5118979" cy="4351338"/>
          </a:xfrm>
        </p:spPr>
        <p:txBody>
          <a:bodyPr>
            <a:normAutofit/>
          </a:bodyPr>
          <a:lstStyle/>
          <a:p>
            <a:pPr marL="0" indent="0">
              <a:buNone/>
            </a:pPr>
            <a:r>
              <a:rPr lang="nb-NO" sz="2400" b="1"/>
              <a:t>Særlig sentrale hoved-yrkesgrupper</a:t>
            </a:r>
          </a:p>
          <a:p>
            <a:pPr>
              <a:buClrTx/>
            </a:pPr>
            <a:r>
              <a:rPr lang="nb-NO" sz="2000"/>
              <a:t>Håndverksyrker og operatører (50 %)</a:t>
            </a:r>
          </a:p>
          <a:p>
            <a:pPr>
              <a:buClrTx/>
            </a:pPr>
            <a:r>
              <a:rPr lang="nb-NO" sz="2000"/>
              <a:t>Ingeniører og arbeidsledere (40 %)</a:t>
            </a:r>
          </a:p>
          <a:p>
            <a:pPr>
              <a:buClrTx/>
            </a:pPr>
            <a:r>
              <a:rPr lang="nb-NO" sz="2000"/>
              <a:t>Sivilingeniører og IT-utviklere (10 %)</a:t>
            </a:r>
          </a:p>
          <a:p>
            <a:endParaRPr lang="nb-NO" sz="2400"/>
          </a:p>
          <a:p>
            <a:pPr marL="0" indent="0">
              <a:buNone/>
            </a:pPr>
            <a:r>
              <a:rPr lang="nb-NO" sz="2400" b="1"/>
              <a:t>Hovedscenario</a:t>
            </a:r>
          </a:p>
          <a:p>
            <a:pPr marL="228600" lvl="1">
              <a:spcBef>
                <a:spcPts val="1000"/>
              </a:spcBef>
              <a:buClrTx/>
            </a:pPr>
            <a:r>
              <a:rPr lang="nb-NO" sz="2000"/>
              <a:t>Etterspørselen etter disse yrkene øker med 64 000 i 2030</a:t>
            </a:r>
          </a:p>
          <a:p>
            <a:pPr marL="0" indent="0">
              <a:buNone/>
            </a:pPr>
            <a:endParaRPr lang="nb-NO" sz="2400"/>
          </a:p>
          <a:p>
            <a:pPr marL="0" indent="0">
              <a:buNone/>
            </a:pPr>
            <a:endParaRPr lang="nb-NO" sz="2400"/>
          </a:p>
          <a:p>
            <a:endParaRPr lang="nb-NO" sz="2400"/>
          </a:p>
        </p:txBody>
      </p:sp>
      <p:sp>
        <p:nvSpPr>
          <p:cNvPr id="4" name="Tittel 3">
            <a:extLst>
              <a:ext uri="{FF2B5EF4-FFF2-40B4-BE49-F238E27FC236}">
                <a16:creationId xmlns:a16="http://schemas.microsoft.com/office/drawing/2014/main" id="{51A267D6-5357-32C9-D4C1-19BF5DD641EF}"/>
              </a:ext>
            </a:extLst>
          </p:cNvPr>
          <p:cNvSpPr>
            <a:spLocks noGrp="1"/>
          </p:cNvSpPr>
          <p:nvPr>
            <p:ph type="title"/>
          </p:nvPr>
        </p:nvSpPr>
        <p:spPr>
          <a:xfrm>
            <a:off x="838201" y="482400"/>
            <a:ext cx="5037814" cy="1072080"/>
          </a:xfrm>
        </p:spPr>
        <p:txBody>
          <a:bodyPr/>
          <a:lstStyle/>
          <a:p>
            <a:r>
              <a:rPr lang="nb-NO">
                <a:solidFill>
                  <a:schemeClr val="tx1"/>
                </a:solidFill>
              </a:rPr>
              <a:t>Det grønne skiftet – kompetansebehov </a:t>
            </a:r>
          </a:p>
        </p:txBody>
      </p:sp>
      <p:sp>
        <p:nvSpPr>
          <p:cNvPr id="3" name="Rektangel 2">
            <a:extLst>
              <a:ext uri="{FF2B5EF4-FFF2-40B4-BE49-F238E27FC236}">
                <a16:creationId xmlns:a16="http://schemas.microsoft.com/office/drawing/2014/main" id="{F4574A2A-C06A-A296-43AC-6131F022F488}"/>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6" name="Bilde 5">
            <a:extLst>
              <a:ext uri="{FF2B5EF4-FFF2-40B4-BE49-F238E27FC236}">
                <a16:creationId xmlns:a16="http://schemas.microsoft.com/office/drawing/2014/main" id="{19B0CE3A-2303-EA61-002C-CA762EFC8D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08985" y="616942"/>
            <a:ext cx="4070223" cy="5624116"/>
          </a:xfrm>
          <a:prstGeom prst="rect">
            <a:avLst/>
          </a:prstGeom>
        </p:spPr>
      </p:pic>
    </p:spTree>
    <p:extLst>
      <p:ext uri="{BB962C8B-B14F-4D97-AF65-F5344CB8AC3E}">
        <p14:creationId xmlns:p14="http://schemas.microsoft.com/office/powerpoint/2010/main" val="9677384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0D42E-9090-B946-BB30-39F111CA2DC2}"/>
              </a:ext>
            </a:extLst>
          </p:cNvPr>
          <p:cNvSpPr>
            <a:spLocks noGrp="1"/>
          </p:cNvSpPr>
          <p:nvPr>
            <p:ph type="title"/>
          </p:nvPr>
        </p:nvSpPr>
        <p:spPr>
          <a:xfrm>
            <a:off x="641429" y="482400"/>
            <a:ext cx="5257800" cy="1072080"/>
          </a:xfrm>
        </p:spPr>
        <p:txBody>
          <a:bodyPr>
            <a:normAutofit fontScale="90000"/>
          </a:bodyPr>
          <a:lstStyle/>
          <a:p>
            <a:r>
              <a:rPr lang="nb-NO" noProof="0"/>
              <a:t>1 av 5 fullfører ikke </a:t>
            </a:r>
            <a:br>
              <a:rPr lang="nb-NO" noProof="0"/>
            </a:br>
            <a:r>
              <a:rPr lang="nb-NO" noProof="0"/>
              <a:t>videregående skole</a:t>
            </a:r>
            <a:br>
              <a:rPr lang="nb-NO" noProof="0"/>
            </a:br>
            <a:endParaRPr lang="nb-NO" sz="1600" noProof="0"/>
          </a:p>
        </p:txBody>
      </p:sp>
      <p:sp>
        <p:nvSpPr>
          <p:cNvPr id="6" name="TekstSylinder 6">
            <a:extLst>
              <a:ext uri="{FF2B5EF4-FFF2-40B4-BE49-F238E27FC236}">
                <a16:creationId xmlns:a16="http://schemas.microsoft.com/office/drawing/2014/main" id="{87337F77-8394-424C-BE48-2CF0431D683A}"/>
              </a:ext>
            </a:extLst>
          </p:cNvPr>
          <p:cNvSpPr txBox="1"/>
          <p:nvPr/>
        </p:nvSpPr>
        <p:spPr>
          <a:xfrm>
            <a:off x="10071278" y="6642556"/>
            <a:ext cx="212072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Foto: </a:t>
            </a:r>
            <a:r>
              <a:rPr kumimoji="0" lang="nb-NO" sz="800" b="0" i="0" u="none" strike="noStrike" kern="1200" cap="none" spc="0" normalizeH="0" baseline="0" noProof="0" err="1">
                <a:ln>
                  <a:noFill/>
                </a:ln>
                <a:solidFill>
                  <a:srgbClr val="FFFFFF">
                    <a:lumMod val="65000"/>
                  </a:srgbClr>
                </a:solidFill>
                <a:effectLst/>
                <a:uLnTx/>
                <a:uFillTx/>
                <a:latin typeface="Arial" panose="020B0604020202020204" pitchFamily="34" charset="0"/>
                <a:ea typeface="+mn-ea"/>
                <a:cs typeface="Arial" panose="020B0604020202020204" pitchFamily="34" charset="0"/>
              </a:rPr>
              <a:t>Colourbox</a:t>
            </a:r>
            <a:endParaRPr kumimoji="0" lang="nb-NO" sz="8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p:txBody>
      </p:sp>
      <p:sp>
        <p:nvSpPr>
          <p:cNvPr id="11" name="TekstSylinder 17">
            <a:extLst>
              <a:ext uri="{FF2B5EF4-FFF2-40B4-BE49-F238E27FC236}">
                <a16:creationId xmlns:a16="http://schemas.microsoft.com/office/drawing/2014/main" id="{3406733C-048A-3940-A620-4F774ACFFDB0}"/>
              </a:ext>
            </a:extLst>
          </p:cNvPr>
          <p:cNvSpPr txBox="1"/>
          <p:nvPr/>
        </p:nvSpPr>
        <p:spPr>
          <a:xfrm>
            <a:off x="4487165" y="6051971"/>
            <a:ext cx="1013044"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933" b="1"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t>Kilde:</a:t>
            </a:r>
            <a:r>
              <a:rPr kumimoji="0" lang="nb-NO" sz="933" b="0"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t> SSB</a:t>
            </a:r>
          </a:p>
        </p:txBody>
      </p:sp>
      <p:sp>
        <p:nvSpPr>
          <p:cNvPr id="12" name="TekstSylinder 1">
            <a:extLst>
              <a:ext uri="{FF2B5EF4-FFF2-40B4-BE49-F238E27FC236}">
                <a16:creationId xmlns:a16="http://schemas.microsoft.com/office/drawing/2014/main" id="{85C0778A-5ECB-F549-B098-D372E737F9AF}"/>
              </a:ext>
            </a:extLst>
          </p:cNvPr>
          <p:cNvSpPr txBox="1"/>
          <p:nvPr/>
        </p:nvSpPr>
        <p:spPr>
          <a:xfrm>
            <a:off x="525680" y="1784223"/>
            <a:ext cx="43787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t>Arbeidsledighet, etter utdanningsnivå. </a:t>
            </a:r>
            <a:r>
              <a:rPr kumimoji="0" lang="nb-NO" sz="1400" b="0" i="0" u="none" strike="noStrike" kern="1200" cap="none" spc="0" normalizeH="0" baseline="0" noProof="0">
                <a:ln>
                  <a:noFill/>
                </a:ln>
                <a:solidFill>
                  <a:srgbClr val="3E3832"/>
                </a:solidFill>
                <a:effectLst/>
                <a:uLnTx/>
                <a:uFillTx/>
                <a:latin typeface="Calibri" panose="020F0502020204030204"/>
                <a:ea typeface="+mn-ea"/>
                <a:cs typeface="+mn-cs"/>
              </a:rPr>
              <a:t>Tall i prosent</a:t>
            </a:r>
          </a:p>
        </p:txBody>
      </p:sp>
      <p:graphicFrame>
        <p:nvGraphicFramePr>
          <p:cNvPr id="7" name="Diagram 6">
            <a:extLst>
              <a:ext uri="{FF2B5EF4-FFF2-40B4-BE49-F238E27FC236}">
                <a16:creationId xmlns:a16="http://schemas.microsoft.com/office/drawing/2014/main" id="{844A7F48-AAF4-47FD-B93D-D9623088550E}"/>
              </a:ext>
            </a:extLst>
          </p:cNvPr>
          <p:cNvGraphicFramePr>
            <a:graphicFrameLocks/>
          </p:cNvGraphicFramePr>
          <p:nvPr>
            <p:extLst>
              <p:ext uri="{D42A27DB-BD31-4B8C-83A1-F6EECF244321}">
                <p14:modId xmlns:p14="http://schemas.microsoft.com/office/powerpoint/2010/main" val="3908322630"/>
              </p:ext>
            </p:extLst>
          </p:nvPr>
        </p:nvGraphicFramePr>
        <p:xfrm>
          <a:off x="525680" y="2476745"/>
          <a:ext cx="5566434" cy="3102810"/>
        </p:xfrm>
        <a:graphic>
          <a:graphicData uri="http://schemas.openxmlformats.org/drawingml/2006/chart">
            <c:chart xmlns:c="http://schemas.openxmlformats.org/drawingml/2006/chart" xmlns:r="http://schemas.openxmlformats.org/officeDocument/2006/relationships" r:id="rId3"/>
          </a:graphicData>
        </a:graphic>
      </p:graphicFrame>
      <p:pic>
        <p:nvPicPr>
          <p:cNvPr id="10" name="Bilde 9" descr="Et bilde som inneholder person, himmel, utendørs, skating&#10;&#10;Automatisk generert beskrivelse">
            <a:extLst>
              <a:ext uri="{FF2B5EF4-FFF2-40B4-BE49-F238E27FC236}">
                <a16:creationId xmlns:a16="http://schemas.microsoft.com/office/drawing/2014/main" id="{789C89A7-2F78-625B-72AB-21D77F60BE0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096000" y="0"/>
            <a:ext cx="6094908" cy="6858000"/>
          </a:xfrm>
          <a:prstGeom prst="rect">
            <a:avLst/>
          </a:prstGeom>
        </p:spPr>
      </p:pic>
    </p:spTree>
    <p:extLst>
      <p:ext uri="{BB962C8B-B14F-4D97-AF65-F5344CB8AC3E}">
        <p14:creationId xmlns:p14="http://schemas.microsoft.com/office/powerpoint/2010/main" val="1689254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Graphic spid="7" grpId="0">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9BCBE-B12A-FA4E-BCA9-102DDA8D16EF}"/>
              </a:ext>
            </a:extLst>
          </p:cNvPr>
          <p:cNvSpPr>
            <a:spLocks noGrp="1"/>
          </p:cNvSpPr>
          <p:nvPr>
            <p:ph type="title"/>
          </p:nvPr>
        </p:nvSpPr>
        <p:spPr>
          <a:xfrm>
            <a:off x="838200" y="482400"/>
            <a:ext cx="5133230" cy="1072080"/>
          </a:xfrm>
        </p:spPr>
        <p:txBody>
          <a:bodyPr/>
          <a:lstStyle/>
          <a:p>
            <a:r>
              <a:rPr lang="nb-NO" noProof="0">
                <a:solidFill>
                  <a:schemeClr val="tx1"/>
                </a:solidFill>
              </a:rPr>
              <a:t>Konsekvenser av omstilling og økte kompetansekrav</a:t>
            </a:r>
          </a:p>
        </p:txBody>
      </p:sp>
      <p:sp>
        <p:nvSpPr>
          <p:cNvPr id="3" name="Content Placeholder 2">
            <a:extLst>
              <a:ext uri="{FF2B5EF4-FFF2-40B4-BE49-F238E27FC236}">
                <a16:creationId xmlns:a16="http://schemas.microsoft.com/office/drawing/2014/main" id="{91BC3C4B-001B-7040-A683-D79138179139}"/>
              </a:ext>
            </a:extLst>
          </p:cNvPr>
          <p:cNvSpPr>
            <a:spLocks noGrp="1"/>
          </p:cNvSpPr>
          <p:nvPr>
            <p:ph sz="half" idx="1"/>
          </p:nvPr>
        </p:nvSpPr>
        <p:spPr>
          <a:xfrm>
            <a:off x="838201" y="1733384"/>
            <a:ext cx="5133229" cy="4397072"/>
          </a:xfrm>
        </p:spPr>
        <p:txBody>
          <a:bodyPr>
            <a:noAutofit/>
          </a:bodyPr>
          <a:lstStyle/>
          <a:p>
            <a:pPr>
              <a:lnSpc>
                <a:spcPct val="100000"/>
              </a:lnSpc>
              <a:spcBef>
                <a:spcPts val="0"/>
              </a:spcBef>
              <a:spcAft>
                <a:spcPts val="1000"/>
              </a:spcAft>
              <a:buClrTx/>
            </a:pPr>
            <a:r>
              <a:rPr lang="nb-NO" sz="2000" noProof="0"/>
              <a:t>Periodevis økt ledighet i særlig berørte næringer og yrker</a:t>
            </a:r>
          </a:p>
          <a:p>
            <a:pPr>
              <a:lnSpc>
                <a:spcPct val="100000"/>
              </a:lnSpc>
              <a:spcBef>
                <a:spcPts val="0"/>
              </a:spcBef>
              <a:spcAft>
                <a:spcPts val="1000"/>
              </a:spcAft>
              <a:buClrTx/>
            </a:pPr>
            <a:endParaRPr lang="nb-NO" sz="2000" noProof="0"/>
          </a:p>
          <a:p>
            <a:pPr>
              <a:lnSpc>
                <a:spcPct val="100000"/>
              </a:lnSpc>
              <a:spcBef>
                <a:spcPts val="0"/>
              </a:spcBef>
              <a:spcAft>
                <a:spcPts val="1000"/>
              </a:spcAft>
              <a:buClrTx/>
            </a:pPr>
            <a:r>
              <a:rPr lang="nb-NO" sz="2000" noProof="0"/>
              <a:t>Nye jobber kommer i andre næringer/yrker og med store regionale forskjeller</a:t>
            </a:r>
          </a:p>
          <a:p>
            <a:pPr>
              <a:lnSpc>
                <a:spcPct val="100000"/>
              </a:lnSpc>
              <a:spcBef>
                <a:spcPts val="0"/>
              </a:spcBef>
              <a:buClrTx/>
            </a:pPr>
            <a:endParaRPr lang="nb-NO" sz="2000" noProof="0"/>
          </a:p>
          <a:p>
            <a:pPr>
              <a:lnSpc>
                <a:spcPct val="100000"/>
              </a:lnSpc>
              <a:spcBef>
                <a:spcPts val="0"/>
              </a:spcBef>
              <a:buClrTx/>
            </a:pPr>
            <a:r>
              <a:rPr lang="nb-NO" sz="2000" noProof="0"/>
              <a:t>NAV må lette omstillingene</a:t>
            </a:r>
          </a:p>
          <a:p>
            <a:pPr lvl="1">
              <a:lnSpc>
                <a:spcPct val="100000"/>
              </a:lnSpc>
              <a:spcBef>
                <a:spcPts val="0"/>
              </a:spcBef>
              <a:buClrTx/>
            </a:pPr>
            <a:r>
              <a:rPr lang="nb-NO" sz="1800" noProof="0"/>
              <a:t>økt mobilitet, redusere frafall, økt inkludering</a:t>
            </a:r>
            <a:endParaRPr lang="nb-NO" sz="2000" noProof="0"/>
          </a:p>
          <a:p>
            <a:pPr>
              <a:lnSpc>
                <a:spcPct val="100000"/>
              </a:lnSpc>
              <a:spcBef>
                <a:spcPts val="0"/>
              </a:spcBef>
              <a:buClrTx/>
            </a:pPr>
            <a:endParaRPr lang="nb-NO" sz="2000"/>
          </a:p>
          <a:p>
            <a:pPr>
              <a:lnSpc>
                <a:spcPct val="100000"/>
              </a:lnSpc>
              <a:spcBef>
                <a:spcPts val="0"/>
              </a:spcBef>
              <a:spcAft>
                <a:spcPts val="1000"/>
              </a:spcAft>
              <a:buClrTx/>
            </a:pPr>
            <a:r>
              <a:rPr lang="nb-NO" sz="2000" noProof="0"/>
              <a:t>Behov for livslang læring</a:t>
            </a:r>
          </a:p>
        </p:txBody>
      </p:sp>
      <p:sp>
        <p:nvSpPr>
          <p:cNvPr id="4" name="Rektangel 3">
            <a:extLst>
              <a:ext uri="{FF2B5EF4-FFF2-40B4-BE49-F238E27FC236}">
                <a16:creationId xmlns:a16="http://schemas.microsoft.com/office/drawing/2014/main" id="{10727937-B229-DBFC-AC52-D3A9A7472F18}"/>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Plassholder for innhold 11">
            <a:extLst>
              <a:ext uri="{FF2B5EF4-FFF2-40B4-BE49-F238E27FC236}">
                <a16:creationId xmlns:a16="http://schemas.microsoft.com/office/drawing/2014/main" id="{598D9D3B-7A70-47A4-BEB1-A6FA85354E12}"/>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6782014" y="707055"/>
            <a:ext cx="2991714" cy="4173275"/>
          </a:xfrm>
          <a:ln>
            <a:solidFill>
              <a:schemeClr val="tx1"/>
            </a:solidFill>
          </a:ln>
        </p:spPr>
      </p:pic>
      <p:pic>
        <p:nvPicPr>
          <p:cNvPr id="5" name="Bilde 4">
            <a:extLst>
              <a:ext uri="{FF2B5EF4-FFF2-40B4-BE49-F238E27FC236}">
                <a16:creationId xmlns:a16="http://schemas.microsoft.com/office/drawing/2014/main" id="{1A16A207-554C-A3DE-AD99-DD3153D95C7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619777" y="1977669"/>
            <a:ext cx="2956071" cy="4173276"/>
          </a:xfrm>
          <a:prstGeom prst="rect">
            <a:avLst/>
          </a:prstGeom>
          <a:ln>
            <a:solidFill>
              <a:schemeClr val="tx1"/>
            </a:solidFill>
          </a:ln>
        </p:spPr>
      </p:pic>
    </p:spTree>
    <p:extLst>
      <p:ext uri="{BB962C8B-B14F-4D97-AF65-F5344CB8AC3E}">
        <p14:creationId xmlns:p14="http://schemas.microsoft.com/office/powerpoint/2010/main" val="2992498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85000" lnSpcReduction="20000"/>
          </a:bodyPr>
          <a:lstStyle/>
          <a:p>
            <a:r>
              <a:rPr lang="nb-NO">
                <a:effectLst/>
              </a:rPr>
              <a:t>Hvordan vil endringene i arbeidslivet påvirke NAV?</a:t>
            </a:r>
          </a:p>
          <a:p>
            <a:endParaRPr lang="nb-NO">
              <a:effectLst/>
            </a:endParaRPr>
          </a:p>
          <a:p>
            <a:r>
              <a:rPr lang="nb-NO">
                <a:effectLst/>
              </a:rPr>
              <a:t>Hva betyr det for NAV at kompetanse-behovet endres raskt?</a:t>
            </a:r>
          </a:p>
          <a:p>
            <a:endParaRPr lang="nb-NO">
              <a:effectLst/>
            </a:endParaRPr>
          </a:p>
          <a:p>
            <a:r>
              <a:rPr lang="nb-NO">
                <a:effectLst/>
              </a:rPr>
              <a:t>Hvordan vil plattformøkonomien og andre endringer i ansettelsesformer påvirke NAV?</a:t>
            </a:r>
          </a:p>
          <a:p>
            <a:endParaRPr lang="nb-NO">
              <a:effectLst/>
            </a:endParaRPr>
          </a:p>
          <a:p>
            <a:r>
              <a:rPr lang="nb-NO">
                <a:effectLst/>
              </a:rPr>
              <a:t>Hvordan skal vi håndtere rask </a:t>
            </a:r>
            <a:br>
              <a:rPr lang="nb-NO">
                <a:effectLst/>
              </a:rPr>
            </a:br>
            <a:r>
              <a:rPr lang="nb-NO">
                <a:effectLst/>
              </a:rPr>
              <a:t>endring for bestemte yrkesgrupper </a:t>
            </a:r>
            <a:br>
              <a:rPr lang="nb-NO">
                <a:effectLst/>
              </a:rPr>
            </a:br>
            <a:r>
              <a:rPr lang="nb-NO">
                <a:effectLst/>
              </a:rPr>
              <a:t>eller regioner?</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nb-NO"/>
              <a:t>Refleksjonsspørsmål</a:t>
            </a:r>
          </a:p>
        </p:txBody>
      </p:sp>
    </p:spTree>
    <p:extLst>
      <p:ext uri="{BB962C8B-B14F-4D97-AF65-F5344CB8AC3E}">
        <p14:creationId xmlns:p14="http://schemas.microsoft.com/office/powerpoint/2010/main" val="3878668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rgbClr val="CCDEE6"/>
        </a:solidFill>
        <a:effectLst/>
      </p:bgPr>
    </p:bg>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6693D1DD-25FD-EE86-4FF4-E40E116B87AC}"/>
              </a:ext>
            </a:extLst>
          </p:cNvPr>
          <p:cNvSpPr>
            <a:spLocks noGrp="1"/>
          </p:cNvSpPr>
          <p:nvPr>
            <p:ph sz="quarter" idx="10"/>
          </p:nvPr>
        </p:nvSpPr>
        <p:spPr>
          <a:xfrm>
            <a:off x="6096000" y="1701799"/>
            <a:ext cx="5591902" cy="4399644"/>
          </a:xfrm>
        </p:spPr>
        <p:txBody>
          <a:bodyPr>
            <a:normAutofit lnSpcReduction="10000"/>
          </a:bodyPr>
          <a:lstStyle/>
          <a:p>
            <a:r>
              <a:rPr lang="nb-NO">
                <a:hlinkClick r:id="rId3" action="ppaction://hlinksldjump"/>
              </a:rPr>
              <a:t>Innledning og sammendrag</a:t>
            </a:r>
            <a:endParaRPr lang="nb-NO"/>
          </a:p>
          <a:p>
            <a:r>
              <a:rPr lang="nb-NO">
                <a:hlinkClick r:id="rId4" action="ppaction://hlinksldjump"/>
              </a:rPr>
              <a:t>Arbeidsmarked</a:t>
            </a:r>
            <a:endParaRPr lang="nb-NO"/>
          </a:p>
          <a:p>
            <a:r>
              <a:rPr lang="nb-NO">
                <a:hlinkClick r:id="rId5" action="ppaction://hlinksldjump"/>
              </a:rPr>
              <a:t>Demografi</a:t>
            </a:r>
            <a:endParaRPr lang="nb-NO"/>
          </a:p>
          <a:p>
            <a:r>
              <a:rPr lang="nb-NO">
                <a:hlinkClick r:id="rId6" action="ppaction://hlinksldjump"/>
              </a:rPr>
              <a:t>Brukerforventninger</a:t>
            </a:r>
            <a:endParaRPr lang="nb-NO"/>
          </a:p>
          <a:p>
            <a:r>
              <a:rPr lang="nb-NO">
                <a:hlinkClick r:id="rId7" action="ppaction://hlinksldjump"/>
              </a:rPr>
              <a:t>Digital teknologi</a:t>
            </a:r>
            <a:endParaRPr lang="nb-NO"/>
          </a:p>
          <a:p>
            <a:r>
              <a:rPr lang="nb-NO">
                <a:hlinkClick r:id="rId8" action="ppaction://hlinksldjump"/>
              </a:rPr>
              <a:t>Levekår</a:t>
            </a:r>
            <a:endParaRPr lang="nb-NO"/>
          </a:p>
          <a:p>
            <a:r>
              <a:rPr lang="nb-NO">
                <a:hlinkClick r:id="rId9" action="ppaction://hlinksldjump"/>
              </a:rPr>
              <a:t>Helse</a:t>
            </a:r>
            <a:endParaRPr lang="nb-NO"/>
          </a:p>
          <a:p>
            <a:r>
              <a:rPr lang="nb-NO">
                <a:hlinkClick r:id="rId10" action="ppaction://hlinksldjump"/>
              </a:rPr>
              <a:t>Politiske trender</a:t>
            </a:r>
            <a:endParaRPr lang="nb-NO"/>
          </a:p>
          <a:p>
            <a:r>
              <a:rPr lang="nb-NO">
                <a:hlinkClick r:id="rId11" action="ppaction://hlinksldjump"/>
              </a:rPr>
              <a:t>Hovedfunn og avslutning</a:t>
            </a:r>
            <a:endParaRPr lang="nb-NO"/>
          </a:p>
          <a:p>
            <a:endParaRPr lang="nb-NO"/>
          </a:p>
        </p:txBody>
      </p:sp>
      <p:sp>
        <p:nvSpPr>
          <p:cNvPr id="3" name="Tittel 2">
            <a:extLst>
              <a:ext uri="{FF2B5EF4-FFF2-40B4-BE49-F238E27FC236}">
                <a16:creationId xmlns:a16="http://schemas.microsoft.com/office/drawing/2014/main" id="{8D87042D-9266-072E-ED80-6088E7ECE13D}"/>
              </a:ext>
            </a:extLst>
          </p:cNvPr>
          <p:cNvSpPr>
            <a:spLocks noGrp="1"/>
          </p:cNvSpPr>
          <p:nvPr>
            <p:ph type="title"/>
          </p:nvPr>
        </p:nvSpPr>
        <p:spPr>
          <a:xfrm>
            <a:off x="6203575" y="756557"/>
            <a:ext cx="5483601" cy="746641"/>
          </a:xfrm>
        </p:spPr>
        <p:txBody>
          <a:bodyPr>
            <a:normAutofit/>
          </a:bodyPr>
          <a:lstStyle/>
          <a:p>
            <a:r>
              <a:rPr lang="nb-NO" sz="4400"/>
              <a:t>Innhold</a:t>
            </a:r>
          </a:p>
        </p:txBody>
      </p:sp>
      <p:pic>
        <p:nvPicPr>
          <p:cNvPr id="5" name="Grafikk 4" descr="Globus kontur">
            <a:extLst>
              <a:ext uri="{FF2B5EF4-FFF2-40B4-BE49-F238E27FC236}">
                <a16:creationId xmlns:a16="http://schemas.microsoft.com/office/drawing/2014/main" id="{F74EAF56-FDB9-B7B1-AEC7-AE2668E1421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38738" y="1503198"/>
            <a:ext cx="4382132" cy="4382132"/>
          </a:xfrm>
          <a:prstGeom prst="rect">
            <a:avLst/>
          </a:prstGeom>
        </p:spPr>
      </p:pic>
    </p:spTree>
    <p:extLst>
      <p:ext uri="{BB962C8B-B14F-4D97-AF65-F5344CB8AC3E}">
        <p14:creationId xmlns:p14="http://schemas.microsoft.com/office/powerpoint/2010/main" val="18784706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person, utendørs, forsamling&#10;&#10;Automatisk generert beskrivelse">
            <a:extLst>
              <a:ext uri="{FF2B5EF4-FFF2-40B4-BE49-F238E27FC236}">
                <a16:creationId xmlns:a16="http://schemas.microsoft.com/office/drawing/2014/main" id="{BF128BB2-FB3B-FD1C-38C1-35DC7FD363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09600"/>
            <a:ext cx="12192000" cy="8077200"/>
          </a:xfrm>
          <a:prstGeom prst="rect">
            <a:avLst/>
          </a:prstGeom>
        </p:spPr>
      </p:pic>
      <p:sp>
        <p:nvSpPr>
          <p:cNvPr id="3" name="Ellipse 2">
            <a:extLst>
              <a:ext uri="{FF2B5EF4-FFF2-40B4-BE49-F238E27FC236}">
                <a16:creationId xmlns:a16="http://schemas.microsoft.com/office/drawing/2014/main" id="{20253E1D-D11E-8738-AAEE-F5339C2D03C4}"/>
              </a:ext>
            </a:extLst>
          </p:cNvPr>
          <p:cNvSpPr/>
          <p:nvPr/>
        </p:nvSpPr>
        <p:spPr>
          <a:xfrm>
            <a:off x="1172922" y="1077684"/>
            <a:ext cx="3719676" cy="3493609"/>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kstSylinder 6">
            <a:extLst>
              <a:ext uri="{FF2B5EF4-FFF2-40B4-BE49-F238E27FC236}">
                <a16:creationId xmlns:a16="http://schemas.microsoft.com/office/drawing/2014/main" id="{1674067F-C975-922D-7329-6B5EB4A89FFD}"/>
              </a:ext>
            </a:extLst>
          </p:cNvPr>
          <p:cNvSpPr txBox="1"/>
          <p:nvPr/>
        </p:nvSpPr>
        <p:spPr>
          <a:xfrm>
            <a:off x="1333500" y="2393601"/>
            <a:ext cx="3398520" cy="861774"/>
          </a:xfrm>
          <a:prstGeom prst="rect">
            <a:avLst/>
          </a:prstGeom>
          <a:noFill/>
        </p:spPr>
        <p:txBody>
          <a:bodyPr wrap="square" rtlCol="0">
            <a:spAutoFit/>
          </a:bodyPr>
          <a:lstStyle/>
          <a:p>
            <a:r>
              <a:rPr lang="nb-NO" sz="5000" b="1">
                <a:latin typeface="Arial" panose="020B0604020202020204" pitchFamily="34" charset="0"/>
                <a:cs typeface="Arial" panose="020B0604020202020204" pitchFamily="34" charset="0"/>
              </a:rPr>
              <a:t>Demografi</a:t>
            </a:r>
          </a:p>
        </p:txBody>
      </p:sp>
    </p:spTree>
    <p:extLst>
      <p:ext uri="{BB962C8B-B14F-4D97-AF65-F5344CB8AC3E}">
        <p14:creationId xmlns:p14="http://schemas.microsoft.com/office/powerpoint/2010/main" val="32312424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BC0EE284-EA4B-B3F4-7284-E12A748EF953}"/>
              </a:ext>
            </a:extLst>
          </p:cNvPr>
          <p:cNvGraphicFramePr>
            <a:graphicFrameLocks/>
          </p:cNvGraphicFramePr>
          <p:nvPr>
            <p:extLst>
              <p:ext uri="{D42A27DB-BD31-4B8C-83A1-F6EECF244321}">
                <p14:modId xmlns:p14="http://schemas.microsoft.com/office/powerpoint/2010/main" val="254773010"/>
              </p:ext>
            </p:extLst>
          </p:nvPr>
        </p:nvGraphicFramePr>
        <p:xfrm>
          <a:off x="367210" y="1940577"/>
          <a:ext cx="5719657" cy="405495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7756D860-CD37-3643-B609-89C87DCDE551}"/>
              </a:ext>
            </a:extLst>
          </p:cNvPr>
          <p:cNvSpPr>
            <a:spLocks noGrp="1"/>
          </p:cNvSpPr>
          <p:nvPr>
            <p:ph type="title"/>
          </p:nvPr>
        </p:nvSpPr>
        <p:spPr>
          <a:xfrm>
            <a:off x="6546607" y="482400"/>
            <a:ext cx="4662862" cy="1072080"/>
          </a:xfrm>
        </p:spPr>
        <p:txBody>
          <a:bodyPr anchor="ctr">
            <a:normAutofit fontScale="90000"/>
          </a:bodyPr>
          <a:lstStyle/>
          <a:p>
            <a:r>
              <a:rPr lang="nb-NO" noProof="0"/>
              <a:t>Svakere befolkningsvekst – sterk aldring</a:t>
            </a:r>
          </a:p>
        </p:txBody>
      </p:sp>
      <p:sp>
        <p:nvSpPr>
          <p:cNvPr id="4" name="Content Placeholder 3">
            <a:extLst>
              <a:ext uri="{FF2B5EF4-FFF2-40B4-BE49-F238E27FC236}">
                <a16:creationId xmlns:a16="http://schemas.microsoft.com/office/drawing/2014/main" id="{5E6C79C3-D951-414B-AEEB-B61DF9A59200}"/>
              </a:ext>
            </a:extLst>
          </p:cNvPr>
          <p:cNvSpPr>
            <a:spLocks noGrp="1"/>
          </p:cNvSpPr>
          <p:nvPr>
            <p:ph idx="1"/>
          </p:nvPr>
        </p:nvSpPr>
        <p:spPr>
          <a:xfrm>
            <a:off x="6546606" y="1825625"/>
            <a:ext cx="4053039" cy="4351338"/>
          </a:xfrm>
        </p:spPr>
        <p:txBody>
          <a:bodyPr>
            <a:noAutofit/>
          </a:bodyPr>
          <a:lstStyle/>
          <a:p>
            <a:pPr marL="0" indent="0">
              <a:buNone/>
            </a:pPr>
            <a:r>
              <a:rPr lang="nb-NO" sz="1900" b="1" noProof="0"/>
              <a:t>Konsekvenser for NAV</a:t>
            </a:r>
            <a:endParaRPr lang="nb-NO" sz="1900" noProof="0"/>
          </a:p>
          <a:p>
            <a:r>
              <a:rPr lang="nb-NO" sz="1900" noProof="0"/>
              <a:t>Beskjedne konsekvenser for arbeidsbelastningen i stort –        3 av 4 NAV-ansatte jobber </a:t>
            </a:r>
            <a:br>
              <a:rPr lang="nb-NO" sz="1900" noProof="0"/>
            </a:br>
            <a:r>
              <a:rPr lang="nb-NO" sz="1900" noProof="0"/>
              <a:t>opp mot folk i yrkesaktiv alder</a:t>
            </a:r>
          </a:p>
          <a:p>
            <a:r>
              <a:rPr lang="nb-NO" sz="1900" noProof="0"/>
              <a:t>Drøyt </a:t>
            </a:r>
            <a:r>
              <a:rPr lang="nb-NO" sz="1900"/>
              <a:t>35</a:t>
            </a:r>
            <a:r>
              <a:rPr lang="nb-NO" sz="1900" noProof="0"/>
              <a:t> prosent flere mottakere av alderspensjon og hjelpemidler til 2035 vil utfordre NAV</a:t>
            </a:r>
          </a:p>
          <a:p>
            <a:r>
              <a:rPr lang="nb-NO" sz="1900" noProof="0"/>
              <a:t>Økt press på statsfinansene – større forventninger til effektivitet og at NAV bistår flere grupper i oppfølging mot arbeid</a:t>
            </a:r>
          </a:p>
        </p:txBody>
      </p:sp>
      <p:grpSp>
        <p:nvGrpSpPr>
          <p:cNvPr id="11" name="Group 10">
            <a:extLst>
              <a:ext uri="{FF2B5EF4-FFF2-40B4-BE49-F238E27FC236}">
                <a16:creationId xmlns:a16="http://schemas.microsoft.com/office/drawing/2014/main" id="{8B2E532A-B78F-3549-B9CF-E82602DAEC50}"/>
              </a:ext>
            </a:extLst>
          </p:cNvPr>
          <p:cNvGrpSpPr/>
          <p:nvPr/>
        </p:nvGrpSpPr>
        <p:grpSpPr>
          <a:xfrm>
            <a:off x="377679" y="758823"/>
            <a:ext cx="5954725" cy="6040169"/>
            <a:chOff x="718326" y="691699"/>
            <a:chExt cx="5224924" cy="6230715"/>
          </a:xfrm>
        </p:grpSpPr>
        <p:sp>
          <p:nvSpPr>
            <p:cNvPr id="18" name="Rektangel 9">
              <a:extLst>
                <a:ext uri="{FF2B5EF4-FFF2-40B4-BE49-F238E27FC236}">
                  <a16:creationId xmlns:a16="http://schemas.microsoft.com/office/drawing/2014/main" id="{ABABA985-D6D4-184B-87D5-34302419C195}"/>
                </a:ext>
              </a:extLst>
            </p:cNvPr>
            <p:cNvSpPr/>
            <p:nvPr/>
          </p:nvSpPr>
          <p:spPr>
            <a:xfrm>
              <a:off x="2082649" y="1445313"/>
              <a:ext cx="2496277" cy="340800"/>
            </a:xfrm>
            <a:prstGeom prst="rect">
              <a:avLst/>
            </a:prstGeom>
            <a:solidFill>
              <a:schemeClr val="bg1"/>
            </a:solidFill>
            <a:ln>
              <a:solidFill>
                <a:srgbClr val="0661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20" name="Rektangel 15">
              <a:extLst>
                <a:ext uri="{FF2B5EF4-FFF2-40B4-BE49-F238E27FC236}">
                  <a16:creationId xmlns:a16="http://schemas.microsoft.com/office/drawing/2014/main" id="{72C97BDB-A673-9340-B47D-B0959302D682}"/>
                </a:ext>
              </a:extLst>
            </p:cNvPr>
            <p:cNvSpPr/>
            <p:nvPr/>
          </p:nvSpPr>
          <p:spPr>
            <a:xfrm>
              <a:off x="2097006" y="1448020"/>
              <a:ext cx="2021896" cy="340800"/>
            </a:xfrm>
            <a:prstGeom prst="rect">
              <a:avLst/>
            </a:prstGeom>
            <a:solidFill>
              <a:srgbClr val="066185"/>
            </a:solidFill>
            <a:ln>
              <a:solidFill>
                <a:srgbClr val="0661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21" name="TekstSylinder 16">
              <a:extLst>
                <a:ext uri="{FF2B5EF4-FFF2-40B4-BE49-F238E27FC236}">
                  <a16:creationId xmlns:a16="http://schemas.microsoft.com/office/drawing/2014/main" id="{EEAD5F47-D534-EB48-A770-8291408043E5}"/>
                </a:ext>
              </a:extLst>
            </p:cNvPr>
            <p:cNvSpPr txBox="1"/>
            <p:nvPr/>
          </p:nvSpPr>
          <p:spPr>
            <a:xfrm>
              <a:off x="1998649" y="1448445"/>
              <a:ext cx="2304256" cy="317486"/>
            </a:xfrm>
            <a:prstGeom prst="rect">
              <a:avLst/>
            </a:prstGeom>
            <a:noFill/>
          </p:spPr>
          <p:txBody>
            <a:bodyPr wrap="square" rtlCol="0">
              <a:spAutoFit/>
            </a:bodyPr>
            <a:lstStyle/>
            <a:p>
              <a:r>
                <a:rPr lang="nb-NO" sz="1400">
                  <a:solidFill>
                    <a:schemeClr val="bg1"/>
                  </a:solidFill>
                  <a:latin typeface="Arial" panose="020B0604020202020204" pitchFamily="34" charset="0"/>
                  <a:cs typeface="Arial" panose="020B0604020202020204" pitchFamily="34" charset="0"/>
                </a:rPr>
                <a:t>   Aldersgruppen 19-66 år</a:t>
              </a:r>
            </a:p>
          </p:txBody>
        </p:sp>
        <p:sp>
          <p:nvSpPr>
            <p:cNvPr id="14" name="Rektangel 10">
              <a:extLst>
                <a:ext uri="{FF2B5EF4-FFF2-40B4-BE49-F238E27FC236}">
                  <a16:creationId xmlns:a16="http://schemas.microsoft.com/office/drawing/2014/main" id="{EDE0616E-740E-8240-BC65-415142624A00}"/>
                </a:ext>
              </a:extLst>
            </p:cNvPr>
            <p:cNvSpPr/>
            <p:nvPr/>
          </p:nvSpPr>
          <p:spPr>
            <a:xfrm>
              <a:off x="718326" y="691699"/>
              <a:ext cx="4077219" cy="550375"/>
            </a:xfrm>
            <a:prstGeom prst="rect">
              <a:avLst/>
            </a:prstGeom>
          </p:spPr>
          <p:txBody>
            <a:bodyPr wrap="square">
              <a:spAutoFit/>
            </a:bodyPr>
            <a:lstStyle/>
            <a:p>
              <a:pPr>
                <a:defRPr sz="1800" b="1" i="0" u="none" strike="noStrike" kern="1200" baseline="0">
                  <a:solidFill>
                    <a:prstClr val="black"/>
                  </a:solidFill>
                  <a:latin typeface="+mn-lt"/>
                  <a:ea typeface="+mn-ea"/>
                  <a:cs typeface="+mn-cs"/>
                </a:defRPr>
              </a:pPr>
              <a:r>
                <a:rPr lang="nb-NO" sz="1867">
                  <a:solidFill>
                    <a:srgbClr val="3E3832"/>
                  </a:solidFill>
                  <a:latin typeface="Arial" panose="020B0604020202020204" pitchFamily="34" charset="0"/>
                  <a:cs typeface="Arial" panose="020B0604020202020204" pitchFamily="34" charset="0"/>
                </a:rPr>
                <a:t>Befolkningen 2023 og 2035</a:t>
              </a:r>
            </a:p>
            <a:p>
              <a:pPr>
                <a:defRPr sz="1800" b="1" i="0" u="none" strike="noStrike" kern="1200" baseline="0">
                  <a:solidFill>
                    <a:prstClr val="black"/>
                  </a:solidFill>
                  <a:latin typeface="+mn-lt"/>
                  <a:ea typeface="+mn-ea"/>
                  <a:cs typeface="+mn-cs"/>
                </a:defRPr>
              </a:pPr>
              <a:r>
                <a:rPr lang="nb-NO" sz="1000">
                  <a:solidFill>
                    <a:srgbClr val="3E3832"/>
                  </a:solidFill>
                  <a:latin typeface="Arial" panose="020B0604020202020204" pitchFamily="34" charset="0"/>
                  <a:cs typeface="Arial" panose="020B0604020202020204" pitchFamily="34" charset="0"/>
                </a:rPr>
                <a:t>Antall i 1000 og prosentvis endring</a:t>
              </a:r>
            </a:p>
          </p:txBody>
        </p:sp>
        <p:sp>
          <p:nvSpPr>
            <p:cNvPr id="16" name="TekstSylinder 13">
              <a:extLst>
                <a:ext uri="{FF2B5EF4-FFF2-40B4-BE49-F238E27FC236}">
                  <a16:creationId xmlns:a16="http://schemas.microsoft.com/office/drawing/2014/main" id="{A7AC822E-E7AD-CF4A-BC77-310CC5B2AE6F}"/>
                </a:ext>
              </a:extLst>
            </p:cNvPr>
            <p:cNvSpPr txBox="1"/>
            <p:nvPr/>
          </p:nvSpPr>
          <p:spPr>
            <a:xfrm rot="5400000">
              <a:off x="4628274" y="2292580"/>
              <a:ext cx="2414507" cy="215444"/>
            </a:xfrm>
            <a:prstGeom prst="rect">
              <a:avLst/>
            </a:prstGeom>
            <a:noFill/>
          </p:spPr>
          <p:txBody>
            <a:bodyPr wrap="square" rtlCol="0">
              <a:spAutoFit/>
            </a:bodyPr>
            <a:lstStyle/>
            <a:p>
              <a:r>
                <a:rPr lang="nb-NO" sz="800">
                  <a:solidFill>
                    <a:schemeClr val="bg1"/>
                  </a:solidFill>
                  <a:latin typeface="Arial" panose="020B0604020202020204" pitchFamily="34" charset="0"/>
                  <a:cs typeface="Arial" panose="020B0604020202020204" pitchFamily="34" charset="0"/>
                </a:rPr>
                <a:t>Foto: Rawpixel/Unsplash</a:t>
              </a:r>
            </a:p>
          </p:txBody>
        </p:sp>
        <p:sp>
          <p:nvSpPr>
            <p:cNvPr id="17" name="Venstre klammeparentes 1">
              <a:extLst>
                <a:ext uri="{FF2B5EF4-FFF2-40B4-BE49-F238E27FC236}">
                  <a16:creationId xmlns:a16="http://schemas.microsoft.com/office/drawing/2014/main" id="{2BA70C08-50C0-5640-A64A-207E5744F103}"/>
                </a:ext>
              </a:extLst>
            </p:cNvPr>
            <p:cNvSpPr/>
            <p:nvPr/>
          </p:nvSpPr>
          <p:spPr>
            <a:xfrm rot="5400000">
              <a:off x="2954341" y="1114315"/>
              <a:ext cx="340799" cy="1933637"/>
            </a:xfrm>
            <a:prstGeom prst="leftBrace">
              <a:avLst>
                <a:gd name="adj1" fmla="val 38749"/>
                <a:gd name="adj2" fmla="val 50000"/>
              </a:avLst>
            </a:prstGeom>
            <a:ln w="28575">
              <a:solidFill>
                <a:srgbClr val="06618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sz="2400"/>
            </a:p>
          </p:txBody>
        </p:sp>
        <p:sp>
          <p:nvSpPr>
            <p:cNvPr id="19" name="TekstSylinder 2">
              <a:extLst>
                <a:ext uri="{FF2B5EF4-FFF2-40B4-BE49-F238E27FC236}">
                  <a16:creationId xmlns:a16="http://schemas.microsoft.com/office/drawing/2014/main" id="{4D3CA7FF-BA8C-794A-B8E5-6E4BDCA72B7C}"/>
                </a:ext>
              </a:extLst>
            </p:cNvPr>
            <p:cNvSpPr txBox="1"/>
            <p:nvPr/>
          </p:nvSpPr>
          <p:spPr>
            <a:xfrm>
              <a:off x="4065412" y="1430536"/>
              <a:ext cx="612665" cy="349234"/>
            </a:xfrm>
            <a:prstGeom prst="rect">
              <a:avLst/>
            </a:prstGeom>
            <a:noFill/>
          </p:spPr>
          <p:txBody>
            <a:bodyPr wrap="square" rtlCol="0">
              <a:spAutoFit/>
            </a:bodyPr>
            <a:lstStyle/>
            <a:p>
              <a:r>
                <a:rPr lang="nb-NO" sz="1600">
                  <a:solidFill>
                    <a:srgbClr val="3E3832"/>
                  </a:solidFill>
                  <a:latin typeface="Arial" panose="020B0604020202020204" pitchFamily="34" charset="0"/>
                  <a:cs typeface="Arial" panose="020B0604020202020204" pitchFamily="34" charset="0"/>
                </a:rPr>
                <a:t>+2 %</a:t>
              </a:r>
            </a:p>
          </p:txBody>
        </p:sp>
        <p:sp>
          <p:nvSpPr>
            <p:cNvPr id="22" name="TekstSylinder 12">
              <a:extLst>
                <a:ext uri="{FF2B5EF4-FFF2-40B4-BE49-F238E27FC236}">
                  <a16:creationId xmlns:a16="http://schemas.microsoft.com/office/drawing/2014/main" id="{6C23EBB9-F5F2-B944-A889-AE65EA1B91EF}"/>
                </a:ext>
              </a:extLst>
            </p:cNvPr>
            <p:cNvSpPr txBox="1"/>
            <p:nvPr/>
          </p:nvSpPr>
          <p:spPr>
            <a:xfrm>
              <a:off x="2353574" y="6700174"/>
              <a:ext cx="3374231" cy="222240"/>
            </a:xfrm>
            <a:prstGeom prst="rect">
              <a:avLst/>
            </a:prstGeom>
            <a:noFill/>
          </p:spPr>
          <p:txBody>
            <a:bodyPr wrap="square" rtlCol="0">
              <a:spAutoFit/>
            </a:bodyPr>
            <a:lstStyle/>
            <a:p>
              <a:pPr algn="r"/>
              <a:r>
                <a:rPr lang="nb-NO" sz="800" b="1">
                  <a:solidFill>
                    <a:srgbClr val="3E3832"/>
                  </a:solidFill>
                  <a:latin typeface="Arial" panose="020B0604020202020204" pitchFamily="34" charset="0"/>
                  <a:cs typeface="Arial" panose="020B0604020202020204" pitchFamily="34" charset="0"/>
                </a:rPr>
                <a:t>Kilde:</a:t>
              </a:r>
              <a:r>
                <a:rPr lang="nb-NO" sz="800">
                  <a:solidFill>
                    <a:srgbClr val="3E3832"/>
                  </a:solidFill>
                  <a:latin typeface="Arial" panose="020B0604020202020204" pitchFamily="34" charset="0"/>
                  <a:cs typeface="Arial" panose="020B0604020202020204" pitchFamily="34" charset="0"/>
                </a:rPr>
                <a:t> SSBs befolkningsframskrivinger mellomalternativet, juli 2022</a:t>
              </a:r>
            </a:p>
          </p:txBody>
        </p:sp>
      </p:grpSp>
      <p:pic>
        <p:nvPicPr>
          <p:cNvPr id="27" name="Bilde 23">
            <a:extLst>
              <a:ext uri="{FF2B5EF4-FFF2-40B4-BE49-F238E27FC236}">
                <a16:creationId xmlns:a16="http://schemas.microsoft.com/office/drawing/2014/main" id="{7F82601E-4CA3-4170-BE61-3C008B57F9E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706"/>
          <a:stretch/>
        </p:blipFill>
        <p:spPr>
          <a:xfrm>
            <a:off x="10140076" y="1190363"/>
            <a:ext cx="1790314" cy="1790314"/>
          </a:xfrm>
          <a:prstGeom prst="ellipse">
            <a:avLst/>
          </a:prstGeom>
        </p:spPr>
      </p:pic>
      <p:sp>
        <p:nvSpPr>
          <p:cNvPr id="9" name="TekstSylinder 8">
            <a:extLst>
              <a:ext uri="{FF2B5EF4-FFF2-40B4-BE49-F238E27FC236}">
                <a16:creationId xmlns:a16="http://schemas.microsoft.com/office/drawing/2014/main" id="{C3589591-D45B-4B2B-87B5-F1AA45B0C3D4}"/>
              </a:ext>
            </a:extLst>
          </p:cNvPr>
          <p:cNvSpPr txBox="1"/>
          <p:nvPr/>
        </p:nvSpPr>
        <p:spPr>
          <a:xfrm rot="16200000">
            <a:off x="11452920" y="6129470"/>
            <a:ext cx="1216550" cy="261610"/>
          </a:xfrm>
          <a:prstGeom prst="rect">
            <a:avLst/>
          </a:prstGeom>
          <a:noFill/>
        </p:spPr>
        <p:txBody>
          <a:bodyPr wrap="square" rtlCol="0">
            <a:spAutoFit/>
          </a:bodyPr>
          <a:lstStyle/>
          <a:p>
            <a:r>
              <a:rPr lang="nb-NO" sz="1100">
                <a:latin typeface="Arial" panose="020B0604020202020204" pitchFamily="34" charset="0"/>
                <a:cs typeface="Arial" panose="020B0604020202020204" pitchFamily="34" charset="0"/>
              </a:rPr>
              <a:t>Foto: Unsplash</a:t>
            </a:r>
          </a:p>
        </p:txBody>
      </p:sp>
    </p:spTree>
    <p:extLst>
      <p:ext uri="{BB962C8B-B14F-4D97-AF65-F5344CB8AC3E}">
        <p14:creationId xmlns:p14="http://schemas.microsoft.com/office/powerpoint/2010/main" val="2505189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244E616-24C0-E1B1-CDD7-517036EF88EB}"/>
              </a:ext>
            </a:extLst>
          </p:cNvPr>
          <p:cNvSpPr>
            <a:spLocks noGrp="1"/>
          </p:cNvSpPr>
          <p:nvPr>
            <p:ph type="title"/>
          </p:nvPr>
        </p:nvSpPr>
        <p:spPr/>
        <p:txBody>
          <a:bodyPr/>
          <a:lstStyle/>
          <a:p>
            <a:r>
              <a:rPr lang="nb-NO"/>
              <a:t>Sterk vekst i mottakere av hjelpemidler og alderspensjon</a:t>
            </a:r>
          </a:p>
        </p:txBody>
      </p:sp>
      <p:graphicFrame>
        <p:nvGraphicFramePr>
          <p:cNvPr id="8" name="Diagram 7">
            <a:extLst>
              <a:ext uri="{FF2B5EF4-FFF2-40B4-BE49-F238E27FC236}">
                <a16:creationId xmlns:a16="http://schemas.microsoft.com/office/drawing/2014/main" id="{593BDA29-4B12-6D33-863C-027164633F1F}"/>
              </a:ext>
            </a:extLst>
          </p:cNvPr>
          <p:cNvGraphicFramePr/>
          <p:nvPr>
            <p:extLst>
              <p:ext uri="{D42A27DB-BD31-4B8C-83A1-F6EECF244321}">
                <p14:modId xmlns:p14="http://schemas.microsoft.com/office/powerpoint/2010/main" val="3121124519"/>
              </p:ext>
            </p:extLst>
          </p:nvPr>
        </p:nvGraphicFramePr>
        <p:xfrm>
          <a:off x="650718" y="1773577"/>
          <a:ext cx="10703082" cy="4865762"/>
        </p:xfrm>
        <a:graphic>
          <a:graphicData uri="http://schemas.openxmlformats.org/drawingml/2006/chart">
            <c:chart xmlns:c="http://schemas.openxmlformats.org/drawingml/2006/chart" xmlns:r="http://schemas.openxmlformats.org/officeDocument/2006/relationships" r:id="rId3"/>
          </a:graphicData>
        </a:graphic>
      </p:graphicFrame>
      <p:sp>
        <p:nvSpPr>
          <p:cNvPr id="3" name="Rektangel 10">
            <a:extLst>
              <a:ext uri="{FF2B5EF4-FFF2-40B4-BE49-F238E27FC236}">
                <a16:creationId xmlns:a16="http://schemas.microsoft.com/office/drawing/2014/main" id="{2F0B347A-1166-EF08-E53E-4598A8240963}"/>
              </a:ext>
            </a:extLst>
          </p:cNvPr>
          <p:cNvSpPr/>
          <p:nvPr/>
        </p:nvSpPr>
        <p:spPr>
          <a:xfrm>
            <a:off x="650718" y="1650466"/>
            <a:ext cx="5374162" cy="246221"/>
          </a:xfrm>
          <a:prstGeom prst="rect">
            <a:avLst/>
          </a:prstGeom>
        </p:spPr>
        <p:txBody>
          <a:bodyPr wrap="square">
            <a:spAutoFit/>
          </a:bodyPr>
          <a:lstStyle/>
          <a:p>
            <a:pPr>
              <a:defRPr sz="1800" b="1" i="0" u="none" strike="noStrike" kern="1200" baseline="0">
                <a:solidFill>
                  <a:prstClr val="black"/>
                </a:solidFill>
                <a:latin typeface="+mn-lt"/>
                <a:ea typeface="+mn-ea"/>
                <a:cs typeface="+mn-cs"/>
              </a:defRPr>
            </a:pPr>
            <a:r>
              <a:rPr lang="nb-NO" sz="1000">
                <a:solidFill>
                  <a:srgbClr val="3E3832"/>
                </a:solidFill>
                <a:latin typeface="Arial" panose="020B0604020202020204" pitchFamily="34" charset="0"/>
                <a:cs typeface="Arial" panose="020B0604020202020204" pitchFamily="34" charset="0"/>
              </a:rPr>
              <a:t>Årsgjennomsnitt for antall mottakere i 1 000 og prosentvis endring 2023–2035</a:t>
            </a:r>
          </a:p>
        </p:txBody>
      </p:sp>
    </p:spTree>
    <p:extLst>
      <p:ext uri="{BB962C8B-B14F-4D97-AF65-F5344CB8AC3E}">
        <p14:creationId xmlns:p14="http://schemas.microsoft.com/office/powerpoint/2010/main" val="1481927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50B25810-5EFC-E05B-7901-8E7A4ED9891C}"/>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F0434D61-A687-44E3-0765-82576E2F66E1}"/>
              </a:ext>
            </a:extLst>
          </p:cNvPr>
          <p:cNvSpPr>
            <a:spLocks noGrp="1"/>
          </p:cNvSpPr>
          <p:nvPr>
            <p:ph type="title"/>
          </p:nvPr>
        </p:nvSpPr>
        <p:spPr>
          <a:xfrm>
            <a:off x="609600" y="482400"/>
            <a:ext cx="5394765" cy="1072080"/>
          </a:xfrm>
        </p:spPr>
        <p:txBody>
          <a:bodyPr/>
          <a:lstStyle/>
          <a:p>
            <a:r>
              <a:rPr lang="nb-NO"/>
              <a:t>Størst vekst i sentrale </a:t>
            </a:r>
            <a:br>
              <a:rPr lang="nb-NO"/>
            </a:br>
            <a:r>
              <a:rPr lang="nb-NO"/>
              <a:t>kommuner</a:t>
            </a:r>
          </a:p>
        </p:txBody>
      </p:sp>
      <p:sp>
        <p:nvSpPr>
          <p:cNvPr id="7" name="TekstSylinder 6">
            <a:extLst>
              <a:ext uri="{FF2B5EF4-FFF2-40B4-BE49-F238E27FC236}">
                <a16:creationId xmlns:a16="http://schemas.microsoft.com/office/drawing/2014/main" id="{77B5EF0E-0038-36AA-32F0-59EC62FF1640}"/>
              </a:ext>
            </a:extLst>
          </p:cNvPr>
          <p:cNvSpPr txBox="1"/>
          <p:nvPr/>
        </p:nvSpPr>
        <p:spPr>
          <a:xfrm>
            <a:off x="5458884" y="5633389"/>
            <a:ext cx="38664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FFFFFF"/>
                </a:solidFill>
                <a:effectLst/>
                <a:uLnTx/>
                <a:uFillTx/>
                <a:latin typeface="Calibri" panose="020F0502020204030204"/>
                <a:ea typeface="+mn-ea"/>
                <a:cs typeface="+mn-cs"/>
              </a:rPr>
              <a:t>9,4%</a:t>
            </a:r>
          </a:p>
        </p:txBody>
      </p:sp>
      <p:sp>
        <p:nvSpPr>
          <p:cNvPr id="3" name="TekstSylinder 2">
            <a:extLst>
              <a:ext uri="{FF2B5EF4-FFF2-40B4-BE49-F238E27FC236}">
                <a16:creationId xmlns:a16="http://schemas.microsoft.com/office/drawing/2014/main" id="{42605C73-3AA6-3208-8D60-FAB8438F0665}"/>
              </a:ext>
            </a:extLst>
          </p:cNvPr>
          <p:cNvSpPr txBox="1"/>
          <p:nvPr/>
        </p:nvSpPr>
        <p:spPr>
          <a:xfrm>
            <a:off x="609600" y="1673465"/>
            <a:ext cx="572665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Befolkningsvekst 2023–2035 etter sentralit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lketall i hver gruppe kommuner i parentes, i millioner)</a:t>
            </a:r>
          </a:p>
        </p:txBody>
      </p:sp>
      <p:pic>
        <p:nvPicPr>
          <p:cNvPr id="6" name="Bilde 5">
            <a:extLst>
              <a:ext uri="{FF2B5EF4-FFF2-40B4-BE49-F238E27FC236}">
                <a16:creationId xmlns:a16="http://schemas.microsoft.com/office/drawing/2014/main" id="{B8584628-7297-E409-2403-DA515E5B33E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548561" y="415553"/>
            <a:ext cx="3190878" cy="3037813"/>
          </a:xfrm>
          <a:prstGeom prst="flowChartConnector">
            <a:avLst/>
          </a:prstGeom>
        </p:spPr>
      </p:pic>
      <p:sp>
        <p:nvSpPr>
          <p:cNvPr id="4" name="TekstSylinder 12">
            <a:extLst>
              <a:ext uri="{FF2B5EF4-FFF2-40B4-BE49-F238E27FC236}">
                <a16:creationId xmlns:a16="http://schemas.microsoft.com/office/drawing/2014/main" id="{D7214331-7536-86E4-1B21-C9195C52727B}"/>
              </a:ext>
            </a:extLst>
          </p:cNvPr>
          <p:cNvSpPr txBox="1"/>
          <p:nvPr/>
        </p:nvSpPr>
        <p:spPr>
          <a:xfrm>
            <a:off x="2158832" y="6462763"/>
            <a:ext cx="3845533"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t>Kilde:</a:t>
            </a:r>
            <a:r>
              <a:rPr kumimoji="0" lang="nb-NO" sz="800" b="0"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t> SSBs befolkningsframskrivinger mellomalternativet, juli 2022</a:t>
            </a:r>
          </a:p>
        </p:txBody>
      </p:sp>
      <p:sp>
        <p:nvSpPr>
          <p:cNvPr id="9" name="Plassholder for innhold 8">
            <a:extLst>
              <a:ext uri="{FF2B5EF4-FFF2-40B4-BE49-F238E27FC236}">
                <a16:creationId xmlns:a16="http://schemas.microsoft.com/office/drawing/2014/main" id="{985A973B-AF30-8374-40C0-52F516DFFB9A}"/>
              </a:ext>
            </a:extLst>
          </p:cNvPr>
          <p:cNvSpPr>
            <a:spLocks noGrp="1"/>
          </p:cNvSpPr>
          <p:nvPr>
            <p:ph sz="half" idx="2"/>
          </p:nvPr>
        </p:nvSpPr>
        <p:spPr>
          <a:xfrm>
            <a:off x="6733908" y="3868919"/>
            <a:ext cx="4871158" cy="2336483"/>
          </a:xfrm>
        </p:spPr>
        <p:txBody>
          <a:bodyPr>
            <a:normAutofit fontScale="92500" lnSpcReduction="10000"/>
          </a:bodyPr>
          <a:lstStyle/>
          <a:p>
            <a:r>
              <a:rPr lang="nb-NO" sz="1600"/>
              <a:t>Nesten halvparten av befolkningen bor i sentrale kommuner</a:t>
            </a:r>
          </a:p>
          <a:p>
            <a:r>
              <a:rPr lang="nb-NO" sz="1600"/>
              <a:t>Befolkningsnedgang i 4 av 10 kommuner</a:t>
            </a:r>
          </a:p>
          <a:p>
            <a:r>
              <a:rPr lang="nb-NO" sz="1600"/>
              <a:t>Nedgang i befolkningen i yrkesaktiv alder i 2 av 3 kommuner </a:t>
            </a:r>
          </a:p>
          <a:p>
            <a:pPr lvl="1"/>
            <a:r>
              <a:rPr lang="nb-NO" sz="1200"/>
              <a:t>mangel på kvalifisert arbeidskraft, også for NAV</a:t>
            </a:r>
          </a:p>
          <a:p>
            <a:r>
              <a:rPr lang="nb-NO" sz="1600"/>
              <a:t>Færre brukere på mange NAV-kontor</a:t>
            </a:r>
          </a:p>
          <a:p>
            <a:pPr lvl="1"/>
            <a:r>
              <a:rPr lang="nb-NO" sz="1200"/>
              <a:t>forsterket av digitalisering</a:t>
            </a:r>
          </a:p>
          <a:p>
            <a:pPr lvl="1"/>
            <a:r>
              <a:rPr lang="nb-NO" sz="1200"/>
              <a:t>Behov for endret organisering for å sikre kunnskapsmiljøer og effektiv ressursutnyttelse </a:t>
            </a:r>
          </a:p>
        </p:txBody>
      </p:sp>
      <p:graphicFrame>
        <p:nvGraphicFramePr>
          <p:cNvPr id="11" name="Diagram 10">
            <a:extLst>
              <a:ext uri="{FF2B5EF4-FFF2-40B4-BE49-F238E27FC236}">
                <a16:creationId xmlns:a16="http://schemas.microsoft.com/office/drawing/2014/main" id="{2A6E5D02-B7A7-4F1C-ACEE-845E7C8E051E}"/>
              </a:ext>
            </a:extLst>
          </p:cNvPr>
          <p:cNvGraphicFramePr/>
          <p:nvPr>
            <p:extLst>
              <p:ext uri="{D42A27DB-BD31-4B8C-83A1-F6EECF244321}">
                <p14:modId xmlns:p14="http://schemas.microsoft.com/office/powerpoint/2010/main" val="810749993"/>
              </p:ext>
            </p:extLst>
          </p:nvPr>
        </p:nvGraphicFramePr>
        <p:xfrm>
          <a:off x="586934" y="2377226"/>
          <a:ext cx="5394766" cy="3363885"/>
        </p:xfrm>
        <a:graphic>
          <a:graphicData uri="http://schemas.openxmlformats.org/drawingml/2006/chart">
            <c:chart xmlns:c="http://schemas.openxmlformats.org/drawingml/2006/chart" xmlns:r="http://schemas.openxmlformats.org/officeDocument/2006/relationships" r:id="rId4"/>
          </a:graphicData>
        </a:graphic>
      </p:graphicFrame>
      <p:sp>
        <p:nvSpPr>
          <p:cNvPr id="5" name="TekstSylinder 6">
            <a:extLst>
              <a:ext uri="{FF2B5EF4-FFF2-40B4-BE49-F238E27FC236}">
                <a16:creationId xmlns:a16="http://schemas.microsoft.com/office/drawing/2014/main" id="{ADA497E4-437A-4B00-4CA4-18D7323CFF38}"/>
              </a:ext>
            </a:extLst>
          </p:cNvPr>
          <p:cNvSpPr txBox="1"/>
          <p:nvPr/>
        </p:nvSpPr>
        <p:spPr>
          <a:xfrm>
            <a:off x="9899641" y="6462763"/>
            <a:ext cx="212072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oto: </a:t>
            </a:r>
            <a:r>
              <a:rPr kumimoji="0" lang="nb-NO" sz="800" b="0" i="0" u="none" strike="noStrike" kern="1200" cap="none" spc="0" normalizeH="0" baseline="0" noProof="0" err="1">
                <a:ln>
                  <a:noFill/>
                </a:ln>
                <a:effectLst/>
                <a:uLnTx/>
                <a:uFillTx/>
                <a:latin typeface="Arial" panose="020B0604020202020204" pitchFamily="34" charset="0"/>
                <a:ea typeface="+mn-ea"/>
                <a:cs typeface="Arial" panose="020B0604020202020204" pitchFamily="34" charset="0"/>
              </a:rPr>
              <a:t>Colourbox</a:t>
            </a:r>
            <a:endParaRPr kumimoji="0" lang="nb-NO"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80598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B83DDFE-649E-ECBB-7C9F-05AE95AC5572}"/>
              </a:ext>
            </a:extLst>
          </p:cNvPr>
          <p:cNvSpPr>
            <a:spLocks noGrp="1"/>
          </p:cNvSpPr>
          <p:nvPr>
            <p:ph type="title"/>
          </p:nvPr>
        </p:nvSpPr>
        <p:spPr/>
        <p:txBody>
          <a:bodyPr>
            <a:normAutofit/>
          </a:bodyPr>
          <a:lstStyle/>
          <a:p>
            <a:r>
              <a:rPr lang="nb-NO" sz="3200">
                <a:latin typeface="Arial" panose="020B0604020202020204" pitchFamily="34" charset="0"/>
                <a:cs typeface="Arial" panose="020B0604020202020204" pitchFamily="34" charset="0"/>
              </a:rPr>
              <a:t>Når antall </a:t>
            </a:r>
            <a:r>
              <a:rPr lang="nb-NO" sz="3200">
                <a:solidFill>
                  <a:srgbClr val="C00000"/>
                </a:solidFill>
                <a:latin typeface="Arial" panose="020B0604020202020204" pitchFamily="34" charset="0"/>
                <a:cs typeface="Arial" panose="020B0604020202020204" pitchFamily="34" charset="0"/>
              </a:rPr>
              <a:t>eldre</a:t>
            </a:r>
            <a:r>
              <a:rPr lang="nb-NO" sz="3200">
                <a:latin typeface="Arial" panose="020B0604020202020204" pitchFamily="34" charset="0"/>
                <a:cs typeface="Arial" panose="020B0604020202020204" pitchFamily="34" charset="0"/>
              </a:rPr>
              <a:t> vil passere antall </a:t>
            </a:r>
            <a:r>
              <a:rPr lang="nb-NO" sz="3200">
                <a:solidFill>
                  <a:srgbClr val="0C5472"/>
                </a:solidFill>
                <a:latin typeface="Arial" panose="020B0604020202020204" pitchFamily="34" charset="0"/>
                <a:cs typeface="Arial" panose="020B0604020202020204" pitchFamily="34" charset="0"/>
              </a:rPr>
              <a:t>yngre</a:t>
            </a:r>
            <a:r>
              <a:rPr lang="nb-NO" sz="3200">
                <a:latin typeface="Arial" panose="020B0604020202020204" pitchFamily="34" charset="0"/>
                <a:cs typeface="Arial" panose="020B0604020202020204" pitchFamily="34" charset="0"/>
              </a:rPr>
              <a:t> i fylkene…</a:t>
            </a:r>
            <a:endParaRPr lang="nb-NO"/>
          </a:p>
        </p:txBody>
      </p:sp>
      <p:graphicFrame>
        <p:nvGraphicFramePr>
          <p:cNvPr id="3" name="Tabell 3">
            <a:extLst>
              <a:ext uri="{FF2B5EF4-FFF2-40B4-BE49-F238E27FC236}">
                <a16:creationId xmlns:a16="http://schemas.microsoft.com/office/drawing/2014/main" id="{E1640A42-0E56-52ED-FE3A-AE4A6A8B8FFD}"/>
              </a:ext>
            </a:extLst>
          </p:cNvPr>
          <p:cNvGraphicFramePr>
            <a:graphicFrameLocks noGrp="1"/>
          </p:cNvGraphicFramePr>
          <p:nvPr>
            <p:extLst>
              <p:ext uri="{D42A27DB-BD31-4B8C-83A1-F6EECF244321}">
                <p14:modId xmlns:p14="http://schemas.microsoft.com/office/powerpoint/2010/main" val="3297345066"/>
              </p:ext>
            </p:extLst>
          </p:nvPr>
        </p:nvGraphicFramePr>
        <p:xfrm>
          <a:off x="5732443" y="1554480"/>
          <a:ext cx="5174256" cy="4697970"/>
        </p:xfrm>
        <a:graphic>
          <a:graphicData uri="http://schemas.openxmlformats.org/drawingml/2006/table">
            <a:tbl>
              <a:tblPr firstRow="1" bandRow="1">
                <a:tableStyleId>{9D7B26C5-4107-4FEC-AEDC-1716B250A1EF}</a:tableStyleId>
              </a:tblPr>
              <a:tblGrid>
                <a:gridCol w="2587128">
                  <a:extLst>
                    <a:ext uri="{9D8B030D-6E8A-4147-A177-3AD203B41FA5}">
                      <a16:colId xmlns:a16="http://schemas.microsoft.com/office/drawing/2014/main" val="2099795972"/>
                    </a:ext>
                  </a:extLst>
                </a:gridCol>
                <a:gridCol w="2587128">
                  <a:extLst>
                    <a:ext uri="{9D8B030D-6E8A-4147-A177-3AD203B41FA5}">
                      <a16:colId xmlns:a16="http://schemas.microsoft.com/office/drawing/2014/main" val="2401660984"/>
                    </a:ext>
                  </a:extLst>
                </a:gridCol>
              </a:tblGrid>
              <a:tr h="493435">
                <a:tc>
                  <a:txBody>
                    <a:bodyPr/>
                    <a:lstStyle/>
                    <a:p>
                      <a:r>
                        <a:rPr lang="nb-NO" sz="2400">
                          <a:latin typeface="Arial" panose="020B0604020202020204" pitchFamily="34" charset="0"/>
                          <a:cs typeface="Arial" panose="020B0604020202020204" pitchFamily="34" charset="0"/>
                        </a:rPr>
                        <a:t>År</a:t>
                      </a:r>
                    </a:p>
                  </a:txBody>
                  <a:tcPr/>
                </a:tc>
                <a:tc>
                  <a:txBody>
                    <a:bodyPr/>
                    <a:lstStyle/>
                    <a:p>
                      <a:r>
                        <a:rPr lang="nb-NO" sz="2400">
                          <a:latin typeface="Arial" panose="020B0604020202020204" pitchFamily="34" charset="0"/>
                          <a:cs typeface="Arial" panose="020B0604020202020204" pitchFamily="34" charset="0"/>
                        </a:rPr>
                        <a:t>Fylke</a:t>
                      </a:r>
                    </a:p>
                  </a:txBody>
                  <a:tcPr/>
                </a:tc>
                <a:extLst>
                  <a:ext uri="{0D108BD9-81ED-4DB2-BD59-A6C34878D82A}">
                    <a16:rowId xmlns:a16="http://schemas.microsoft.com/office/drawing/2014/main" val="3694739745"/>
                  </a:ext>
                </a:extLst>
              </a:tr>
              <a:tr h="493435">
                <a:tc>
                  <a:txBody>
                    <a:bodyPr/>
                    <a:lstStyle/>
                    <a:p>
                      <a:r>
                        <a:rPr lang="nb-NO" sz="1600">
                          <a:latin typeface="Arial" panose="020B0604020202020204" pitchFamily="34" charset="0"/>
                          <a:cs typeface="Arial" panose="020B0604020202020204" pitchFamily="34" charset="0"/>
                        </a:rPr>
                        <a:t>2019</a:t>
                      </a:r>
                    </a:p>
                  </a:txBody>
                  <a:tcPr/>
                </a:tc>
                <a:tc>
                  <a:txBody>
                    <a:bodyPr/>
                    <a:lstStyle/>
                    <a:p>
                      <a:r>
                        <a:rPr lang="nb-NO" sz="1600">
                          <a:latin typeface="Arial" panose="020B0604020202020204" pitchFamily="34" charset="0"/>
                          <a:cs typeface="Arial" panose="020B0604020202020204" pitchFamily="34" charset="0"/>
                        </a:rPr>
                        <a:t>Innlandet</a:t>
                      </a:r>
                    </a:p>
                  </a:txBody>
                  <a:tcPr/>
                </a:tc>
                <a:extLst>
                  <a:ext uri="{0D108BD9-81ED-4DB2-BD59-A6C34878D82A}">
                    <a16:rowId xmlns:a16="http://schemas.microsoft.com/office/drawing/2014/main" val="606737138"/>
                  </a:ext>
                </a:extLst>
              </a:tr>
              <a:tr h="493435">
                <a:tc>
                  <a:txBody>
                    <a:bodyPr/>
                    <a:lstStyle/>
                    <a:p>
                      <a:r>
                        <a:rPr lang="nb-NO" sz="1600">
                          <a:latin typeface="Arial" panose="020B0604020202020204" pitchFamily="34" charset="0"/>
                          <a:cs typeface="Arial" panose="020B0604020202020204" pitchFamily="34" charset="0"/>
                        </a:rPr>
                        <a:t>2022</a:t>
                      </a:r>
                    </a:p>
                  </a:txBody>
                  <a:tcPr/>
                </a:tc>
                <a:tc>
                  <a:txBody>
                    <a:bodyPr/>
                    <a:lstStyle/>
                    <a:p>
                      <a:r>
                        <a:rPr lang="nb-NO" sz="1600">
                          <a:latin typeface="Arial" panose="020B0604020202020204" pitchFamily="34" charset="0"/>
                          <a:cs typeface="Arial" panose="020B0604020202020204" pitchFamily="34" charset="0"/>
                        </a:rPr>
                        <a:t>Nordland</a:t>
                      </a:r>
                    </a:p>
                  </a:txBody>
                  <a:tcPr/>
                </a:tc>
                <a:extLst>
                  <a:ext uri="{0D108BD9-81ED-4DB2-BD59-A6C34878D82A}">
                    <a16:rowId xmlns:a16="http://schemas.microsoft.com/office/drawing/2014/main" val="4163639411"/>
                  </a:ext>
                </a:extLst>
              </a:tr>
              <a:tr h="493435">
                <a:tc>
                  <a:txBody>
                    <a:bodyPr/>
                    <a:lstStyle/>
                    <a:p>
                      <a:r>
                        <a:rPr lang="nb-NO" sz="1600">
                          <a:latin typeface="Arial" panose="020B0604020202020204" pitchFamily="34" charset="0"/>
                          <a:cs typeface="Arial" panose="020B0604020202020204" pitchFamily="34" charset="0"/>
                        </a:rPr>
                        <a:t>2024</a:t>
                      </a:r>
                    </a:p>
                  </a:txBody>
                  <a:tcPr/>
                </a:tc>
                <a:tc>
                  <a:txBody>
                    <a:bodyPr/>
                    <a:lstStyle/>
                    <a:p>
                      <a:r>
                        <a:rPr lang="nb-NO" sz="1600">
                          <a:latin typeface="Arial" panose="020B0604020202020204" pitchFamily="34" charset="0"/>
                          <a:cs typeface="Arial" panose="020B0604020202020204" pitchFamily="34" charset="0"/>
                        </a:rPr>
                        <a:t>Vestfold og Telemark</a:t>
                      </a:r>
                    </a:p>
                  </a:txBody>
                  <a:tcPr/>
                </a:tc>
                <a:extLst>
                  <a:ext uri="{0D108BD9-81ED-4DB2-BD59-A6C34878D82A}">
                    <a16:rowId xmlns:a16="http://schemas.microsoft.com/office/drawing/2014/main" val="3602955093"/>
                  </a:ext>
                </a:extLst>
              </a:tr>
              <a:tr h="551452">
                <a:tc>
                  <a:txBody>
                    <a:bodyPr/>
                    <a:lstStyle/>
                    <a:p>
                      <a:r>
                        <a:rPr lang="nb-NO" sz="1600">
                          <a:latin typeface="Arial" panose="020B0604020202020204" pitchFamily="34" charset="0"/>
                          <a:cs typeface="Arial" panose="020B0604020202020204" pitchFamily="34" charset="0"/>
                        </a:rPr>
                        <a:t>2026</a:t>
                      </a:r>
                    </a:p>
                  </a:txBody>
                  <a:tcPr/>
                </a:tc>
                <a:tc>
                  <a:txBody>
                    <a:bodyPr/>
                    <a:lstStyle/>
                    <a:p>
                      <a:r>
                        <a:rPr lang="nb-NO" sz="1600">
                          <a:latin typeface="Arial" panose="020B0604020202020204" pitchFamily="34" charset="0"/>
                          <a:cs typeface="Arial" panose="020B0604020202020204" pitchFamily="34" charset="0"/>
                        </a:rPr>
                        <a:t>Møre og Romsdal</a:t>
                      </a:r>
                    </a:p>
                    <a:p>
                      <a:r>
                        <a:rPr lang="nb-NO" sz="1600">
                          <a:latin typeface="Arial" panose="020B0604020202020204" pitchFamily="34" charset="0"/>
                          <a:cs typeface="Arial" panose="020B0604020202020204" pitchFamily="34" charset="0"/>
                        </a:rPr>
                        <a:t>Troms og Finnmark</a:t>
                      </a:r>
                    </a:p>
                  </a:txBody>
                  <a:tcPr/>
                </a:tc>
                <a:extLst>
                  <a:ext uri="{0D108BD9-81ED-4DB2-BD59-A6C34878D82A}">
                    <a16:rowId xmlns:a16="http://schemas.microsoft.com/office/drawing/2014/main" val="1007260867"/>
                  </a:ext>
                </a:extLst>
              </a:tr>
              <a:tr h="551452">
                <a:tc>
                  <a:txBody>
                    <a:bodyPr/>
                    <a:lstStyle/>
                    <a:p>
                      <a:r>
                        <a:rPr lang="nb-NO" sz="1600">
                          <a:latin typeface="Arial" panose="020B0604020202020204" pitchFamily="34" charset="0"/>
                          <a:cs typeface="Arial" panose="020B0604020202020204" pitchFamily="34" charset="0"/>
                        </a:rPr>
                        <a:t>2031</a:t>
                      </a:r>
                    </a:p>
                  </a:txBody>
                  <a:tcPr/>
                </a:tc>
                <a:tc>
                  <a:txBody>
                    <a:bodyPr/>
                    <a:lstStyle/>
                    <a:p>
                      <a:r>
                        <a:rPr lang="nb-NO" sz="1600">
                          <a:latin typeface="Arial" panose="020B0604020202020204" pitchFamily="34" charset="0"/>
                          <a:cs typeface="Arial" panose="020B0604020202020204" pitchFamily="34" charset="0"/>
                        </a:rPr>
                        <a:t>Agder</a:t>
                      </a:r>
                      <a:br>
                        <a:rPr lang="nb-NO" sz="1600">
                          <a:latin typeface="Arial" panose="020B0604020202020204" pitchFamily="34" charset="0"/>
                          <a:cs typeface="Arial" panose="020B0604020202020204" pitchFamily="34" charset="0"/>
                        </a:rPr>
                      </a:br>
                      <a:r>
                        <a:rPr lang="nb-NO" sz="1600">
                          <a:latin typeface="Arial" panose="020B0604020202020204" pitchFamily="34" charset="0"/>
                          <a:cs typeface="Arial" panose="020B0604020202020204" pitchFamily="34" charset="0"/>
                        </a:rPr>
                        <a:t>Trøndelag</a:t>
                      </a:r>
                    </a:p>
                  </a:txBody>
                  <a:tcPr/>
                </a:tc>
                <a:extLst>
                  <a:ext uri="{0D108BD9-81ED-4DB2-BD59-A6C34878D82A}">
                    <a16:rowId xmlns:a16="http://schemas.microsoft.com/office/drawing/2014/main" val="4268284434"/>
                  </a:ext>
                </a:extLst>
              </a:tr>
              <a:tr h="551452">
                <a:tc>
                  <a:txBody>
                    <a:bodyPr/>
                    <a:lstStyle/>
                    <a:p>
                      <a:r>
                        <a:rPr lang="nb-NO" sz="1600">
                          <a:latin typeface="Arial" panose="020B0604020202020204" pitchFamily="34" charset="0"/>
                          <a:cs typeface="Arial" panose="020B0604020202020204" pitchFamily="34" charset="0"/>
                        </a:rPr>
                        <a:t>2032</a:t>
                      </a:r>
                    </a:p>
                  </a:txBody>
                  <a:tcPr/>
                </a:tc>
                <a:tc>
                  <a:txBody>
                    <a:bodyPr/>
                    <a:lstStyle/>
                    <a:p>
                      <a:r>
                        <a:rPr lang="nb-NO" sz="1600" err="1">
                          <a:latin typeface="Arial" panose="020B0604020202020204" pitchFamily="34" charset="0"/>
                          <a:cs typeface="Arial" panose="020B0604020202020204" pitchFamily="34" charset="0"/>
                        </a:rPr>
                        <a:t>Vestland</a:t>
                      </a:r>
                      <a:br>
                        <a:rPr lang="nb-NO" sz="1600">
                          <a:latin typeface="Arial" panose="020B0604020202020204" pitchFamily="34" charset="0"/>
                          <a:cs typeface="Arial" panose="020B0604020202020204" pitchFamily="34" charset="0"/>
                        </a:rPr>
                      </a:br>
                      <a:r>
                        <a:rPr lang="nb-NO" sz="1600">
                          <a:latin typeface="Arial" panose="020B0604020202020204" pitchFamily="34" charset="0"/>
                          <a:cs typeface="Arial" panose="020B0604020202020204" pitchFamily="34" charset="0"/>
                        </a:rPr>
                        <a:t>Viken</a:t>
                      </a:r>
                    </a:p>
                  </a:txBody>
                  <a:tcPr/>
                </a:tc>
                <a:extLst>
                  <a:ext uri="{0D108BD9-81ED-4DB2-BD59-A6C34878D82A}">
                    <a16:rowId xmlns:a16="http://schemas.microsoft.com/office/drawing/2014/main" val="2566098012"/>
                  </a:ext>
                </a:extLst>
              </a:tr>
              <a:tr h="493435">
                <a:tc>
                  <a:txBody>
                    <a:bodyPr/>
                    <a:lstStyle/>
                    <a:p>
                      <a:r>
                        <a:rPr lang="nb-NO" sz="1600">
                          <a:latin typeface="Arial" panose="020B0604020202020204" pitchFamily="34" charset="0"/>
                          <a:cs typeface="Arial" panose="020B0604020202020204" pitchFamily="34" charset="0"/>
                        </a:rPr>
                        <a:t>2037</a:t>
                      </a:r>
                    </a:p>
                  </a:txBody>
                  <a:tcPr/>
                </a:tc>
                <a:tc>
                  <a:txBody>
                    <a:bodyPr/>
                    <a:lstStyle/>
                    <a:p>
                      <a:r>
                        <a:rPr lang="nb-NO" sz="1600">
                          <a:latin typeface="Arial" panose="020B0604020202020204" pitchFamily="34" charset="0"/>
                          <a:cs typeface="Arial" panose="020B0604020202020204" pitchFamily="34" charset="0"/>
                        </a:rPr>
                        <a:t>Rogaland</a:t>
                      </a:r>
                    </a:p>
                  </a:txBody>
                  <a:tcPr/>
                </a:tc>
                <a:extLst>
                  <a:ext uri="{0D108BD9-81ED-4DB2-BD59-A6C34878D82A}">
                    <a16:rowId xmlns:a16="http://schemas.microsoft.com/office/drawing/2014/main" val="2399851887"/>
                  </a:ext>
                </a:extLst>
              </a:tr>
              <a:tr h="493435">
                <a:tc>
                  <a:txBody>
                    <a:bodyPr/>
                    <a:lstStyle/>
                    <a:p>
                      <a:r>
                        <a:rPr lang="nb-NO" sz="1600">
                          <a:latin typeface="Arial" panose="020B0604020202020204" pitchFamily="34" charset="0"/>
                          <a:cs typeface="Arial" panose="020B0604020202020204" pitchFamily="34" charset="0"/>
                        </a:rPr>
                        <a:t>2046 </a:t>
                      </a:r>
                    </a:p>
                  </a:txBody>
                  <a:tcPr/>
                </a:tc>
                <a:tc>
                  <a:txBody>
                    <a:bodyPr/>
                    <a:lstStyle/>
                    <a:p>
                      <a:r>
                        <a:rPr lang="nb-NO" sz="1600">
                          <a:latin typeface="Arial" panose="020B0604020202020204" pitchFamily="34" charset="0"/>
                          <a:cs typeface="Arial" panose="020B0604020202020204" pitchFamily="34" charset="0"/>
                        </a:rPr>
                        <a:t>Oslo</a:t>
                      </a:r>
                    </a:p>
                  </a:txBody>
                  <a:tcPr/>
                </a:tc>
                <a:extLst>
                  <a:ext uri="{0D108BD9-81ED-4DB2-BD59-A6C34878D82A}">
                    <a16:rowId xmlns:a16="http://schemas.microsoft.com/office/drawing/2014/main" val="249548133"/>
                  </a:ext>
                </a:extLst>
              </a:tr>
            </a:tbl>
          </a:graphicData>
        </a:graphic>
      </p:graphicFrame>
      <p:sp>
        <p:nvSpPr>
          <p:cNvPr id="4" name="TekstSylinder 3">
            <a:extLst>
              <a:ext uri="{FF2B5EF4-FFF2-40B4-BE49-F238E27FC236}">
                <a16:creationId xmlns:a16="http://schemas.microsoft.com/office/drawing/2014/main" id="{31B28EF2-27DF-FD6E-A56E-C79FFA7A0237}"/>
              </a:ext>
            </a:extLst>
          </p:cNvPr>
          <p:cNvSpPr txBox="1"/>
          <p:nvPr/>
        </p:nvSpPr>
        <p:spPr>
          <a:xfrm>
            <a:off x="838200" y="1714667"/>
            <a:ext cx="1596530" cy="600164"/>
          </a:xfrm>
          <a:prstGeom prst="rect">
            <a:avLst/>
          </a:prstGeom>
          <a:noFill/>
        </p:spPr>
        <p:txBody>
          <a:bodyPr wrap="square" rtlCol="0">
            <a:spAutoFit/>
          </a:bodyPr>
          <a:lstStyle/>
          <a:p>
            <a:r>
              <a:rPr lang="nb-NO" sz="1100">
                <a:latin typeface="Arial" panose="020B0604020202020204" pitchFamily="34" charset="0"/>
                <a:cs typeface="Arial" panose="020B0604020202020204" pitchFamily="34" charset="0"/>
              </a:rPr>
              <a:t>Eldre: 65+ år</a:t>
            </a:r>
            <a:br>
              <a:rPr lang="nb-NO" sz="1100">
                <a:latin typeface="Arial" panose="020B0604020202020204" pitchFamily="34" charset="0"/>
                <a:cs typeface="Arial" panose="020B0604020202020204" pitchFamily="34" charset="0"/>
              </a:rPr>
            </a:br>
            <a:r>
              <a:rPr lang="nb-NO" sz="1100">
                <a:latin typeface="Arial" panose="020B0604020202020204" pitchFamily="34" charset="0"/>
                <a:cs typeface="Arial" panose="020B0604020202020204" pitchFamily="34" charset="0"/>
              </a:rPr>
              <a:t>Yngre: 0–19 år</a:t>
            </a:r>
          </a:p>
          <a:p>
            <a:r>
              <a:rPr lang="nb-NO" sz="1100">
                <a:latin typeface="Arial" panose="020B0604020202020204" pitchFamily="34" charset="0"/>
                <a:cs typeface="Arial" panose="020B0604020202020204" pitchFamily="34" charset="0"/>
              </a:rPr>
              <a:t>Kilde: SSB</a:t>
            </a:r>
          </a:p>
        </p:txBody>
      </p:sp>
      <p:pic>
        <p:nvPicPr>
          <p:cNvPr id="16" name="Bilde 15" descr="Et bilde som inneholder silhuett, natthimmel&#10;&#10;Automatisk generert beskrivelse">
            <a:extLst>
              <a:ext uri="{FF2B5EF4-FFF2-40B4-BE49-F238E27FC236}">
                <a16:creationId xmlns:a16="http://schemas.microsoft.com/office/drawing/2014/main" id="{9DFE4010-C24A-3B37-86EF-93B4CCF458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78381">
            <a:off x="1281005" y="1532197"/>
            <a:ext cx="3843115" cy="4780552"/>
          </a:xfrm>
          <a:prstGeom prst="rect">
            <a:avLst/>
          </a:prstGeom>
        </p:spPr>
      </p:pic>
    </p:spTree>
    <p:extLst>
      <p:ext uri="{BB962C8B-B14F-4D97-AF65-F5344CB8AC3E}">
        <p14:creationId xmlns:p14="http://schemas.microsoft.com/office/powerpoint/2010/main" val="27261771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1E15F8A0-F63A-38EE-EE9D-C51688EA5A3E}"/>
              </a:ext>
            </a:extLst>
          </p:cNvPr>
          <p:cNvGraphicFramePr/>
          <p:nvPr>
            <p:extLst>
              <p:ext uri="{D42A27DB-BD31-4B8C-83A1-F6EECF244321}">
                <p14:modId xmlns:p14="http://schemas.microsoft.com/office/powerpoint/2010/main" val="89374565"/>
              </p:ext>
            </p:extLst>
          </p:nvPr>
        </p:nvGraphicFramePr>
        <p:xfrm>
          <a:off x="5304765" y="1460911"/>
          <a:ext cx="6642143" cy="503612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kstSylinder 7">
            <a:extLst>
              <a:ext uri="{FF2B5EF4-FFF2-40B4-BE49-F238E27FC236}">
                <a16:creationId xmlns:a16="http://schemas.microsoft.com/office/drawing/2014/main" id="{85572DB7-CF91-4128-BE6E-E2866A5F031D}"/>
              </a:ext>
            </a:extLst>
          </p:cNvPr>
          <p:cNvSpPr txBox="1"/>
          <p:nvPr/>
        </p:nvSpPr>
        <p:spPr>
          <a:xfrm>
            <a:off x="9519885" y="6591574"/>
            <a:ext cx="2537360" cy="215444"/>
          </a:xfrm>
          <a:prstGeom prst="rect">
            <a:avLst/>
          </a:prstGeom>
          <a:noFill/>
        </p:spPr>
        <p:txBody>
          <a:bodyPr wrap="square" rtlCol="0">
            <a:spAutoFit/>
          </a:bodyPr>
          <a:lstStyle/>
          <a:p>
            <a:pPr algn="r"/>
            <a:r>
              <a:rPr lang="nb-NO" sz="800" b="1">
                <a:solidFill>
                  <a:srgbClr val="3E3832"/>
                </a:solidFill>
                <a:latin typeface="Arial" panose="020B0604020202020204" pitchFamily="34" charset="0"/>
                <a:cs typeface="Arial" panose="020B0604020202020204" pitchFamily="34" charset="0"/>
              </a:rPr>
              <a:t>Kilde:</a:t>
            </a:r>
            <a:r>
              <a:rPr lang="nb-NO" sz="800">
                <a:solidFill>
                  <a:srgbClr val="3E3832"/>
                </a:solidFill>
                <a:latin typeface="Arial" panose="020B0604020202020204" pitchFamily="34" charset="0"/>
                <a:cs typeface="Arial" panose="020B0604020202020204" pitchFamily="34" charset="0"/>
              </a:rPr>
              <a:t> SSBs befolkningsframskrivinger, juli 2022</a:t>
            </a:r>
          </a:p>
        </p:txBody>
      </p:sp>
      <p:pic>
        <p:nvPicPr>
          <p:cNvPr id="6" name="Plassholder for bilde 5">
            <a:extLst>
              <a:ext uri="{FF2B5EF4-FFF2-40B4-BE49-F238E27FC236}">
                <a16:creationId xmlns:a16="http://schemas.microsoft.com/office/drawing/2014/main" id="{9D4E138F-A18D-4A31-A2B9-6A2EB61FF8AF}"/>
              </a:ext>
            </a:extLst>
          </p:cNvPr>
          <p:cNvPicPr>
            <a:picLocks noGrp="1" noChangeAspect="1"/>
          </p:cNvPicPr>
          <p:nvPr>
            <p:ph type="pic" sz="quarter" idx="18"/>
          </p:nvPr>
        </p:nvPicPr>
        <p:blipFill rotWithShape="1">
          <a:blip r:embed="rId4" cstate="email">
            <a:extLst>
              <a:ext uri="{28A0092B-C50C-407E-A947-70E740481C1C}">
                <a14:useLocalDpi xmlns:a14="http://schemas.microsoft.com/office/drawing/2010/main"/>
              </a:ext>
            </a:extLst>
          </a:blip>
          <a:srcRect/>
          <a:stretch/>
        </p:blipFill>
        <p:spPr>
          <a:xfrm>
            <a:off x="0" y="0"/>
            <a:ext cx="5304766" cy="6857999"/>
          </a:xfrm>
          <a:noFill/>
        </p:spPr>
      </p:pic>
      <p:sp>
        <p:nvSpPr>
          <p:cNvPr id="14" name="Title 1">
            <a:extLst>
              <a:ext uri="{FF2B5EF4-FFF2-40B4-BE49-F238E27FC236}">
                <a16:creationId xmlns:a16="http://schemas.microsoft.com/office/drawing/2014/main" id="{751AA060-3B1D-4102-9E3B-BFF75CD4A862}"/>
              </a:ext>
            </a:extLst>
          </p:cNvPr>
          <p:cNvSpPr>
            <a:spLocks noGrp="1"/>
          </p:cNvSpPr>
          <p:nvPr>
            <p:ph type="title"/>
          </p:nvPr>
        </p:nvSpPr>
        <p:spPr>
          <a:xfrm>
            <a:off x="5304766" y="294291"/>
            <a:ext cx="6642143" cy="1072080"/>
          </a:xfrm>
        </p:spPr>
        <p:txBody>
          <a:bodyPr>
            <a:normAutofit fontScale="90000"/>
          </a:bodyPr>
          <a:lstStyle/>
          <a:p>
            <a:r>
              <a:rPr lang="nb-NO"/>
              <a:t>Noe l</a:t>
            </a:r>
            <a:r>
              <a:rPr lang="nb-NO" noProof="0" err="1"/>
              <a:t>avere</a:t>
            </a:r>
            <a:r>
              <a:rPr lang="nb-NO" noProof="0"/>
              <a:t> nettoinnvandring</a:t>
            </a:r>
            <a:br>
              <a:rPr lang="nb-NO" noProof="0"/>
            </a:br>
            <a:r>
              <a:rPr lang="nb-NO" sz="2000"/>
              <a:t>Klimaendringer, krig/konflikt og mangel på arbeidskraft</a:t>
            </a:r>
            <a:r>
              <a:rPr lang="nb-NO" sz="2000" noProof="0"/>
              <a:t> gir økt usikkerhet</a:t>
            </a:r>
          </a:p>
        </p:txBody>
      </p:sp>
    </p:spTree>
    <p:extLst>
      <p:ext uri="{BB962C8B-B14F-4D97-AF65-F5344CB8AC3E}">
        <p14:creationId xmlns:p14="http://schemas.microsoft.com/office/powerpoint/2010/main" val="13146609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200" y="1825625"/>
            <a:ext cx="5469835" cy="4351338"/>
          </a:xfrm>
        </p:spPr>
        <p:txBody>
          <a:bodyPr>
            <a:normAutofit/>
          </a:bodyPr>
          <a:lstStyle/>
          <a:p>
            <a:r>
              <a:rPr lang="nb-NO">
                <a:effectLst/>
              </a:rPr>
              <a:t>Hvordan blir din enhet påvirket av befolkningsendringene?</a:t>
            </a:r>
          </a:p>
          <a:p>
            <a:endParaRPr lang="nb-NO">
              <a:effectLst/>
            </a:endParaRPr>
          </a:p>
          <a:p>
            <a:r>
              <a:rPr lang="nb-NO">
                <a:effectLst/>
              </a:rPr>
              <a:t>Hvordan kan økt innvandring påvirke NAV?</a:t>
            </a:r>
          </a:p>
          <a:p>
            <a:endParaRPr lang="nb-NO">
              <a:effectLst/>
            </a:endParaRPr>
          </a:p>
          <a:p>
            <a:r>
              <a:rPr lang="nb-NO">
                <a:effectLst/>
              </a:rPr>
              <a:t>Hva kan større gap mellom utgifter og inntekter på statsbudsjettet bety for NAV?</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nb-NO"/>
              <a:t>Refleksjonsspørsmål</a:t>
            </a:r>
          </a:p>
        </p:txBody>
      </p:sp>
    </p:spTree>
    <p:extLst>
      <p:ext uri="{BB962C8B-B14F-4D97-AF65-F5344CB8AC3E}">
        <p14:creationId xmlns:p14="http://schemas.microsoft.com/office/powerpoint/2010/main" val="30548648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89D6516C-B03E-9CDB-0ED2-2111A7827AB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35296" y="0"/>
            <a:ext cx="12458117" cy="7007691"/>
          </a:xfrm>
          <a:prstGeom prst="rect">
            <a:avLst/>
          </a:prstGeom>
        </p:spPr>
      </p:pic>
      <p:sp>
        <p:nvSpPr>
          <p:cNvPr id="7" name="TekstSylinder 6">
            <a:extLst>
              <a:ext uri="{FF2B5EF4-FFF2-40B4-BE49-F238E27FC236}">
                <a16:creationId xmlns:a16="http://schemas.microsoft.com/office/drawing/2014/main" id="{B25550BD-3235-401F-9C26-669AF2F7D575}"/>
              </a:ext>
            </a:extLst>
          </p:cNvPr>
          <p:cNvSpPr txBox="1"/>
          <p:nvPr/>
        </p:nvSpPr>
        <p:spPr>
          <a:xfrm rot="16200000">
            <a:off x="-1111931" y="5462520"/>
            <a:ext cx="2529348" cy="261610"/>
          </a:xfrm>
          <a:prstGeom prst="rect">
            <a:avLst/>
          </a:prstGeom>
          <a:noFill/>
        </p:spPr>
        <p:txBody>
          <a:bodyPr wrap="square" rtlCol="0">
            <a:spAutoFit/>
          </a:bodyPr>
          <a:lstStyle/>
          <a:p>
            <a:r>
              <a:rPr lang="nb-NO" sz="1100">
                <a:solidFill>
                  <a:schemeClr val="bg1"/>
                </a:solidFill>
                <a:latin typeface="Arial" panose="020B0604020202020204" pitchFamily="34" charset="0"/>
                <a:cs typeface="Arial" panose="020B0604020202020204" pitchFamily="34" charset="0"/>
              </a:rPr>
              <a:t>Foto: </a:t>
            </a:r>
            <a:r>
              <a:rPr lang="nb-NO" sz="1100" err="1">
                <a:solidFill>
                  <a:schemeClr val="bg1"/>
                </a:solidFill>
                <a:latin typeface="Arial" panose="020B0604020202020204" pitchFamily="34" charset="0"/>
                <a:cs typeface="Arial" panose="020B0604020202020204" pitchFamily="34" charset="0"/>
              </a:rPr>
              <a:t>Colourbox</a:t>
            </a:r>
            <a:endParaRPr lang="nb-NO" sz="1100">
              <a:solidFill>
                <a:schemeClr val="bg1"/>
              </a:solidFill>
              <a:latin typeface="Arial" panose="020B0604020202020204" pitchFamily="34" charset="0"/>
              <a:cs typeface="Arial" panose="020B0604020202020204" pitchFamily="34" charset="0"/>
            </a:endParaRPr>
          </a:p>
        </p:txBody>
      </p:sp>
      <p:sp>
        <p:nvSpPr>
          <p:cNvPr id="2" name="Ellipse 1">
            <a:extLst>
              <a:ext uri="{FF2B5EF4-FFF2-40B4-BE49-F238E27FC236}">
                <a16:creationId xmlns:a16="http://schemas.microsoft.com/office/drawing/2014/main" id="{3A0D7993-F149-87CD-BB20-078C0D6E3520}"/>
              </a:ext>
            </a:extLst>
          </p:cNvPr>
          <p:cNvSpPr/>
          <p:nvPr/>
        </p:nvSpPr>
        <p:spPr>
          <a:xfrm>
            <a:off x="1251857" y="642257"/>
            <a:ext cx="3533502" cy="3472543"/>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kstSylinder 2">
            <a:extLst>
              <a:ext uri="{FF2B5EF4-FFF2-40B4-BE49-F238E27FC236}">
                <a16:creationId xmlns:a16="http://schemas.microsoft.com/office/drawing/2014/main" id="{D8497EF9-4ADB-9096-D01E-5AAC23F2AEA7}"/>
              </a:ext>
            </a:extLst>
          </p:cNvPr>
          <p:cNvSpPr txBox="1"/>
          <p:nvPr/>
        </p:nvSpPr>
        <p:spPr>
          <a:xfrm>
            <a:off x="1230085" y="1756409"/>
            <a:ext cx="364186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6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Bruker-forventninger</a:t>
            </a:r>
          </a:p>
        </p:txBody>
      </p:sp>
    </p:spTree>
    <p:extLst>
      <p:ext uri="{BB962C8B-B14F-4D97-AF65-F5344CB8AC3E}">
        <p14:creationId xmlns:p14="http://schemas.microsoft.com/office/powerpoint/2010/main" val="6136750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CA41043B-69CC-EB54-547D-1C34FA1912B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9839234" y="2007007"/>
            <a:ext cx="1464990" cy="1492055"/>
          </a:xfrm>
          <a:prstGeom prst="ellipse">
            <a:avLst/>
          </a:prstGeom>
          <a:noFill/>
          <a:extLst>
            <a:ext uri="{909E8E84-426E-40DD-AFC4-6F175D3DCCD1}">
              <a14:hiddenFill xmlns:a14="http://schemas.microsoft.com/office/drawing/2010/main">
                <a:solidFill>
                  <a:srgbClr val="FFFFFF"/>
                </a:solidFill>
              </a14:hiddenFill>
            </a:ext>
          </a:extLst>
        </p:spPr>
      </p:pic>
      <p:sp>
        <p:nvSpPr>
          <p:cNvPr id="2" name="Tittel 1">
            <a:extLst>
              <a:ext uri="{FF2B5EF4-FFF2-40B4-BE49-F238E27FC236}">
                <a16:creationId xmlns:a16="http://schemas.microsoft.com/office/drawing/2014/main" id="{5C99855D-6C19-6A10-9703-95E72B2127E3}"/>
              </a:ext>
            </a:extLst>
          </p:cNvPr>
          <p:cNvSpPr>
            <a:spLocks noGrp="1"/>
          </p:cNvSpPr>
          <p:nvPr>
            <p:ph type="title"/>
          </p:nvPr>
        </p:nvSpPr>
        <p:spPr/>
        <p:txBody>
          <a:bodyPr/>
          <a:lstStyle/>
          <a:p>
            <a:r>
              <a:rPr lang="nb-NO">
                <a:ea typeface="Source Sans Pro" panose="020B0503030403020204" pitchFamily="34" charset="0"/>
              </a:rPr>
              <a:t>Hva påvirker brukerforventninger?</a:t>
            </a:r>
          </a:p>
        </p:txBody>
      </p:sp>
      <p:pic>
        <p:nvPicPr>
          <p:cNvPr id="7" name="Bilde 6">
            <a:extLst>
              <a:ext uri="{FF2B5EF4-FFF2-40B4-BE49-F238E27FC236}">
                <a16:creationId xmlns:a16="http://schemas.microsoft.com/office/drawing/2014/main" id="{C762E4D1-C7FC-23FB-1F77-36B00F9ACD3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606374" y="1554480"/>
            <a:ext cx="8919690" cy="4471949"/>
          </a:xfrm>
          <a:prstGeom prst="rect">
            <a:avLst/>
          </a:prstGeom>
          <a:ln>
            <a:noFill/>
          </a:ln>
          <a:extLst>
            <a:ext uri="{53640926-AAD7-44D8-BBD7-CCE9431645EC}">
              <a14:shadowObscured xmlns:a14="http://schemas.microsoft.com/office/drawing/2010/main"/>
            </a:ext>
          </a:extLst>
        </p:spPr>
      </p:pic>
      <p:pic>
        <p:nvPicPr>
          <p:cNvPr id="12" name="Picture 2">
            <a:extLst>
              <a:ext uri="{FF2B5EF4-FFF2-40B4-BE49-F238E27FC236}">
                <a16:creationId xmlns:a16="http://schemas.microsoft.com/office/drawing/2014/main" id="{F0A01908-49A6-8278-CA42-E760D97FC0F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p:blipFill>
        <p:spPr bwMode="auto">
          <a:xfrm>
            <a:off x="9830271" y="680434"/>
            <a:ext cx="1413831" cy="1492055"/>
          </a:xfrm>
          <a:prstGeom prst="ellipse">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69FCA25B-48F9-E49F-5A9F-BAA23084276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9830270" y="4660152"/>
            <a:ext cx="1413831" cy="1492055"/>
          </a:xfrm>
          <a:prstGeom prst="ellipse">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A9D5A7C5-CF9F-3193-35DF-DFC6A3B8734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p:blipFill>
        <p:spPr bwMode="auto">
          <a:xfrm>
            <a:off x="9864813" y="3333580"/>
            <a:ext cx="1413831" cy="1492055"/>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85068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B8B00E3-D17B-DB2D-D4A7-EF905F045C3C}"/>
              </a:ext>
            </a:extLst>
          </p:cNvPr>
          <p:cNvSpPr>
            <a:spLocks noGrp="1"/>
          </p:cNvSpPr>
          <p:nvPr>
            <p:ph type="title"/>
          </p:nvPr>
        </p:nvSpPr>
        <p:spPr>
          <a:xfrm>
            <a:off x="838200" y="482400"/>
            <a:ext cx="10515600" cy="1072080"/>
          </a:xfrm>
        </p:spPr>
        <p:txBody>
          <a:bodyPr/>
          <a:lstStyle/>
          <a:p>
            <a:pPr algn="ctr"/>
            <a:r>
              <a:rPr lang="nb-NO">
                <a:solidFill>
                  <a:schemeClr val="tx1"/>
                </a:solidFill>
                <a:ea typeface="Source Sans Pro" panose="020B0503030403020204" pitchFamily="34" charset="0"/>
              </a:rPr>
              <a:t>Brukerforventningene i 2035</a:t>
            </a:r>
          </a:p>
        </p:txBody>
      </p:sp>
      <p:sp>
        <p:nvSpPr>
          <p:cNvPr id="5" name="TekstSylinder 4">
            <a:extLst>
              <a:ext uri="{FF2B5EF4-FFF2-40B4-BE49-F238E27FC236}">
                <a16:creationId xmlns:a16="http://schemas.microsoft.com/office/drawing/2014/main" id="{FAF55260-460C-6B01-2315-D40C3D2CE222}"/>
              </a:ext>
            </a:extLst>
          </p:cNvPr>
          <p:cNvSpPr txBox="1"/>
          <p:nvPr/>
        </p:nvSpPr>
        <p:spPr>
          <a:xfrm>
            <a:off x="4719676" y="5035353"/>
            <a:ext cx="2752648" cy="923330"/>
          </a:xfrm>
          <a:prstGeom prst="rect">
            <a:avLst/>
          </a:prstGeom>
          <a:noFill/>
        </p:spPr>
        <p:txBody>
          <a:bodyPr wrap="square" rtlCol="0">
            <a:spAutoFit/>
          </a:bodyPr>
          <a:lstStyle/>
          <a:p>
            <a:pPr algn="ctr"/>
            <a:r>
              <a:rPr lang="nb-NO">
                <a:latin typeface="Arial" panose="020B0604020202020204" pitchFamily="34" charset="0"/>
                <a:cs typeface="Arial" panose="020B0604020202020204" pitchFamily="34" charset="0"/>
              </a:rPr>
              <a:t>Mennesket i sentrum, sammenhengende tjenester</a:t>
            </a:r>
          </a:p>
        </p:txBody>
      </p:sp>
      <p:sp>
        <p:nvSpPr>
          <p:cNvPr id="7" name="TekstSylinder 6">
            <a:extLst>
              <a:ext uri="{FF2B5EF4-FFF2-40B4-BE49-F238E27FC236}">
                <a16:creationId xmlns:a16="http://schemas.microsoft.com/office/drawing/2014/main" id="{9DEC2969-F95B-D106-5F03-CFA22AFDDAFD}"/>
              </a:ext>
            </a:extLst>
          </p:cNvPr>
          <p:cNvSpPr txBox="1"/>
          <p:nvPr/>
        </p:nvSpPr>
        <p:spPr>
          <a:xfrm>
            <a:off x="8179735" y="5035353"/>
            <a:ext cx="2752646" cy="923330"/>
          </a:xfrm>
          <a:prstGeom prst="rect">
            <a:avLst/>
          </a:prstGeom>
          <a:noFill/>
        </p:spPr>
        <p:txBody>
          <a:bodyPr wrap="square" rtlCol="0">
            <a:spAutoFit/>
          </a:bodyPr>
          <a:lstStyle/>
          <a:p>
            <a:pPr algn="ctr"/>
            <a:r>
              <a:rPr lang="nb-NO">
                <a:latin typeface="Arial" panose="020B0604020202020204" pitchFamily="34" charset="0"/>
                <a:cs typeface="Arial" panose="020B0604020202020204" pitchFamily="34" charset="0"/>
              </a:rPr>
              <a:t>Økte forventninger til ekspertise og relasjons-kompetanse</a:t>
            </a:r>
          </a:p>
        </p:txBody>
      </p:sp>
      <p:sp>
        <p:nvSpPr>
          <p:cNvPr id="10" name="TekstSylinder 9">
            <a:extLst>
              <a:ext uri="{FF2B5EF4-FFF2-40B4-BE49-F238E27FC236}">
                <a16:creationId xmlns:a16="http://schemas.microsoft.com/office/drawing/2014/main" id="{11BB3FE5-9ACF-C4DC-C96B-7C9AB58D8685}"/>
              </a:ext>
            </a:extLst>
          </p:cNvPr>
          <p:cNvSpPr txBox="1"/>
          <p:nvPr/>
        </p:nvSpPr>
        <p:spPr>
          <a:xfrm>
            <a:off x="1259618" y="5051119"/>
            <a:ext cx="2752647" cy="923330"/>
          </a:xfrm>
          <a:prstGeom prst="rect">
            <a:avLst/>
          </a:prstGeom>
          <a:noFill/>
        </p:spPr>
        <p:txBody>
          <a:bodyPr wrap="square" rtlCol="0">
            <a:spAutoFit/>
          </a:bodyPr>
          <a:lstStyle/>
          <a:p>
            <a:pPr algn="ctr"/>
            <a:r>
              <a:rPr lang="nb-NO">
                <a:latin typeface="Arial" panose="020B0604020202020204" pitchFamily="34" charset="0"/>
                <a:cs typeface="Arial" panose="020B0604020202020204" pitchFamily="34" charset="0"/>
              </a:rPr>
              <a:t>Nye kanaler og tjenester som motvirker digitalt utenforskap</a:t>
            </a:r>
          </a:p>
        </p:txBody>
      </p:sp>
      <p:sp>
        <p:nvSpPr>
          <p:cNvPr id="3" name="Ellipse 2">
            <a:extLst>
              <a:ext uri="{FF2B5EF4-FFF2-40B4-BE49-F238E27FC236}">
                <a16:creationId xmlns:a16="http://schemas.microsoft.com/office/drawing/2014/main" id="{B482C66E-6FFB-4EA8-D2F5-9C98E290A557}"/>
              </a:ext>
            </a:extLst>
          </p:cNvPr>
          <p:cNvSpPr/>
          <p:nvPr/>
        </p:nvSpPr>
        <p:spPr>
          <a:xfrm>
            <a:off x="1259619" y="2065351"/>
            <a:ext cx="2752647" cy="2727297"/>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Ellipse 3">
            <a:extLst>
              <a:ext uri="{FF2B5EF4-FFF2-40B4-BE49-F238E27FC236}">
                <a16:creationId xmlns:a16="http://schemas.microsoft.com/office/drawing/2014/main" id="{3B3978CB-4EC9-035E-C583-261E8F4608AE}"/>
              </a:ext>
            </a:extLst>
          </p:cNvPr>
          <p:cNvSpPr/>
          <p:nvPr/>
        </p:nvSpPr>
        <p:spPr>
          <a:xfrm>
            <a:off x="8179734" y="2065351"/>
            <a:ext cx="2752647" cy="2727297"/>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Ellipse 5">
            <a:extLst>
              <a:ext uri="{FF2B5EF4-FFF2-40B4-BE49-F238E27FC236}">
                <a16:creationId xmlns:a16="http://schemas.microsoft.com/office/drawing/2014/main" id="{87E70511-2276-955E-506A-B67CFE6D23A9}"/>
              </a:ext>
            </a:extLst>
          </p:cNvPr>
          <p:cNvSpPr/>
          <p:nvPr/>
        </p:nvSpPr>
        <p:spPr>
          <a:xfrm>
            <a:off x="4719676" y="2059386"/>
            <a:ext cx="2752647" cy="2727297"/>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Grafikk 8" descr="Styrerom kontur">
            <a:extLst>
              <a:ext uri="{FF2B5EF4-FFF2-40B4-BE49-F238E27FC236}">
                <a16:creationId xmlns:a16="http://schemas.microsoft.com/office/drawing/2014/main" id="{0C71897B-7CD3-77EC-D22B-91A80833A7D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34749" y="2316775"/>
            <a:ext cx="2224450" cy="2224450"/>
          </a:xfrm>
          <a:prstGeom prst="rect">
            <a:avLst/>
          </a:prstGeom>
        </p:spPr>
      </p:pic>
      <p:pic>
        <p:nvPicPr>
          <p:cNvPr id="11" name="Grafikk 10" descr="Kommentar hjerte kontur">
            <a:extLst>
              <a:ext uri="{FF2B5EF4-FFF2-40B4-BE49-F238E27FC236}">
                <a16:creationId xmlns:a16="http://schemas.microsoft.com/office/drawing/2014/main" id="{F32AFC45-7551-E0CB-DA1C-747309E7582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613827" y="2486770"/>
            <a:ext cx="1884459" cy="1884459"/>
          </a:xfrm>
          <a:prstGeom prst="rect">
            <a:avLst/>
          </a:prstGeom>
        </p:spPr>
      </p:pic>
      <p:pic>
        <p:nvPicPr>
          <p:cNvPr id="14" name="Grafikk 13" descr="Familie med jente kontur">
            <a:extLst>
              <a:ext uri="{FF2B5EF4-FFF2-40B4-BE49-F238E27FC236}">
                <a16:creationId xmlns:a16="http://schemas.microsoft.com/office/drawing/2014/main" id="{72E962DE-FA96-16B2-9A00-A7E82C3B73B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209430" y="2486770"/>
            <a:ext cx="1884459" cy="1884459"/>
          </a:xfrm>
          <a:prstGeom prst="rect">
            <a:avLst/>
          </a:prstGeom>
        </p:spPr>
      </p:pic>
    </p:spTree>
    <p:extLst>
      <p:ext uri="{BB962C8B-B14F-4D97-AF65-F5344CB8AC3E}">
        <p14:creationId xmlns:p14="http://schemas.microsoft.com/office/powerpoint/2010/main" val="20113069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4F98A15C-4E76-A838-B12C-5C77D7C9331B}"/>
              </a:ext>
            </a:extLst>
          </p:cNvPr>
          <p:cNvSpPr/>
          <p:nvPr/>
        </p:nvSpPr>
        <p:spPr>
          <a:xfrm>
            <a:off x="1097280" y="3329940"/>
            <a:ext cx="1181100" cy="73152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nb-NO"/>
          </a:p>
        </p:txBody>
      </p:sp>
      <p:pic>
        <p:nvPicPr>
          <p:cNvPr id="3" name="Bilde 2" descr="Et bilde som inneholder stjerne, satellitt, natthimmel&#10;&#10;Automatisk generert beskrivelse">
            <a:extLst>
              <a:ext uri="{FF2B5EF4-FFF2-40B4-BE49-F238E27FC236}">
                <a16:creationId xmlns:a16="http://schemas.microsoft.com/office/drawing/2014/main" id="{D479D3B9-64F0-49F5-5F1A-CBD4233FEBC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7" name="Rektangel 6">
            <a:extLst>
              <a:ext uri="{FF2B5EF4-FFF2-40B4-BE49-F238E27FC236}">
                <a16:creationId xmlns:a16="http://schemas.microsoft.com/office/drawing/2014/main" id="{B5B3ED2B-3E41-F5EF-4F12-278ED481E9D2}"/>
              </a:ext>
            </a:extLst>
          </p:cNvPr>
          <p:cNvSpPr/>
          <p:nvPr/>
        </p:nvSpPr>
        <p:spPr>
          <a:xfrm>
            <a:off x="1379220" y="3429000"/>
            <a:ext cx="647700" cy="51816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nb-NO"/>
          </a:p>
        </p:txBody>
      </p:sp>
      <p:sp>
        <p:nvSpPr>
          <p:cNvPr id="2" name="Rektangel 1">
            <a:extLst>
              <a:ext uri="{FF2B5EF4-FFF2-40B4-BE49-F238E27FC236}">
                <a16:creationId xmlns:a16="http://schemas.microsoft.com/office/drawing/2014/main" id="{50E6826A-A4FB-9DD4-FA68-DE111D8CADD4}"/>
              </a:ext>
            </a:extLst>
          </p:cNvPr>
          <p:cNvSpPr/>
          <p:nvPr/>
        </p:nvSpPr>
        <p:spPr>
          <a:xfrm>
            <a:off x="-1" y="0"/>
            <a:ext cx="4807671" cy="6858000"/>
          </a:xfrm>
          <a:prstGeom prst="rect">
            <a:avLst/>
          </a:prstGeom>
          <a:gradFill flip="none" rotWithShape="1">
            <a:gsLst>
              <a:gs pos="0">
                <a:srgbClr val="0C5472"/>
              </a:gs>
              <a:gs pos="100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 name="Bilde 10" descr="Et bilde som inneholder logo&#10;&#10;Automatisk generert beskrivelse">
            <a:extLst>
              <a:ext uri="{FF2B5EF4-FFF2-40B4-BE49-F238E27FC236}">
                <a16:creationId xmlns:a16="http://schemas.microsoft.com/office/drawing/2014/main" id="{4F8F05C9-0305-C8E8-5B47-8F7342DC2E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5183" y="692851"/>
            <a:ext cx="1822712" cy="1146925"/>
          </a:xfrm>
          <a:prstGeom prst="rect">
            <a:avLst/>
          </a:prstGeom>
        </p:spPr>
      </p:pic>
      <p:sp>
        <p:nvSpPr>
          <p:cNvPr id="4" name="Tittel 3">
            <a:extLst>
              <a:ext uri="{FF2B5EF4-FFF2-40B4-BE49-F238E27FC236}">
                <a16:creationId xmlns:a16="http://schemas.microsoft.com/office/drawing/2014/main" id="{E4B0C42C-2B1F-0DFB-4DDE-443992BAFF4C}"/>
              </a:ext>
            </a:extLst>
          </p:cNvPr>
          <p:cNvSpPr txBox="1">
            <a:spLocks/>
          </p:cNvSpPr>
          <p:nvPr/>
        </p:nvSpPr>
        <p:spPr>
          <a:xfrm>
            <a:off x="508983" y="2939349"/>
            <a:ext cx="6489108" cy="1396431"/>
          </a:xfrm>
          <a:prstGeom prst="rect">
            <a:avLst/>
          </a:prstGeom>
        </p:spPr>
        <p:txBody>
          <a:bodyPr>
            <a:normAutofit/>
          </a:bodyPr>
          <a:lstStyle>
            <a:lvl1pPr algn="l" defTabSz="914400" rtl="0" eaLnBrk="1" latinLnBrk="0" hangingPunct="1">
              <a:lnSpc>
                <a:spcPct val="90000"/>
              </a:lnSpc>
              <a:spcBef>
                <a:spcPct val="0"/>
              </a:spcBef>
              <a:buNone/>
              <a:defRPr sz="3200" b="0" kern="1200">
                <a:solidFill>
                  <a:schemeClr val="accent1"/>
                </a:solidFill>
                <a:latin typeface="Arial" panose="020B0604020202020204" pitchFamily="34" charset="0"/>
                <a:ea typeface="+mj-ea"/>
                <a:cs typeface="Arial" panose="020B0604020202020204" pitchFamily="34" charset="0"/>
              </a:defRPr>
            </a:lvl1pPr>
          </a:lstStyle>
          <a:p>
            <a:r>
              <a:rPr lang="nb-NO" sz="4000" b="1">
                <a:solidFill>
                  <a:schemeClr val="bg1"/>
                </a:solidFill>
              </a:rPr>
              <a:t>NAVs omverdensanalyse </a:t>
            </a:r>
            <a:br>
              <a:rPr lang="nb-NO" sz="4000" b="1">
                <a:solidFill>
                  <a:schemeClr val="bg1"/>
                </a:solidFill>
              </a:rPr>
            </a:br>
            <a:r>
              <a:rPr lang="nb-NO" sz="4000" b="1">
                <a:solidFill>
                  <a:schemeClr val="bg1"/>
                </a:solidFill>
              </a:rPr>
              <a:t>2023–2035 </a:t>
            </a:r>
          </a:p>
        </p:txBody>
      </p:sp>
      <p:sp>
        <p:nvSpPr>
          <p:cNvPr id="6" name="Undertittel 4">
            <a:extLst>
              <a:ext uri="{FF2B5EF4-FFF2-40B4-BE49-F238E27FC236}">
                <a16:creationId xmlns:a16="http://schemas.microsoft.com/office/drawing/2014/main" id="{56E7B2D1-09DE-2D50-A859-B72F9EC8463E}"/>
              </a:ext>
            </a:extLst>
          </p:cNvPr>
          <p:cNvSpPr txBox="1">
            <a:spLocks/>
          </p:cNvSpPr>
          <p:nvPr/>
        </p:nvSpPr>
        <p:spPr>
          <a:xfrm>
            <a:off x="585183" y="5227035"/>
            <a:ext cx="5696963" cy="991169"/>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a:solidFill>
                  <a:schemeClr val="bg1"/>
                </a:solidFill>
              </a:rPr>
              <a:t>Samfunnstrender til 2035 og konsekvenser for NAV</a:t>
            </a:r>
          </a:p>
        </p:txBody>
      </p:sp>
    </p:spTree>
    <p:extLst>
      <p:ext uri="{BB962C8B-B14F-4D97-AF65-F5344CB8AC3E}">
        <p14:creationId xmlns:p14="http://schemas.microsoft.com/office/powerpoint/2010/main" val="3383914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1AB1E9D-5439-C44E-6692-93C1EA81DBFC}"/>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C9D50BA0-7A80-9744-856A-0C7EF7DE166A}"/>
              </a:ext>
            </a:extLst>
          </p:cNvPr>
          <p:cNvSpPr>
            <a:spLocks noGrp="1"/>
          </p:cNvSpPr>
          <p:nvPr>
            <p:ph idx="1"/>
          </p:nvPr>
        </p:nvSpPr>
        <p:spPr>
          <a:xfrm>
            <a:off x="838201" y="1825625"/>
            <a:ext cx="4963886" cy="4429727"/>
          </a:xfrm>
        </p:spPr>
        <p:txBody>
          <a:bodyPr>
            <a:normAutofit/>
          </a:bodyPr>
          <a:lstStyle/>
          <a:p>
            <a:pPr>
              <a:lnSpc>
                <a:spcPct val="110000"/>
              </a:lnSpc>
              <a:buClr>
                <a:srgbClr val="000000"/>
              </a:buClr>
            </a:pPr>
            <a:r>
              <a:rPr lang="nb-NO" sz="2400" noProof="0"/>
              <a:t>Bedre og mer tilgjengelige tjenester i privat sektor øker forventningene til NAV.</a:t>
            </a:r>
          </a:p>
          <a:p>
            <a:pPr>
              <a:lnSpc>
                <a:spcPct val="110000"/>
              </a:lnSpc>
              <a:buClr>
                <a:srgbClr val="000000"/>
              </a:buClr>
            </a:pPr>
            <a:r>
              <a:rPr lang="nb-NO" sz="2400" noProof="0"/>
              <a:t>Tjenester bygget rundt livs-situasjoner og tilpasset den enkeltes ønsker og behov.</a:t>
            </a:r>
          </a:p>
          <a:p>
            <a:pPr>
              <a:lnSpc>
                <a:spcPct val="110000"/>
              </a:lnSpc>
              <a:buClr>
                <a:srgbClr val="000000"/>
              </a:buClr>
            </a:pPr>
            <a:r>
              <a:rPr lang="nb-NO" sz="2400" noProof="0"/>
              <a:t>Nye former for kommunikasjon, der det digitale og fysiske smelter sammen.</a:t>
            </a:r>
          </a:p>
        </p:txBody>
      </p:sp>
      <p:sp>
        <p:nvSpPr>
          <p:cNvPr id="4" name="Title 3">
            <a:extLst>
              <a:ext uri="{FF2B5EF4-FFF2-40B4-BE49-F238E27FC236}">
                <a16:creationId xmlns:a16="http://schemas.microsoft.com/office/drawing/2014/main" id="{BC29E666-2C32-184D-B82B-80D6BE78EA25}"/>
              </a:ext>
            </a:extLst>
          </p:cNvPr>
          <p:cNvSpPr>
            <a:spLocks noGrp="1"/>
          </p:cNvSpPr>
          <p:nvPr>
            <p:ph type="title"/>
          </p:nvPr>
        </p:nvSpPr>
        <p:spPr>
          <a:xfrm>
            <a:off x="838201" y="482400"/>
            <a:ext cx="5257800" cy="1072080"/>
          </a:xfrm>
        </p:spPr>
        <p:txBody>
          <a:bodyPr>
            <a:normAutofit/>
          </a:bodyPr>
          <a:lstStyle/>
          <a:p>
            <a:r>
              <a:rPr lang="nb-NO" sz="3100" noProof="0">
                <a:solidFill>
                  <a:schemeClr val="tx1"/>
                </a:solidFill>
              </a:rPr>
              <a:t>Mennesket i sentrum og sammenhengende tjenester</a:t>
            </a:r>
          </a:p>
        </p:txBody>
      </p:sp>
      <p:pic>
        <p:nvPicPr>
          <p:cNvPr id="7" name="Bilde 7" descr="Et bilde som inneholder person, innendørs&#10;&#10;Automatisk generert beskrivelse">
            <a:extLst>
              <a:ext uri="{FF2B5EF4-FFF2-40B4-BE49-F238E27FC236}">
                <a16:creationId xmlns:a16="http://schemas.microsoft.com/office/drawing/2014/main" id="{7D9483FF-4725-1B49-7FE0-A8FB0E103CC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64828" y="269422"/>
            <a:ext cx="4221901" cy="6330869"/>
          </a:xfrm>
          <a:prstGeom prst="rect">
            <a:avLst/>
          </a:prstGeom>
        </p:spPr>
      </p:pic>
    </p:spTree>
    <p:extLst>
      <p:ext uri="{BB962C8B-B14F-4D97-AF65-F5344CB8AC3E}">
        <p14:creationId xmlns:p14="http://schemas.microsoft.com/office/powerpoint/2010/main" val="37707380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F170D88-1199-F498-5451-A825F6E60BFF}"/>
              </a:ext>
            </a:extLst>
          </p:cNvPr>
          <p:cNvSpPr/>
          <p:nvPr/>
        </p:nvSpPr>
        <p:spPr>
          <a:xfrm>
            <a:off x="642257" y="1554479"/>
            <a:ext cx="5132613" cy="4639492"/>
          </a:xfrm>
          <a:prstGeom prst="rect">
            <a:avLst/>
          </a:prstGeom>
          <a:solidFill>
            <a:srgbClr val="CCD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2FA79696-0528-2EEE-FD3A-244A4CE2FFC8}"/>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953B5AA-F9F0-54FC-88B4-DA9DA9A0D2BE}"/>
              </a:ext>
            </a:extLst>
          </p:cNvPr>
          <p:cNvSpPr>
            <a:spLocks noGrp="1"/>
          </p:cNvSpPr>
          <p:nvPr>
            <p:ph type="title"/>
          </p:nvPr>
        </p:nvSpPr>
        <p:spPr>
          <a:xfrm>
            <a:off x="642258" y="482400"/>
            <a:ext cx="5453742" cy="1072080"/>
          </a:xfrm>
        </p:spPr>
        <p:txBody>
          <a:bodyPr>
            <a:normAutofit/>
          </a:bodyPr>
          <a:lstStyle/>
          <a:p>
            <a:r>
              <a:rPr lang="nb-NO">
                <a:solidFill>
                  <a:schemeClr val="tx1"/>
                </a:solidFill>
              </a:rPr>
              <a:t>Inkluderende tjenester</a:t>
            </a:r>
            <a:endParaRPr lang="nb-NO" strike="sngStrike">
              <a:solidFill>
                <a:schemeClr val="tx1"/>
              </a:solidFill>
            </a:endParaRPr>
          </a:p>
        </p:txBody>
      </p:sp>
      <p:sp>
        <p:nvSpPr>
          <p:cNvPr id="3" name="Plassholder for innhold 2">
            <a:extLst>
              <a:ext uri="{FF2B5EF4-FFF2-40B4-BE49-F238E27FC236}">
                <a16:creationId xmlns:a16="http://schemas.microsoft.com/office/drawing/2014/main" id="{F5F03FED-4A68-6C1D-7B86-E171D7FB3E82}"/>
              </a:ext>
            </a:extLst>
          </p:cNvPr>
          <p:cNvSpPr>
            <a:spLocks noGrp="1"/>
          </p:cNvSpPr>
          <p:nvPr>
            <p:ph idx="1"/>
          </p:nvPr>
        </p:nvSpPr>
        <p:spPr>
          <a:xfrm>
            <a:off x="849090" y="1836510"/>
            <a:ext cx="4680854" cy="4226836"/>
          </a:xfrm>
        </p:spPr>
        <p:txBody>
          <a:bodyPr>
            <a:normAutofit lnSpcReduction="10000"/>
          </a:bodyPr>
          <a:lstStyle/>
          <a:p>
            <a:pPr marL="0" indent="0">
              <a:buNone/>
            </a:pPr>
            <a:r>
              <a:rPr lang="nb-NO" sz="2000" b="1"/>
              <a:t>Sju hindre for å ta i bruk digitale tjenester</a:t>
            </a:r>
          </a:p>
          <a:p>
            <a:pPr marL="514350" indent="-514350">
              <a:buClr>
                <a:srgbClr val="000000"/>
              </a:buClr>
              <a:buFont typeface="+mj-lt"/>
              <a:buAutoNum type="arabicPeriod"/>
            </a:pPr>
            <a:r>
              <a:rPr lang="nb-NO" sz="2000"/>
              <a:t>Helserelaterte utfordringer</a:t>
            </a:r>
          </a:p>
          <a:p>
            <a:pPr marL="514350" indent="-514350">
              <a:buClr>
                <a:srgbClr val="000000"/>
              </a:buClr>
              <a:buFont typeface="+mj-lt"/>
              <a:buAutoNum type="arabicPeriod"/>
            </a:pPr>
            <a:r>
              <a:rPr lang="nb-NO" sz="2000"/>
              <a:t>Sosiale utfordringer</a:t>
            </a:r>
          </a:p>
          <a:p>
            <a:pPr marL="514350" indent="-514350">
              <a:buClr>
                <a:srgbClr val="000000"/>
              </a:buClr>
              <a:buFont typeface="+mj-lt"/>
              <a:buAutoNum type="arabicPeriod"/>
            </a:pPr>
            <a:r>
              <a:rPr lang="nb-NO" sz="2000"/>
              <a:t>Språklige barrierer</a:t>
            </a:r>
          </a:p>
          <a:p>
            <a:pPr marL="514350" indent="-514350">
              <a:buClr>
                <a:srgbClr val="000000"/>
              </a:buClr>
              <a:buFont typeface="+mj-lt"/>
              <a:buAutoNum type="arabicPeriod"/>
            </a:pPr>
            <a:r>
              <a:rPr lang="nb-NO" sz="2000"/>
              <a:t>Manglende byråkratisk kompetanse</a:t>
            </a:r>
          </a:p>
          <a:p>
            <a:pPr marL="514350" indent="-514350">
              <a:buClr>
                <a:srgbClr val="000000"/>
              </a:buClr>
              <a:buFont typeface="+mj-lt"/>
              <a:buAutoNum type="arabicPeriod"/>
            </a:pPr>
            <a:r>
              <a:rPr lang="nb-NO" sz="2000"/>
              <a:t>Digitale skillelinjer / manglende tilgang</a:t>
            </a:r>
          </a:p>
          <a:p>
            <a:pPr marL="514350" indent="-514350">
              <a:buClr>
                <a:srgbClr val="000000"/>
              </a:buClr>
              <a:buFont typeface="+mj-lt"/>
              <a:buAutoNum type="arabicPeriod"/>
            </a:pPr>
            <a:r>
              <a:rPr lang="nb-NO" sz="2000"/>
              <a:t>Manglende erfaring og usikkerhet</a:t>
            </a:r>
          </a:p>
          <a:p>
            <a:pPr marL="514350" indent="-514350">
              <a:buClr>
                <a:srgbClr val="000000"/>
              </a:buClr>
              <a:buFont typeface="+mj-lt"/>
              <a:buAutoNum type="arabicPeriod"/>
            </a:pPr>
            <a:r>
              <a:rPr lang="nb-NO" sz="2000"/>
              <a:t>Tillitsutfordringer</a:t>
            </a:r>
          </a:p>
          <a:p>
            <a:pPr marL="0" indent="0">
              <a:buNone/>
            </a:pPr>
            <a:br>
              <a:rPr lang="nb-NO" sz="1100"/>
            </a:br>
            <a:br>
              <a:rPr lang="nb-NO" sz="1100"/>
            </a:br>
            <a:r>
              <a:rPr lang="nb-NO" sz="1100"/>
              <a:t>Kilde: Sintef 2022</a:t>
            </a:r>
          </a:p>
        </p:txBody>
      </p:sp>
      <p:sp>
        <p:nvSpPr>
          <p:cNvPr id="10" name="TekstSylinder 9">
            <a:extLst>
              <a:ext uri="{FF2B5EF4-FFF2-40B4-BE49-F238E27FC236}">
                <a16:creationId xmlns:a16="http://schemas.microsoft.com/office/drawing/2014/main" id="{72908C6C-0D2F-D12A-A4CC-C12738E2F463}"/>
              </a:ext>
            </a:extLst>
          </p:cNvPr>
          <p:cNvSpPr txBox="1"/>
          <p:nvPr/>
        </p:nvSpPr>
        <p:spPr>
          <a:xfrm>
            <a:off x="6442001" y="4888506"/>
            <a:ext cx="5344242" cy="1323439"/>
          </a:xfrm>
          <a:prstGeom prst="rect">
            <a:avLst/>
          </a:prstGeom>
          <a:noFill/>
        </p:spPr>
        <p:txBody>
          <a:bodyPr wrap="square">
            <a:spAutoFit/>
          </a:bodyPr>
          <a:lstStyle/>
          <a:p>
            <a:pPr marL="342900" indent="-342900">
              <a:buClr>
                <a:srgbClr val="000000"/>
              </a:buClr>
              <a:buFont typeface="Wingdings" panose="05000000000000000000" pitchFamily="2" charset="2"/>
              <a:buChar char="ü"/>
            </a:pPr>
            <a:r>
              <a:rPr lang="nb-NO" sz="2000">
                <a:latin typeface="Arial" panose="020B0604020202020204" pitchFamily="34" charset="0"/>
                <a:cs typeface="Arial" panose="020B0604020202020204" pitchFamily="34" charset="0"/>
                <a:sym typeface="Wingdings" panose="05000000000000000000" pitchFamily="2" charset="2"/>
              </a:rPr>
              <a:t>NAV må utforme digitale tjenester som inkluderer flere</a:t>
            </a:r>
          </a:p>
          <a:p>
            <a:pPr marL="342900" indent="-342900">
              <a:buClr>
                <a:srgbClr val="000000"/>
              </a:buClr>
              <a:buFont typeface="Wingdings" panose="05000000000000000000" pitchFamily="2" charset="2"/>
              <a:buChar char="ü"/>
            </a:pPr>
            <a:r>
              <a:rPr lang="nb-NO" sz="2000">
                <a:latin typeface="Arial" panose="020B0604020202020204" pitchFamily="34" charset="0"/>
                <a:cs typeface="Arial" panose="020B0604020202020204" pitchFamily="34" charset="0"/>
                <a:sym typeface="Wingdings" panose="05000000000000000000" pitchFamily="2" charset="2"/>
              </a:rPr>
              <a:t>Fullgode og tilgjengelige alternativer til de som ønsker eller trenger personlig bistand</a:t>
            </a:r>
            <a:endParaRPr lang="nb-NO" sz="2000">
              <a:latin typeface="Arial" panose="020B0604020202020204" pitchFamily="34" charset="0"/>
              <a:cs typeface="Arial" panose="020B0604020202020204" pitchFamily="34" charset="0"/>
            </a:endParaRPr>
          </a:p>
        </p:txBody>
      </p:sp>
      <p:pic>
        <p:nvPicPr>
          <p:cNvPr id="12" name="Bilde 11" descr="Et bilde som inneholder utendørs, person, konstruksjon, i gaten&#10;&#10;Automatisk generert beskrivelse">
            <a:extLst>
              <a:ext uri="{FF2B5EF4-FFF2-40B4-BE49-F238E27FC236}">
                <a16:creationId xmlns:a16="http://schemas.microsoft.com/office/drawing/2014/main" id="{E8D42208-732A-DC80-6E7B-99F169DB770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42001" y="1554479"/>
            <a:ext cx="5344242" cy="2995750"/>
          </a:xfrm>
          <a:prstGeom prst="rect">
            <a:avLst/>
          </a:prstGeom>
        </p:spPr>
      </p:pic>
    </p:spTree>
    <p:extLst>
      <p:ext uri="{BB962C8B-B14F-4D97-AF65-F5344CB8AC3E}">
        <p14:creationId xmlns:p14="http://schemas.microsoft.com/office/powerpoint/2010/main" val="38065272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309D890-13FF-8A8F-4300-C2F6AB24FD03}"/>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le 4">
            <a:extLst>
              <a:ext uri="{FF2B5EF4-FFF2-40B4-BE49-F238E27FC236}">
                <a16:creationId xmlns:a16="http://schemas.microsoft.com/office/drawing/2014/main" id="{AF42AB62-2433-2C48-9C9A-3C2E1E809F3C}"/>
              </a:ext>
            </a:extLst>
          </p:cNvPr>
          <p:cNvSpPr>
            <a:spLocks noGrp="1"/>
          </p:cNvSpPr>
          <p:nvPr>
            <p:ph type="title"/>
          </p:nvPr>
        </p:nvSpPr>
        <p:spPr>
          <a:xfrm>
            <a:off x="838200" y="482400"/>
            <a:ext cx="5257800" cy="1072080"/>
          </a:xfrm>
        </p:spPr>
        <p:txBody>
          <a:bodyPr/>
          <a:lstStyle/>
          <a:p>
            <a:r>
              <a:rPr lang="nb-NO">
                <a:solidFill>
                  <a:schemeClr val="tx1"/>
                </a:solidFill>
              </a:rPr>
              <a:t>Økte forventninger til personlige møter </a:t>
            </a:r>
            <a:endParaRPr lang="nb-NO" noProof="0">
              <a:solidFill>
                <a:schemeClr val="tx1"/>
              </a:solidFill>
            </a:endParaRPr>
          </a:p>
        </p:txBody>
      </p:sp>
      <p:sp>
        <p:nvSpPr>
          <p:cNvPr id="7" name="Content Placeholder 6">
            <a:extLst>
              <a:ext uri="{FF2B5EF4-FFF2-40B4-BE49-F238E27FC236}">
                <a16:creationId xmlns:a16="http://schemas.microsoft.com/office/drawing/2014/main" id="{C15B436B-D5CE-AB4A-A907-98CF827A820F}"/>
              </a:ext>
            </a:extLst>
          </p:cNvPr>
          <p:cNvSpPr>
            <a:spLocks noGrp="1"/>
          </p:cNvSpPr>
          <p:nvPr>
            <p:ph sz="half" idx="2"/>
          </p:nvPr>
        </p:nvSpPr>
        <p:spPr>
          <a:xfrm>
            <a:off x="838199" y="2141199"/>
            <a:ext cx="4593880" cy="3335720"/>
          </a:xfrm>
        </p:spPr>
        <p:txBody>
          <a:bodyPr>
            <a:normAutofit/>
          </a:bodyPr>
          <a:lstStyle/>
          <a:p>
            <a:pPr marL="0" indent="0">
              <a:lnSpc>
                <a:spcPct val="110000"/>
              </a:lnSpc>
              <a:buNone/>
            </a:pPr>
            <a:r>
              <a:rPr lang="nb-NO" sz="2400"/>
              <a:t>Automatisering øker forventningene til personlige møter:</a:t>
            </a:r>
          </a:p>
          <a:p>
            <a:pPr marL="685800" lvl="2">
              <a:lnSpc>
                <a:spcPct val="110000"/>
              </a:lnSpc>
              <a:spcBef>
                <a:spcPts val="1000"/>
              </a:spcBef>
            </a:pPr>
            <a:r>
              <a:rPr lang="nb-NO" sz="2400"/>
              <a:t>Økt behov for </a:t>
            </a:r>
            <a:r>
              <a:rPr lang="nb-NO" sz="2400" err="1"/>
              <a:t>relasjonskompetanse</a:t>
            </a:r>
            <a:endParaRPr lang="nb-NO" sz="2400"/>
          </a:p>
          <a:p>
            <a:pPr marL="685800" lvl="2">
              <a:lnSpc>
                <a:spcPct val="110000"/>
              </a:lnSpc>
              <a:spcBef>
                <a:spcPts val="1000"/>
              </a:spcBef>
            </a:pPr>
            <a:r>
              <a:rPr lang="nb-NO" sz="2400"/>
              <a:t>Faglig ekspertise</a:t>
            </a:r>
          </a:p>
        </p:txBody>
      </p:sp>
      <p:sp>
        <p:nvSpPr>
          <p:cNvPr id="10" name="TekstSylinder 5">
            <a:extLst>
              <a:ext uri="{FF2B5EF4-FFF2-40B4-BE49-F238E27FC236}">
                <a16:creationId xmlns:a16="http://schemas.microsoft.com/office/drawing/2014/main" id="{1B7278F0-C834-D349-B45F-F03B2121FA4A}"/>
              </a:ext>
            </a:extLst>
          </p:cNvPr>
          <p:cNvSpPr txBox="1"/>
          <p:nvPr/>
        </p:nvSpPr>
        <p:spPr>
          <a:xfrm rot="5400000">
            <a:off x="313702" y="5375466"/>
            <a:ext cx="13259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to: Stockbilder</a:t>
            </a:r>
          </a:p>
        </p:txBody>
      </p:sp>
      <p:pic>
        <p:nvPicPr>
          <p:cNvPr id="6" name="Bilde 5">
            <a:extLst>
              <a:ext uri="{FF2B5EF4-FFF2-40B4-BE49-F238E27FC236}">
                <a16:creationId xmlns:a16="http://schemas.microsoft.com/office/drawing/2014/main" id="{23461F00-1B95-AE8E-F3AC-48BAF48E354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92521" y="1381080"/>
            <a:ext cx="5398371" cy="4095839"/>
          </a:xfrm>
          <a:prstGeom prst="rect">
            <a:avLst/>
          </a:prstGeom>
        </p:spPr>
      </p:pic>
    </p:spTree>
    <p:extLst>
      <p:ext uri="{BB962C8B-B14F-4D97-AF65-F5344CB8AC3E}">
        <p14:creationId xmlns:p14="http://schemas.microsoft.com/office/powerpoint/2010/main" val="22924316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2892688-4D2A-6710-209E-EBBE47A98EA9}"/>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C846BD3-38D2-997F-387F-44DB63FEFE9F}"/>
              </a:ext>
            </a:extLst>
          </p:cNvPr>
          <p:cNvSpPr>
            <a:spLocks noGrp="1"/>
          </p:cNvSpPr>
          <p:nvPr>
            <p:ph type="title"/>
          </p:nvPr>
        </p:nvSpPr>
        <p:spPr>
          <a:xfrm>
            <a:off x="838200" y="482400"/>
            <a:ext cx="5257800" cy="1072080"/>
          </a:xfrm>
        </p:spPr>
        <p:txBody>
          <a:bodyPr>
            <a:normAutofit/>
          </a:bodyPr>
          <a:lstStyle/>
          <a:p>
            <a:r>
              <a:rPr lang="nb-NO">
                <a:solidFill>
                  <a:schemeClr val="tx1"/>
                </a:solidFill>
              </a:rPr>
              <a:t>Forventninger fra arbeidsgivere</a:t>
            </a:r>
          </a:p>
        </p:txBody>
      </p:sp>
      <p:sp>
        <p:nvSpPr>
          <p:cNvPr id="3" name="Plassholder for innhold 2">
            <a:extLst>
              <a:ext uri="{FF2B5EF4-FFF2-40B4-BE49-F238E27FC236}">
                <a16:creationId xmlns:a16="http://schemas.microsoft.com/office/drawing/2014/main" id="{968B4499-74AE-082A-E385-6EC3C5E1482C}"/>
              </a:ext>
            </a:extLst>
          </p:cNvPr>
          <p:cNvSpPr>
            <a:spLocks noGrp="1"/>
          </p:cNvSpPr>
          <p:nvPr>
            <p:ph sz="half" idx="1"/>
          </p:nvPr>
        </p:nvSpPr>
        <p:spPr/>
        <p:txBody>
          <a:bodyPr>
            <a:normAutofit/>
          </a:bodyPr>
          <a:lstStyle/>
          <a:p>
            <a:pPr>
              <a:buClr>
                <a:srgbClr val="000000"/>
              </a:buClr>
            </a:pPr>
            <a:r>
              <a:rPr lang="nb-NO" sz="2400"/>
              <a:t>Kjennskap til virksomhetene </a:t>
            </a:r>
            <a:br>
              <a:rPr lang="nb-NO" sz="2400"/>
            </a:br>
            <a:r>
              <a:rPr lang="nb-NO" sz="2400"/>
              <a:t>og kartlegging av behov</a:t>
            </a:r>
          </a:p>
          <a:p>
            <a:pPr marL="0" indent="0">
              <a:buClr>
                <a:srgbClr val="000000"/>
              </a:buClr>
              <a:buNone/>
            </a:pPr>
            <a:endParaRPr lang="nb-NO" sz="2400"/>
          </a:p>
          <a:p>
            <a:pPr>
              <a:buClr>
                <a:srgbClr val="000000"/>
              </a:buClr>
            </a:pPr>
            <a:r>
              <a:rPr lang="nb-NO" sz="2400"/>
              <a:t>Bistand ved rekruttering og omstilling</a:t>
            </a:r>
          </a:p>
          <a:p>
            <a:pPr marL="0" indent="0">
              <a:buClr>
                <a:srgbClr val="000000"/>
              </a:buClr>
              <a:buNone/>
            </a:pPr>
            <a:endParaRPr lang="nb-NO" sz="2400"/>
          </a:p>
          <a:p>
            <a:pPr>
              <a:buClr>
                <a:srgbClr val="000000"/>
              </a:buClr>
            </a:pPr>
            <a:r>
              <a:rPr lang="nb-NO" sz="2400"/>
              <a:t>Rådgiver om framtidige kompetansebehov</a:t>
            </a:r>
          </a:p>
          <a:p>
            <a:pPr>
              <a:buClr>
                <a:srgbClr val="000000"/>
              </a:buClr>
            </a:pPr>
            <a:endParaRPr lang="nb-NO" sz="2400"/>
          </a:p>
        </p:txBody>
      </p:sp>
      <p:pic>
        <p:nvPicPr>
          <p:cNvPr id="7" name="Bilde 7">
            <a:extLst>
              <a:ext uri="{FF2B5EF4-FFF2-40B4-BE49-F238E27FC236}">
                <a16:creationId xmlns:a16="http://schemas.microsoft.com/office/drawing/2014/main" id="{3F1CC40B-3388-EDD3-CD18-DA36A7AD70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24187" y="1673107"/>
            <a:ext cx="5408584" cy="3637813"/>
          </a:xfrm>
          <a:prstGeom prst="rect">
            <a:avLst/>
          </a:prstGeom>
        </p:spPr>
      </p:pic>
    </p:spTree>
    <p:extLst>
      <p:ext uri="{BB962C8B-B14F-4D97-AF65-F5344CB8AC3E}">
        <p14:creationId xmlns:p14="http://schemas.microsoft.com/office/powerpoint/2010/main" val="38877280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a:bodyPr>
          <a:lstStyle/>
          <a:p>
            <a:r>
              <a:rPr lang="nb-NO">
                <a:effectLst/>
              </a:rPr>
              <a:t>Hvor og hvordan forventer du å møte NAV i 2035?</a:t>
            </a:r>
          </a:p>
          <a:p>
            <a:endParaRPr lang="nb-NO">
              <a:effectLst/>
            </a:endParaRPr>
          </a:p>
          <a:p>
            <a:r>
              <a:rPr lang="nb-NO">
                <a:effectLst/>
              </a:rPr>
              <a:t>Hva vil det si at NAV er tilgjengelige for alle som </a:t>
            </a:r>
            <a:br>
              <a:rPr lang="nb-NO">
                <a:effectLst/>
              </a:rPr>
            </a:br>
            <a:r>
              <a:rPr lang="nb-NO">
                <a:effectLst/>
              </a:rPr>
              <a:t>trenger det?</a:t>
            </a:r>
          </a:p>
          <a:p>
            <a:endParaRPr lang="nb-NO">
              <a:effectLst/>
            </a:endParaRPr>
          </a:p>
          <a:p>
            <a:r>
              <a:rPr lang="nb-NO">
                <a:effectLst/>
              </a:rPr>
              <a:t>Hva betyr det å sette </a:t>
            </a:r>
            <a:br>
              <a:rPr lang="nb-NO">
                <a:effectLst/>
              </a:rPr>
            </a:br>
            <a:r>
              <a:rPr lang="nb-NO">
                <a:effectLst/>
              </a:rPr>
              <a:t>brukeren i sentrum?</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nb-NO"/>
              <a:t>Refleksjonsspørsmål</a:t>
            </a:r>
          </a:p>
        </p:txBody>
      </p:sp>
    </p:spTree>
    <p:extLst>
      <p:ext uri="{BB962C8B-B14F-4D97-AF65-F5344CB8AC3E}">
        <p14:creationId xmlns:p14="http://schemas.microsoft.com/office/powerpoint/2010/main" val="22869361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FD28111-05DE-C94A-9B1C-1D9A35AF389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1269705"/>
            <a:ext cx="12199620" cy="8133080"/>
          </a:xfrm>
          <a:prstGeom prst="rect">
            <a:avLst/>
          </a:prstGeom>
        </p:spPr>
      </p:pic>
      <p:sp>
        <p:nvSpPr>
          <p:cNvPr id="5" name="Ellipse 4">
            <a:extLst>
              <a:ext uri="{FF2B5EF4-FFF2-40B4-BE49-F238E27FC236}">
                <a16:creationId xmlns:a16="http://schemas.microsoft.com/office/drawing/2014/main" id="{485DFE7D-5378-1A60-D6C4-0936F7DFA5ED}"/>
              </a:ext>
            </a:extLst>
          </p:cNvPr>
          <p:cNvSpPr/>
          <p:nvPr/>
        </p:nvSpPr>
        <p:spPr>
          <a:xfrm>
            <a:off x="952500" y="518967"/>
            <a:ext cx="3533502" cy="3472543"/>
          </a:xfrm>
          <a:prstGeom prst="ellipse">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kstSylinder 2">
            <a:extLst>
              <a:ext uri="{FF2B5EF4-FFF2-40B4-BE49-F238E27FC236}">
                <a16:creationId xmlns:a16="http://schemas.microsoft.com/office/drawing/2014/main" id="{7425ED42-33CE-522A-B35E-5456E3947C53}"/>
              </a:ext>
            </a:extLst>
          </p:cNvPr>
          <p:cNvSpPr txBox="1"/>
          <p:nvPr/>
        </p:nvSpPr>
        <p:spPr>
          <a:xfrm>
            <a:off x="834847" y="1807083"/>
            <a:ext cx="364186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8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knologi</a:t>
            </a:r>
          </a:p>
        </p:txBody>
      </p:sp>
    </p:spTree>
    <p:extLst>
      <p:ext uri="{BB962C8B-B14F-4D97-AF65-F5344CB8AC3E}">
        <p14:creationId xmlns:p14="http://schemas.microsoft.com/office/powerpoint/2010/main" val="38281920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11" descr="Server">
            <a:extLst>
              <a:ext uri="{FF2B5EF4-FFF2-40B4-BE49-F238E27FC236}">
                <a16:creationId xmlns:a16="http://schemas.microsoft.com/office/drawing/2014/main" id="{429360FA-500B-3649-99DA-5602607EF340}"/>
              </a:ext>
            </a:extLst>
          </p:cNvPr>
          <p:cNvPicPr>
            <a:picLocks noChangeAspect="1"/>
          </p:cNvPicPr>
          <p:nvPr/>
        </p:nvPicPr>
        <p:blipFill>
          <a:blip r:embed="rId3">
            <a:extLst>
              <a:ext uri="{96DAC541-7B7A-43D3-8B79-37D633B846F1}">
                <asvg:svgBlip xmlns:asvg="http://schemas.microsoft.com/office/drawing/2016/SVG/main" r:embed="rId4"/>
              </a:ext>
            </a:extLst>
          </a:blip>
          <a:srcRect/>
          <a:stretch>
            <a:fillRect/>
          </a:stretch>
        </p:blipFill>
        <p:spPr>
          <a:xfrm>
            <a:off x="4950996" y="1965865"/>
            <a:ext cx="2493380" cy="2493380"/>
          </a:xfrm>
          <a:prstGeom prst="ellipse">
            <a:avLst/>
          </a:prstGeom>
        </p:spPr>
      </p:pic>
      <p:pic>
        <p:nvPicPr>
          <p:cNvPr id="5" name="Picture Placeholder 13" descr="Abacus">
            <a:extLst>
              <a:ext uri="{FF2B5EF4-FFF2-40B4-BE49-F238E27FC236}">
                <a16:creationId xmlns:a16="http://schemas.microsoft.com/office/drawing/2014/main" id="{86738B56-313C-C849-AF3F-67BFC5752A7A}"/>
              </a:ext>
            </a:extLst>
          </p:cNvPr>
          <p:cNvPicPr>
            <a:picLocks noChangeAspect="1"/>
          </p:cNvPicPr>
          <p:nvPr/>
        </p:nvPicPr>
        <p:blipFill>
          <a:blip r:embed="rId5">
            <a:extLst>
              <a:ext uri="{96DAC541-7B7A-43D3-8B79-37D633B846F1}">
                <asvg:svgBlip xmlns:asvg="http://schemas.microsoft.com/office/drawing/2016/SVG/main" r:embed="rId6"/>
              </a:ext>
            </a:extLst>
          </a:blip>
          <a:srcRect/>
          <a:stretch>
            <a:fillRect/>
          </a:stretch>
        </p:blipFill>
        <p:spPr>
          <a:xfrm>
            <a:off x="8863136" y="2153387"/>
            <a:ext cx="2417467" cy="2417467"/>
          </a:xfrm>
          <a:prstGeom prst="ellipse">
            <a:avLst/>
          </a:prstGeom>
        </p:spPr>
      </p:pic>
      <p:sp>
        <p:nvSpPr>
          <p:cNvPr id="26" name="Rektangel 25">
            <a:extLst>
              <a:ext uri="{FF2B5EF4-FFF2-40B4-BE49-F238E27FC236}">
                <a16:creationId xmlns:a16="http://schemas.microsoft.com/office/drawing/2014/main" id="{B69932F1-EEB3-4CCD-8C1A-A5F5E210CA0B}"/>
              </a:ext>
            </a:extLst>
          </p:cNvPr>
          <p:cNvSpPr/>
          <p:nvPr/>
        </p:nvSpPr>
        <p:spPr>
          <a:xfrm>
            <a:off x="750439" y="2081048"/>
            <a:ext cx="10752082" cy="2523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9" name="Bilde 18" descr="Et bilde som inneholder elektronikk, krets&#10;&#10;Automatisk generert beskrivelse">
            <a:extLst>
              <a:ext uri="{FF2B5EF4-FFF2-40B4-BE49-F238E27FC236}">
                <a16:creationId xmlns:a16="http://schemas.microsoft.com/office/drawing/2014/main" id="{89BE9434-8012-4F7A-B67A-17F0B16E08C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16200000">
            <a:off x="1202875" y="1934522"/>
            <a:ext cx="2801721" cy="2801721"/>
          </a:xfrm>
          <a:prstGeom prst="ellipse">
            <a:avLst/>
          </a:prstGeom>
        </p:spPr>
      </p:pic>
      <p:pic>
        <p:nvPicPr>
          <p:cNvPr id="21" name="Bilde 20">
            <a:extLst>
              <a:ext uri="{FF2B5EF4-FFF2-40B4-BE49-F238E27FC236}">
                <a16:creationId xmlns:a16="http://schemas.microsoft.com/office/drawing/2014/main" id="{32AF82F3-DF7E-49DF-A4D6-90C58A4FCF7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710293" y="1935725"/>
            <a:ext cx="2787840" cy="2787840"/>
          </a:xfrm>
          <a:prstGeom prst="ellipse">
            <a:avLst/>
          </a:prstGeom>
        </p:spPr>
      </p:pic>
      <p:pic>
        <p:nvPicPr>
          <p:cNvPr id="25" name="Bilde 24">
            <a:extLst>
              <a:ext uri="{FF2B5EF4-FFF2-40B4-BE49-F238E27FC236}">
                <a16:creationId xmlns:a16="http://schemas.microsoft.com/office/drawing/2014/main" id="{3E8F0468-645E-4D27-A75D-5C4910A241FB}"/>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167742" y="1929511"/>
            <a:ext cx="2787840" cy="2787840"/>
          </a:xfrm>
          <a:prstGeom prst="ellipse">
            <a:avLst/>
          </a:prstGeom>
        </p:spPr>
      </p:pic>
      <p:sp>
        <p:nvSpPr>
          <p:cNvPr id="2" name="Title 1">
            <a:extLst>
              <a:ext uri="{FF2B5EF4-FFF2-40B4-BE49-F238E27FC236}">
                <a16:creationId xmlns:a16="http://schemas.microsoft.com/office/drawing/2014/main" id="{26E39EAC-C6AC-1142-9FCD-117DFBC264B1}"/>
              </a:ext>
            </a:extLst>
          </p:cNvPr>
          <p:cNvSpPr>
            <a:spLocks noGrp="1"/>
          </p:cNvSpPr>
          <p:nvPr>
            <p:ph type="title"/>
          </p:nvPr>
        </p:nvSpPr>
        <p:spPr/>
        <p:txBody>
          <a:bodyPr/>
          <a:lstStyle/>
          <a:p>
            <a:r>
              <a:rPr lang="nb-NO" noProof="0">
                <a:solidFill>
                  <a:schemeClr val="tx1"/>
                </a:solidFill>
              </a:rPr>
              <a:t>Digitaliseringen fortsetter å bre om seg</a:t>
            </a:r>
            <a:br>
              <a:rPr lang="nb-NO" noProof="0">
                <a:solidFill>
                  <a:schemeClr val="tx1"/>
                </a:solidFill>
              </a:rPr>
            </a:br>
            <a:r>
              <a:rPr lang="nb-NO" sz="2000" i="1" noProof="0">
                <a:solidFill>
                  <a:schemeClr val="tx1">
                    <a:lumMod val="50000"/>
                    <a:lumOff val="50000"/>
                  </a:schemeClr>
                </a:solidFill>
              </a:rPr>
              <a:t>Vedvarende og tiltakende trender</a:t>
            </a:r>
            <a:endParaRPr lang="nb-NO" noProof="0"/>
          </a:p>
        </p:txBody>
      </p:sp>
      <p:sp>
        <p:nvSpPr>
          <p:cNvPr id="6" name="Text Placeholder 5">
            <a:extLst>
              <a:ext uri="{FF2B5EF4-FFF2-40B4-BE49-F238E27FC236}">
                <a16:creationId xmlns:a16="http://schemas.microsoft.com/office/drawing/2014/main" id="{11EA804D-DCDF-044D-AD56-A5A9D193031E}"/>
              </a:ext>
            </a:extLst>
          </p:cNvPr>
          <p:cNvSpPr txBox="1">
            <a:spLocks/>
          </p:cNvSpPr>
          <p:nvPr/>
        </p:nvSpPr>
        <p:spPr>
          <a:xfrm>
            <a:off x="7838207" y="5313612"/>
            <a:ext cx="3398852" cy="9636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NO" sz="2400"/>
              <a:t>Algoritmiske </a:t>
            </a:r>
            <a:br>
              <a:rPr lang="nb-NO" sz="2400"/>
            </a:br>
            <a:r>
              <a:rPr lang="en-NO" sz="2400"/>
              <a:t>systemer</a:t>
            </a:r>
          </a:p>
        </p:txBody>
      </p:sp>
      <p:sp>
        <p:nvSpPr>
          <p:cNvPr id="7" name="Text Placeholder 6">
            <a:extLst>
              <a:ext uri="{FF2B5EF4-FFF2-40B4-BE49-F238E27FC236}">
                <a16:creationId xmlns:a16="http://schemas.microsoft.com/office/drawing/2014/main" id="{102F4561-7DD9-8348-A026-D73DAE2C4331}"/>
              </a:ext>
            </a:extLst>
          </p:cNvPr>
          <p:cNvSpPr txBox="1">
            <a:spLocks/>
          </p:cNvSpPr>
          <p:nvPr/>
        </p:nvSpPr>
        <p:spPr>
          <a:xfrm>
            <a:off x="4419049" y="5310375"/>
            <a:ext cx="3398852" cy="9636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NO" sz="2400"/>
              <a:t>Bredere og lettere tilgang til data</a:t>
            </a:r>
          </a:p>
        </p:txBody>
      </p:sp>
      <p:sp>
        <p:nvSpPr>
          <p:cNvPr id="8" name="Text Placeholder 7">
            <a:extLst>
              <a:ext uri="{FF2B5EF4-FFF2-40B4-BE49-F238E27FC236}">
                <a16:creationId xmlns:a16="http://schemas.microsoft.com/office/drawing/2014/main" id="{758991D1-46A6-384E-85E3-3DAD60B9170B}"/>
              </a:ext>
            </a:extLst>
          </p:cNvPr>
          <p:cNvSpPr txBox="1">
            <a:spLocks/>
          </p:cNvSpPr>
          <p:nvPr/>
        </p:nvSpPr>
        <p:spPr>
          <a:xfrm>
            <a:off x="965042" y="5310375"/>
            <a:ext cx="3398852" cy="9636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NO" sz="2400"/>
              <a:t>Billigere og mer fleksibel datakraft</a:t>
            </a:r>
          </a:p>
        </p:txBody>
      </p:sp>
      <p:sp>
        <p:nvSpPr>
          <p:cNvPr id="9" name="Oval 8">
            <a:extLst>
              <a:ext uri="{FF2B5EF4-FFF2-40B4-BE49-F238E27FC236}">
                <a16:creationId xmlns:a16="http://schemas.microsoft.com/office/drawing/2014/main" id="{0B204A7C-85BB-8640-B7C7-DDD687BF5BD9}"/>
              </a:ext>
            </a:extLst>
          </p:cNvPr>
          <p:cNvSpPr/>
          <p:nvPr/>
        </p:nvSpPr>
        <p:spPr>
          <a:xfrm>
            <a:off x="730362" y="1965865"/>
            <a:ext cx="914400" cy="914400"/>
          </a:xfrm>
          <a:prstGeom prst="ellipse">
            <a:avLst/>
          </a:prstGeom>
          <a:solidFill>
            <a:srgbClr val="0C547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a:latin typeface="Arial" panose="020B0604020202020204" pitchFamily="34" charset="0"/>
                <a:cs typeface="Arial" panose="020B0604020202020204" pitchFamily="34" charset="0"/>
              </a:rPr>
              <a:t>S</a:t>
            </a:r>
            <a:r>
              <a:rPr lang="en-NO" sz="1200">
                <a:latin typeface="Arial" panose="020B0604020202020204" pitchFamily="34" charset="0"/>
                <a:cs typeface="Arial" panose="020B0604020202020204" pitchFamily="34" charset="0"/>
              </a:rPr>
              <a:t>ky-tjenester</a:t>
            </a:r>
          </a:p>
        </p:txBody>
      </p:sp>
      <p:sp>
        <p:nvSpPr>
          <p:cNvPr id="10" name="Oval 9">
            <a:extLst>
              <a:ext uri="{FF2B5EF4-FFF2-40B4-BE49-F238E27FC236}">
                <a16:creationId xmlns:a16="http://schemas.microsoft.com/office/drawing/2014/main" id="{1A9CD8CF-42A7-1D4F-867D-C41F1AA82068}"/>
              </a:ext>
            </a:extLst>
          </p:cNvPr>
          <p:cNvSpPr/>
          <p:nvPr/>
        </p:nvSpPr>
        <p:spPr>
          <a:xfrm>
            <a:off x="2740885" y="1547764"/>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nb-NO" sz="900">
                <a:latin typeface="Arial" panose="020B0604020202020204" pitchFamily="34" charset="0"/>
                <a:cs typeface="Arial" panose="020B0604020202020204" pitchFamily="34" charset="0"/>
              </a:rPr>
              <a:t>Kvante-data-maskiner</a:t>
            </a:r>
            <a:endParaRPr lang="en-NO" sz="90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917B08FC-F2DD-AC4F-8725-7ADCE5AEB3C6}"/>
              </a:ext>
            </a:extLst>
          </p:cNvPr>
          <p:cNvSpPr/>
          <p:nvPr/>
        </p:nvSpPr>
        <p:spPr>
          <a:xfrm>
            <a:off x="4647238" y="4058271"/>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NO" sz="1600">
                <a:latin typeface="Arial" panose="020B0604020202020204" pitchFamily="34" charset="0"/>
                <a:cs typeface="Arial" panose="020B0604020202020204" pitchFamily="34" charset="0"/>
              </a:rPr>
              <a:t>5G</a:t>
            </a:r>
            <a:r>
              <a:rPr lang="nb-NO" sz="1600">
                <a:latin typeface="Arial" panose="020B0604020202020204" pitchFamily="34" charset="0"/>
                <a:cs typeface="Arial" panose="020B0604020202020204" pitchFamily="34" charset="0"/>
              </a:rPr>
              <a:t>/ 6G</a:t>
            </a:r>
            <a:endParaRPr lang="en-NO" sz="160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EE00F3B1-2DB1-BD48-ADE0-30C2DF3E54A7}"/>
              </a:ext>
            </a:extLst>
          </p:cNvPr>
          <p:cNvSpPr/>
          <p:nvPr/>
        </p:nvSpPr>
        <p:spPr>
          <a:xfrm>
            <a:off x="6103815" y="1508665"/>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nb-NO" sz="1200">
                <a:latin typeface="Arial" panose="020B0604020202020204" pitchFamily="34" charset="0"/>
                <a:cs typeface="Arial" panose="020B0604020202020204" pitchFamily="34" charset="0"/>
              </a:rPr>
              <a:t>Tingenes internett</a:t>
            </a:r>
            <a:endParaRPr lang="en-NO" sz="1200">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63527F5F-DBED-4D40-B122-38CC0CF7A87F}"/>
              </a:ext>
            </a:extLst>
          </p:cNvPr>
          <p:cNvSpPr/>
          <p:nvPr/>
        </p:nvSpPr>
        <p:spPr>
          <a:xfrm>
            <a:off x="10187118" y="3939072"/>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NO" sz="1200">
                <a:latin typeface="Arial" panose="020B0604020202020204" pitchFamily="34" charset="0"/>
                <a:cs typeface="Arial" panose="020B0604020202020204" pitchFamily="34" charset="0"/>
              </a:rPr>
              <a:t>Digital</a:t>
            </a:r>
            <a:r>
              <a:rPr lang="nb-NO" sz="1200">
                <a:latin typeface="Arial" panose="020B0604020202020204" pitchFamily="34" charset="0"/>
                <a:cs typeface="Arial" panose="020B0604020202020204" pitchFamily="34" charset="0"/>
              </a:rPr>
              <a:t>e</a:t>
            </a:r>
            <a:r>
              <a:rPr lang="en-NO" sz="1200">
                <a:latin typeface="Arial" panose="020B0604020202020204" pitchFamily="34" charset="0"/>
                <a:cs typeface="Arial" panose="020B0604020202020204" pitchFamily="34" charset="0"/>
              </a:rPr>
              <a:t> t</a:t>
            </a:r>
            <a:r>
              <a:rPr lang="nb-NO" sz="1200">
                <a:latin typeface="Arial" panose="020B0604020202020204" pitchFamily="34" charset="0"/>
                <a:cs typeface="Arial" panose="020B0604020202020204" pitchFamily="34" charset="0"/>
              </a:rPr>
              <a:t>villinger</a:t>
            </a:r>
            <a:endParaRPr lang="en-NO" sz="1200">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CE9FD227-FB15-0242-994E-150E4A9A010F}"/>
              </a:ext>
            </a:extLst>
          </p:cNvPr>
          <p:cNvSpPr/>
          <p:nvPr/>
        </p:nvSpPr>
        <p:spPr>
          <a:xfrm>
            <a:off x="7916486" y="2007547"/>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en-NO" sz="1100">
                <a:latin typeface="Arial" panose="020B0604020202020204" pitchFamily="34" charset="0"/>
                <a:cs typeface="Arial" panose="020B0604020202020204" pitchFamily="34" charset="0"/>
              </a:rPr>
              <a:t>Kunstig intelligens</a:t>
            </a:r>
          </a:p>
        </p:txBody>
      </p:sp>
      <p:sp>
        <p:nvSpPr>
          <p:cNvPr id="18" name="TekstSylinder 17">
            <a:extLst>
              <a:ext uri="{FF2B5EF4-FFF2-40B4-BE49-F238E27FC236}">
                <a16:creationId xmlns:a16="http://schemas.microsoft.com/office/drawing/2014/main" id="{80A438AA-0035-4B2B-972F-C4864AE0D652}"/>
              </a:ext>
            </a:extLst>
          </p:cNvPr>
          <p:cNvSpPr txBox="1"/>
          <p:nvPr/>
        </p:nvSpPr>
        <p:spPr>
          <a:xfrm>
            <a:off x="10500080" y="6460355"/>
            <a:ext cx="1691920" cy="246221"/>
          </a:xfrm>
          <a:prstGeom prst="rect">
            <a:avLst/>
          </a:prstGeom>
          <a:noFill/>
        </p:spPr>
        <p:txBody>
          <a:bodyPr wrap="square" rtlCol="0">
            <a:spAutoFit/>
          </a:bodyPr>
          <a:lstStyle/>
          <a:p>
            <a:r>
              <a:rPr lang="nb-NO" sz="1000">
                <a:latin typeface="Arial" panose="020B0604020202020204" pitchFamily="34" charset="0"/>
                <a:cs typeface="Arial" panose="020B0604020202020204" pitchFamily="34" charset="0"/>
              </a:rPr>
              <a:t>Alle foto: </a:t>
            </a:r>
            <a:r>
              <a:rPr lang="nb-NO" sz="1000" err="1">
                <a:latin typeface="Arial" panose="020B0604020202020204" pitchFamily="34" charset="0"/>
                <a:cs typeface="Arial" panose="020B0604020202020204" pitchFamily="34" charset="0"/>
              </a:rPr>
              <a:t>Unsplash</a:t>
            </a:r>
            <a:endParaRPr lang="nb-NO"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74346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2690D-24A1-8844-7CD1-0150EF7C0573}"/>
              </a:ext>
            </a:extLst>
          </p:cNvPr>
          <p:cNvSpPr>
            <a:spLocks noGrp="1"/>
          </p:cNvSpPr>
          <p:nvPr>
            <p:ph type="title"/>
          </p:nvPr>
        </p:nvSpPr>
        <p:spPr/>
        <p:txBody>
          <a:bodyPr/>
          <a:lstStyle/>
          <a:p>
            <a:pPr algn="ctr"/>
            <a:r>
              <a:rPr lang="nb-NO">
                <a:solidFill>
                  <a:schemeClr val="tx1"/>
                </a:solidFill>
              </a:rPr>
              <a:t>Nye utviklingstrekk</a:t>
            </a:r>
            <a:endParaRPr lang="en-NO" sz="2000">
              <a:solidFill>
                <a:schemeClr val="tx1"/>
              </a:solidFill>
            </a:endParaRPr>
          </a:p>
        </p:txBody>
      </p:sp>
      <p:pic>
        <p:nvPicPr>
          <p:cNvPr id="10" name="Picture Placeholder 9">
            <a:extLst>
              <a:ext uri="{FF2B5EF4-FFF2-40B4-BE49-F238E27FC236}">
                <a16:creationId xmlns:a16="http://schemas.microsoft.com/office/drawing/2014/main" id="{E68C39DF-4641-840D-F2A3-1E278E8E1E99}"/>
              </a:ext>
            </a:extLst>
          </p:cNvPr>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p:blipFill>
        <p:spPr>
          <a:xfrm>
            <a:off x="1055445" y="2086045"/>
            <a:ext cx="2713092" cy="2713092"/>
          </a:xfrm>
          <a:ln w="38100">
            <a:solidFill>
              <a:srgbClr val="0C5472"/>
            </a:solidFill>
          </a:ln>
        </p:spPr>
      </p:pic>
      <p:pic>
        <p:nvPicPr>
          <p:cNvPr id="14" name="Picture Placeholder 13">
            <a:extLst>
              <a:ext uri="{FF2B5EF4-FFF2-40B4-BE49-F238E27FC236}">
                <a16:creationId xmlns:a16="http://schemas.microsoft.com/office/drawing/2014/main" id="{971CCBD5-3934-31E8-E783-42D15CCA13CD}"/>
              </a:ext>
            </a:extLst>
          </p:cNvPr>
          <p:cNvPicPr>
            <a:picLocks noGrp="1" noChangeAspect="1"/>
          </p:cNvPicPr>
          <p:nvPr>
            <p:ph type="pic" sz="quarter" idx="27"/>
          </p:nvPr>
        </p:nvPicPr>
        <p:blipFill rotWithShape="1">
          <a:blip r:embed="rId4" cstate="email">
            <a:extLst>
              <a:ext uri="{28A0092B-C50C-407E-A947-70E740481C1C}">
                <a14:useLocalDpi xmlns:a14="http://schemas.microsoft.com/office/drawing/2010/main"/>
              </a:ext>
            </a:extLst>
          </a:blip>
          <a:srcRect b="-1566"/>
          <a:stretch/>
        </p:blipFill>
        <p:spPr>
          <a:xfrm>
            <a:off x="8423465" y="2101148"/>
            <a:ext cx="2713092" cy="2713092"/>
          </a:xfrm>
          <a:ln w="38100">
            <a:solidFill>
              <a:srgbClr val="0C5472"/>
            </a:solidFill>
          </a:ln>
        </p:spPr>
      </p:pic>
      <p:pic>
        <p:nvPicPr>
          <p:cNvPr id="18" name="Picture Placeholder 17" descr="A close-up of a machine&#10;&#10;Description automatically generated with low confidence">
            <a:extLst>
              <a:ext uri="{FF2B5EF4-FFF2-40B4-BE49-F238E27FC236}">
                <a16:creationId xmlns:a16="http://schemas.microsoft.com/office/drawing/2014/main" id="{D34BD9DE-E926-6625-F70C-7904CA8DF0DB}"/>
              </a:ext>
            </a:extLst>
          </p:cNvPr>
          <p:cNvPicPr>
            <a:picLocks noGrp="1" noChangeAspect="1"/>
          </p:cNvPicPr>
          <p:nvPr>
            <p:ph type="pic" sz="quarter" idx="28"/>
          </p:nvPr>
        </p:nvPicPr>
        <p:blipFill>
          <a:blip r:embed="rId5" cstate="email">
            <a:extLst>
              <a:ext uri="{28A0092B-C50C-407E-A947-70E740481C1C}">
                <a14:useLocalDpi xmlns:a14="http://schemas.microsoft.com/office/drawing/2010/main"/>
              </a:ext>
            </a:extLst>
          </a:blip>
          <a:srcRect/>
          <a:stretch>
            <a:fillRect/>
          </a:stretch>
        </p:blipFill>
        <p:spPr>
          <a:xfrm>
            <a:off x="4739454" y="2073584"/>
            <a:ext cx="2713092" cy="2713092"/>
          </a:xfrm>
          <a:ln w="38100">
            <a:solidFill>
              <a:srgbClr val="0C5472"/>
            </a:solidFill>
          </a:ln>
        </p:spPr>
      </p:pic>
      <p:sp>
        <p:nvSpPr>
          <p:cNvPr id="6" name="Text Placeholder 5">
            <a:extLst>
              <a:ext uri="{FF2B5EF4-FFF2-40B4-BE49-F238E27FC236}">
                <a16:creationId xmlns:a16="http://schemas.microsoft.com/office/drawing/2014/main" id="{3D90203F-4BF8-89B9-2E7B-0E3F530FB9C1}"/>
              </a:ext>
            </a:extLst>
          </p:cNvPr>
          <p:cNvSpPr>
            <a:spLocks noGrp="1"/>
          </p:cNvSpPr>
          <p:nvPr>
            <p:ph type="body" sz="quarter" idx="33"/>
          </p:nvPr>
        </p:nvSpPr>
        <p:spPr>
          <a:xfrm>
            <a:off x="4396574" y="4977985"/>
            <a:ext cx="3398852" cy="1046217"/>
          </a:xfrm>
        </p:spPr>
        <p:txBody>
          <a:bodyPr/>
          <a:lstStyle/>
          <a:p>
            <a:r>
              <a:rPr lang="nb-NO" sz="2000" b="1"/>
              <a:t>«Grunnmodeller» </a:t>
            </a:r>
            <a:br>
              <a:rPr lang="nb-NO" sz="2000"/>
            </a:br>
            <a:r>
              <a:rPr lang="en-NO" sz="2000"/>
              <a:t>Kunstig intelligens blir mer som forbrenningsmotoren</a:t>
            </a:r>
          </a:p>
        </p:txBody>
      </p:sp>
      <p:sp>
        <p:nvSpPr>
          <p:cNvPr id="7" name="Text Placeholder 6">
            <a:extLst>
              <a:ext uri="{FF2B5EF4-FFF2-40B4-BE49-F238E27FC236}">
                <a16:creationId xmlns:a16="http://schemas.microsoft.com/office/drawing/2014/main" id="{A14F37E8-F947-D8F6-6B28-544E3B22BEE6}"/>
              </a:ext>
            </a:extLst>
          </p:cNvPr>
          <p:cNvSpPr>
            <a:spLocks noGrp="1"/>
          </p:cNvSpPr>
          <p:nvPr>
            <p:ph type="body" sz="quarter" idx="34"/>
          </p:nvPr>
        </p:nvSpPr>
        <p:spPr>
          <a:xfrm>
            <a:off x="8080585" y="4965053"/>
            <a:ext cx="3398852" cy="1072080"/>
          </a:xfrm>
        </p:spPr>
        <p:txBody>
          <a:bodyPr/>
          <a:lstStyle/>
          <a:p>
            <a:r>
              <a:rPr lang="nb-NO" sz="2000" b="1"/>
              <a:t>Ny regulatorisk vår</a:t>
            </a:r>
            <a:br>
              <a:rPr lang="nb-NO" sz="2000" b="1"/>
            </a:br>
            <a:r>
              <a:rPr lang="nb-NO" sz="2000"/>
              <a:t>EU som «tredje vei» i ny teknologisk kald krig </a:t>
            </a:r>
            <a:endParaRPr lang="en-NO" sz="2000"/>
          </a:p>
        </p:txBody>
      </p:sp>
      <p:sp>
        <p:nvSpPr>
          <p:cNvPr id="8" name="Text Placeholder 7">
            <a:extLst>
              <a:ext uri="{FF2B5EF4-FFF2-40B4-BE49-F238E27FC236}">
                <a16:creationId xmlns:a16="http://schemas.microsoft.com/office/drawing/2014/main" id="{3271F0B4-5CCF-C495-D089-497F26529AE8}"/>
              </a:ext>
            </a:extLst>
          </p:cNvPr>
          <p:cNvSpPr>
            <a:spLocks noGrp="1"/>
          </p:cNvSpPr>
          <p:nvPr>
            <p:ph type="body" sz="quarter" idx="35"/>
          </p:nvPr>
        </p:nvSpPr>
        <p:spPr>
          <a:xfrm>
            <a:off x="712565" y="4952122"/>
            <a:ext cx="3398852" cy="963602"/>
          </a:xfrm>
        </p:spPr>
        <p:txBody>
          <a:bodyPr/>
          <a:lstStyle/>
          <a:p>
            <a:r>
              <a:rPr lang="nb-NO" sz="2000" b="1"/>
              <a:t>Virtuell virkelighet</a:t>
            </a:r>
            <a:br>
              <a:rPr lang="nb-NO" sz="2000" b="1"/>
            </a:br>
            <a:r>
              <a:rPr lang="nb-NO" sz="2000"/>
              <a:t>Det f</a:t>
            </a:r>
            <a:r>
              <a:rPr lang="en-NO" sz="2000"/>
              <a:t>ysiske og digitale </a:t>
            </a:r>
            <a:br>
              <a:rPr lang="nb-NO" sz="2000"/>
            </a:br>
            <a:r>
              <a:rPr lang="en-NO" sz="2000"/>
              <a:t>veves tettere sammen</a:t>
            </a:r>
          </a:p>
        </p:txBody>
      </p:sp>
      <p:sp>
        <p:nvSpPr>
          <p:cNvPr id="12" name="TextBox 11">
            <a:extLst>
              <a:ext uri="{FF2B5EF4-FFF2-40B4-BE49-F238E27FC236}">
                <a16:creationId xmlns:a16="http://schemas.microsoft.com/office/drawing/2014/main" id="{70351A5B-7F36-D1E6-CE6B-B749844F6BCA}"/>
              </a:ext>
            </a:extLst>
          </p:cNvPr>
          <p:cNvSpPr txBox="1"/>
          <p:nvPr/>
        </p:nvSpPr>
        <p:spPr>
          <a:xfrm>
            <a:off x="10393378" y="6504692"/>
            <a:ext cx="1798622" cy="215444"/>
          </a:xfrm>
          <a:prstGeom prst="rect">
            <a:avLst/>
          </a:prstGeom>
          <a:noFill/>
        </p:spPr>
        <p:txBody>
          <a:bodyPr wrap="square">
            <a:spAutoFit/>
          </a:bodyPr>
          <a:lstStyle/>
          <a:p>
            <a:r>
              <a:rPr lang="en-GB" sz="800" b="0" i="0" u="none" strike="noStrike" err="1">
                <a:solidFill>
                  <a:srgbClr val="000000"/>
                </a:solidFill>
                <a:effectLst/>
                <a:latin typeface="Arial" panose="020B0604020202020204" pitchFamily="34" charset="0"/>
                <a:cs typeface="Arial" panose="020B0604020202020204" pitchFamily="34" charset="0"/>
              </a:rPr>
              <a:t>Foto</a:t>
            </a:r>
            <a:r>
              <a:rPr lang="en-GB" sz="800" b="0" i="0" u="none" strike="noStrike">
                <a:solidFill>
                  <a:srgbClr val="000000"/>
                </a:solidFill>
                <a:effectLst/>
                <a:latin typeface="Arial" panose="020B0604020202020204" pitchFamily="34" charset="0"/>
                <a:cs typeface="Arial" panose="020B0604020202020204" pitchFamily="34" charset="0"/>
              </a:rPr>
              <a:t>: </a:t>
            </a:r>
            <a:r>
              <a:rPr lang="en-GB" sz="800" b="0" i="0" u="none" strike="noStrike" err="1">
                <a:solidFill>
                  <a:srgbClr val="000000"/>
                </a:solidFill>
                <a:effectLst/>
                <a:latin typeface="Arial" panose="020B0604020202020204" pitchFamily="34" charset="0"/>
                <a:cs typeface="Arial" panose="020B0604020202020204" pitchFamily="34" charset="0"/>
              </a:rPr>
              <a:t>Unsplash</a:t>
            </a:r>
            <a:r>
              <a:rPr lang="en-GB" sz="800" b="0" i="0" u="none" strike="noStrike">
                <a:solidFill>
                  <a:srgbClr val="000000"/>
                </a:solidFill>
                <a:effectLst/>
                <a:latin typeface="Arial" panose="020B0604020202020204" pitchFamily="34" charset="0"/>
                <a:cs typeface="Arial" panose="020B0604020202020204" pitchFamily="34" charset="0"/>
              </a:rPr>
              <a:t>, </a:t>
            </a:r>
            <a:r>
              <a:rPr lang="en-GB" sz="800" b="0" i="0" u="none" strike="noStrike" err="1">
                <a:solidFill>
                  <a:srgbClr val="000000"/>
                </a:solidFill>
                <a:effectLst/>
                <a:latin typeface="Arial" panose="020B0604020202020204" pitchFamily="34" charset="0"/>
                <a:cs typeface="Arial" panose="020B0604020202020204" pitchFamily="34" charset="0"/>
              </a:rPr>
              <a:t>Pexels</a:t>
            </a:r>
            <a:r>
              <a:rPr lang="en-GB" sz="800" b="0" i="0" u="none" strike="noStrike">
                <a:solidFill>
                  <a:srgbClr val="000000"/>
                </a:solidFill>
                <a:effectLst/>
                <a:latin typeface="Arial" panose="020B0604020202020204" pitchFamily="34" charset="0"/>
                <a:cs typeface="Arial" panose="020B0604020202020204" pitchFamily="34" charset="0"/>
              </a:rPr>
              <a:t>, Flickr</a:t>
            </a:r>
            <a:endParaRPr lang="en-NO" sz="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7816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erson wearing a virtual reality headset&#10;&#10;Description automatically generated with medium confidence">
            <a:extLst>
              <a:ext uri="{FF2B5EF4-FFF2-40B4-BE49-F238E27FC236}">
                <a16:creationId xmlns:a16="http://schemas.microsoft.com/office/drawing/2014/main" id="{D0724A7B-A309-944A-8276-454FE4230BAB}"/>
              </a:ext>
            </a:extLst>
          </p:cNvPr>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a:fillRect/>
          </a:stretch>
        </p:blipFill>
        <p:spPr>
          <a:xfrm>
            <a:off x="1068996" y="1849195"/>
            <a:ext cx="2677805" cy="2677805"/>
          </a:xfrm>
          <a:ln w="38100">
            <a:solidFill>
              <a:srgbClr val="0C5472"/>
            </a:solidFill>
          </a:ln>
        </p:spPr>
      </p:pic>
      <p:pic>
        <p:nvPicPr>
          <p:cNvPr id="24" name="Picture Placeholder 23" descr="A close - up of a calculator&#10;&#10;Description automatically generated with medium confidence">
            <a:extLst>
              <a:ext uri="{FF2B5EF4-FFF2-40B4-BE49-F238E27FC236}">
                <a16:creationId xmlns:a16="http://schemas.microsoft.com/office/drawing/2014/main" id="{EBB6638D-08A8-7D4B-B30E-2F7EB06FF7B1}"/>
              </a:ext>
            </a:extLst>
          </p:cNvPr>
          <p:cNvPicPr>
            <a:picLocks noGrp="1" noChangeAspect="1"/>
          </p:cNvPicPr>
          <p:nvPr>
            <p:ph type="pic" sz="quarter" idx="28"/>
          </p:nvPr>
        </p:nvPicPr>
        <p:blipFill>
          <a:blip r:embed="rId4" cstate="email">
            <a:extLst>
              <a:ext uri="{28A0092B-C50C-407E-A947-70E740481C1C}">
                <a14:useLocalDpi xmlns:a14="http://schemas.microsoft.com/office/drawing/2010/main"/>
              </a:ext>
            </a:extLst>
          </a:blip>
          <a:srcRect/>
          <a:stretch>
            <a:fillRect/>
          </a:stretch>
        </p:blipFill>
        <p:spPr>
          <a:xfrm>
            <a:off x="8445196" y="1849195"/>
            <a:ext cx="2677805" cy="2677805"/>
          </a:xfrm>
          <a:ln w="38100">
            <a:solidFill>
              <a:srgbClr val="0C5472"/>
            </a:solidFill>
          </a:ln>
        </p:spPr>
      </p:pic>
      <p:pic>
        <p:nvPicPr>
          <p:cNvPr id="17" name="Picture Placeholder 16" descr="A picture containing vector graphics&#10;&#10;Description automatically generated">
            <a:extLst>
              <a:ext uri="{FF2B5EF4-FFF2-40B4-BE49-F238E27FC236}">
                <a16:creationId xmlns:a16="http://schemas.microsoft.com/office/drawing/2014/main" id="{33C06A63-4EE6-714E-AB5E-70DD0817854B}"/>
              </a:ext>
            </a:extLst>
          </p:cNvPr>
          <p:cNvPicPr>
            <a:picLocks noGrp="1" noChangeAspect="1"/>
          </p:cNvPicPr>
          <p:nvPr>
            <p:ph type="pic" sz="quarter" idx="27"/>
          </p:nvPr>
        </p:nvPicPr>
        <p:blipFill>
          <a:blip r:embed="rId5" cstate="email">
            <a:extLst>
              <a:ext uri="{28A0092B-C50C-407E-A947-70E740481C1C}">
                <a14:useLocalDpi xmlns:a14="http://schemas.microsoft.com/office/drawing/2010/main"/>
              </a:ext>
            </a:extLst>
          </a:blip>
          <a:srcRect/>
          <a:stretch>
            <a:fillRect/>
          </a:stretch>
        </p:blipFill>
        <p:spPr>
          <a:xfrm>
            <a:off x="4757097" y="1849196"/>
            <a:ext cx="2677805" cy="2677805"/>
          </a:xfrm>
          <a:ln w="38100">
            <a:solidFill>
              <a:srgbClr val="0C5472"/>
            </a:solidFill>
          </a:ln>
        </p:spPr>
      </p:pic>
      <p:sp>
        <p:nvSpPr>
          <p:cNvPr id="19" name="Text Placeholder 7">
            <a:extLst>
              <a:ext uri="{FF2B5EF4-FFF2-40B4-BE49-F238E27FC236}">
                <a16:creationId xmlns:a16="http://schemas.microsoft.com/office/drawing/2014/main" id="{17EEBBEB-F393-7E4E-98F6-881D3DA536BC}"/>
              </a:ext>
            </a:extLst>
          </p:cNvPr>
          <p:cNvSpPr>
            <a:spLocks noGrp="1"/>
          </p:cNvSpPr>
          <p:nvPr>
            <p:ph type="body" sz="quarter" idx="35"/>
          </p:nvPr>
        </p:nvSpPr>
        <p:spPr>
          <a:xfrm>
            <a:off x="708473" y="4821718"/>
            <a:ext cx="3398852" cy="1463671"/>
          </a:xfrm>
        </p:spPr>
        <p:txBody>
          <a:bodyPr/>
          <a:lstStyle/>
          <a:p>
            <a:r>
              <a:rPr lang="en-NO">
                <a:solidFill>
                  <a:srgbClr val="0C5472"/>
                </a:solidFill>
              </a:rPr>
              <a:t>Brukerkontakt</a:t>
            </a:r>
            <a:r>
              <a:rPr lang="nb-NO">
                <a:solidFill>
                  <a:srgbClr val="0C5472"/>
                </a:solidFill>
              </a:rPr>
              <a:t> </a:t>
            </a:r>
            <a:r>
              <a:rPr lang="en-NO">
                <a:solidFill>
                  <a:srgbClr val="0C5472"/>
                </a:solidFill>
              </a:rPr>
              <a:t>digitaliseres</a:t>
            </a:r>
          </a:p>
          <a:p>
            <a:r>
              <a:rPr lang="nb-NO" sz="1800">
                <a:solidFill>
                  <a:schemeClr val="tx1">
                    <a:lumMod val="50000"/>
                    <a:lumOff val="50000"/>
                  </a:schemeClr>
                </a:solidFill>
              </a:rPr>
              <a:t>Flere oppgaver løses digitalt.</a:t>
            </a:r>
          </a:p>
          <a:p>
            <a:r>
              <a:rPr lang="en-NO" sz="1800">
                <a:solidFill>
                  <a:schemeClr val="tx1">
                    <a:lumMod val="50000"/>
                    <a:lumOff val="50000"/>
                  </a:schemeClr>
                </a:solidFill>
              </a:rPr>
              <a:t>Mer hybrid kontakt</a:t>
            </a:r>
            <a:r>
              <a:rPr lang="nb-NO" sz="1800">
                <a:solidFill>
                  <a:schemeClr val="tx1">
                    <a:lumMod val="50000"/>
                    <a:lumOff val="50000"/>
                  </a:schemeClr>
                </a:solidFill>
              </a:rPr>
              <a:t>?</a:t>
            </a:r>
            <a:endParaRPr lang="en-NO"/>
          </a:p>
        </p:txBody>
      </p:sp>
      <p:sp>
        <p:nvSpPr>
          <p:cNvPr id="20" name="Text Placeholder 6">
            <a:extLst>
              <a:ext uri="{FF2B5EF4-FFF2-40B4-BE49-F238E27FC236}">
                <a16:creationId xmlns:a16="http://schemas.microsoft.com/office/drawing/2014/main" id="{6CBDF1D0-0B89-524A-8563-98E90F7182E9}"/>
              </a:ext>
            </a:extLst>
          </p:cNvPr>
          <p:cNvSpPr>
            <a:spLocks noGrp="1"/>
          </p:cNvSpPr>
          <p:nvPr>
            <p:ph type="body" sz="quarter" idx="34"/>
          </p:nvPr>
        </p:nvSpPr>
        <p:spPr>
          <a:xfrm>
            <a:off x="4396574" y="4821718"/>
            <a:ext cx="3398852" cy="1463671"/>
          </a:xfrm>
        </p:spPr>
        <p:txBody>
          <a:bodyPr/>
          <a:lstStyle/>
          <a:p>
            <a:r>
              <a:rPr lang="en-NO">
                <a:solidFill>
                  <a:srgbClr val="0C5472"/>
                </a:solidFill>
              </a:rPr>
              <a:t>Forvaltningen digitaliseres</a:t>
            </a:r>
          </a:p>
          <a:p>
            <a:r>
              <a:rPr lang="nb-NO" sz="1800">
                <a:solidFill>
                  <a:schemeClr val="tx1">
                    <a:lumMod val="50000"/>
                    <a:lumOff val="50000"/>
                  </a:schemeClr>
                </a:solidFill>
              </a:rPr>
              <a:t>Proaktive og s</a:t>
            </a:r>
            <a:r>
              <a:rPr lang="en-NO" sz="1800">
                <a:solidFill>
                  <a:schemeClr val="tx1">
                    <a:lumMod val="50000"/>
                    <a:lumOff val="50000"/>
                  </a:schemeClr>
                </a:solidFill>
              </a:rPr>
              <a:t>amme</a:t>
            </a:r>
            <a:r>
              <a:rPr lang="nb-NO" sz="1800">
                <a:solidFill>
                  <a:schemeClr val="tx1">
                    <a:lumMod val="50000"/>
                    <a:lumOff val="50000"/>
                  </a:schemeClr>
                </a:solidFill>
              </a:rPr>
              <a:t>n</a:t>
            </a:r>
            <a:r>
              <a:rPr lang="en-NO" sz="1800">
                <a:solidFill>
                  <a:schemeClr val="tx1">
                    <a:lumMod val="50000"/>
                    <a:lumOff val="50000"/>
                  </a:schemeClr>
                </a:solidFill>
              </a:rPr>
              <a:t>hengende tjenester</a:t>
            </a:r>
            <a:r>
              <a:rPr lang="nb-NO" sz="1800">
                <a:solidFill>
                  <a:schemeClr val="tx1">
                    <a:lumMod val="50000"/>
                    <a:lumOff val="50000"/>
                  </a:schemeClr>
                </a:solidFill>
              </a:rPr>
              <a:t>. Beslutningsstøtte </a:t>
            </a:r>
            <a:endParaRPr lang="en-NO" sz="1800">
              <a:solidFill>
                <a:schemeClr val="tx1">
                  <a:lumMod val="50000"/>
                  <a:lumOff val="50000"/>
                </a:schemeClr>
              </a:solidFill>
            </a:endParaRPr>
          </a:p>
        </p:txBody>
      </p:sp>
      <p:sp>
        <p:nvSpPr>
          <p:cNvPr id="21" name="Text Placeholder 5">
            <a:extLst>
              <a:ext uri="{FF2B5EF4-FFF2-40B4-BE49-F238E27FC236}">
                <a16:creationId xmlns:a16="http://schemas.microsoft.com/office/drawing/2014/main" id="{2AF1438F-135E-2648-8DA4-FDCEEFF12C99}"/>
              </a:ext>
            </a:extLst>
          </p:cNvPr>
          <p:cNvSpPr>
            <a:spLocks noGrp="1"/>
          </p:cNvSpPr>
          <p:nvPr>
            <p:ph type="body" sz="quarter" idx="33"/>
          </p:nvPr>
        </p:nvSpPr>
        <p:spPr>
          <a:xfrm>
            <a:off x="8084673" y="4821718"/>
            <a:ext cx="3398852" cy="1697416"/>
          </a:xfrm>
        </p:spPr>
        <p:txBody>
          <a:bodyPr/>
          <a:lstStyle/>
          <a:p>
            <a:r>
              <a:rPr lang="en-NO">
                <a:solidFill>
                  <a:srgbClr val="0C5472"/>
                </a:solidFill>
              </a:rPr>
              <a:t>Etisk og bærekraftig digitalisering</a:t>
            </a:r>
          </a:p>
          <a:p>
            <a:r>
              <a:rPr lang="en-NO" sz="1800">
                <a:solidFill>
                  <a:schemeClr val="tx1">
                    <a:lumMod val="50000"/>
                    <a:lumOff val="50000"/>
                  </a:schemeClr>
                </a:solidFill>
              </a:rPr>
              <a:t>Bredere debatt om personvern, algoritmer, bruk av data</a:t>
            </a:r>
            <a:r>
              <a:rPr lang="nb-NO" sz="1800">
                <a:solidFill>
                  <a:schemeClr val="tx1">
                    <a:lumMod val="50000"/>
                    <a:lumOff val="50000"/>
                  </a:schemeClr>
                </a:solidFill>
              </a:rPr>
              <a:t>. Økt risiko for nettkriminalitet</a:t>
            </a:r>
            <a:endParaRPr lang="en-NO" sz="1800">
              <a:solidFill>
                <a:schemeClr val="tx1">
                  <a:lumMod val="50000"/>
                  <a:lumOff val="50000"/>
                </a:schemeClr>
              </a:solidFill>
            </a:endParaRPr>
          </a:p>
        </p:txBody>
      </p:sp>
      <p:sp>
        <p:nvSpPr>
          <p:cNvPr id="22" name="Title 1">
            <a:extLst>
              <a:ext uri="{FF2B5EF4-FFF2-40B4-BE49-F238E27FC236}">
                <a16:creationId xmlns:a16="http://schemas.microsoft.com/office/drawing/2014/main" id="{3321F3B7-47C4-9F48-B877-DDD7C0899526}"/>
              </a:ext>
            </a:extLst>
          </p:cNvPr>
          <p:cNvSpPr>
            <a:spLocks noGrp="1"/>
          </p:cNvSpPr>
          <p:nvPr>
            <p:ph type="title"/>
          </p:nvPr>
        </p:nvSpPr>
        <p:spPr>
          <a:xfrm>
            <a:off x="838200" y="482400"/>
            <a:ext cx="10515600" cy="1072080"/>
          </a:xfrm>
        </p:spPr>
        <p:txBody>
          <a:bodyPr/>
          <a:lstStyle/>
          <a:p>
            <a:pPr algn="ctr"/>
            <a:r>
              <a:rPr lang="nb-NO">
                <a:solidFill>
                  <a:schemeClr val="tx1"/>
                </a:solidFill>
              </a:rPr>
              <a:t>Konsekvenser for NAV</a:t>
            </a:r>
            <a:endParaRPr lang="en-NO" sz="2000" i="1">
              <a:solidFill>
                <a:schemeClr val="tx1"/>
              </a:solidFill>
            </a:endParaRPr>
          </a:p>
        </p:txBody>
      </p:sp>
      <p:sp>
        <p:nvSpPr>
          <p:cNvPr id="2" name="TextBox 1">
            <a:extLst>
              <a:ext uri="{FF2B5EF4-FFF2-40B4-BE49-F238E27FC236}">
                <a16:creationId xmlns:a16="http://schemas.microsoft.com/office/drawing/2014/main" id="{448C5743-B948-C342-9223-2E9E9A8B23FC}"/>
              </a:ext>
            </a:extLst>
          </p:cNvPr>
          <p:cNvSpPr txBox="1"/>
          <p:nvPr/>
        </p:nvSpPr>
        <p:spPr>
          <a:xfrm rot="16200000">
            <a:off x="11288418" y="5862053"/>
            <a:ext cx="154882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O"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to: Pexels, Colorbox</a:t>
            </a:r>
          </a:p>
        </p:txBody>
      </p:sp>
    </p:spTree>
    <p:extLst>
      <p:ext uri="{BB962C8B-B14F-4D97-AF65-F5344CB8AC3E}">
        <p14:creationId xmlns:p14="http://schemas.microsoft.com/office/powerpoint/2010/main" val="11771853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35046B-ED6B-6CD7-4137-0E3D1F4F0F6F}"/>
              </a:ext>
            </a:extLst>
          </p:cNvPr>
          <p:cNvSpPr>
            <a:spLocks noGrp="1"/>
          </p:cNvSpPr>
          <p:nvPr>
            <p:ph type="title"/>
          </p:nvPr>
        </p:nvSpPr>
        <p:spPr/>
        <p:txBody>
          <a:bodyPr>
            <a:normAutofit/>
          </a:bodyPr>
          <a:lstStyle/>
          <a:p>
            <a:pPr algn="ctr"/>
            <a:r>
              <a:rPr lang="nb-NO" sz="4400" noProof="0">
                <a:solidFill>
                  <a:schemeClr val="tx1"/>
                </a:solidFill>
              </a:rPr>
              <a:t>Risikoer for utviklingstakten</a:t>
            </a:r>
            <a:endParaRPr lang="nb-NO" sz="4400">
              <a:solidFill>
                <a:schemeClr val="tx1"/>
              </a:solidFill>
            </a:endParaRPr>
          </a:p>
        </p:txBody>
      </p:sp>
      <p:sp>
        <p:nvSpPr>
          <p:cNvPr id="3" name="TekstSylinder 2">
            <a:extLst>
              <a:ext uri="{FF2B5EF4-FFF2-40B4-BE49-F238E27FC236}">
                <a16:creationId xmlns:a16="http://schemas.microsoft.com/office/drawing/2014/main" id="{D77E0DB2-8F9B-0963-F4DA-5689FFC98EE4}"/>
              </a:ext>
            </a:extLst>
          </p:cNvPr>
          <p:cNvSpPr txBox="1"/>
          <p:nvPr/>
        </p:nvSpPr>
        <p:spPr>
          <a:xfrm>
            <a:off x="1137022" y="4133518"/>
            <a:ext cx="2464047" cy="830997"/>
          </a:xfrm>
          <a:prstGeom prst="rect">
            <a:avLst/>
          </a:prstGeom>
          <a:noFill/>
        </p:spPr>
        <p:txBody>
          <a:bodyPr wrap="square" rtlCol="0">
            <a:spAutoFit/>
          </a:bodyPr>
          <a:lstStyle/>
          <a:p>
            <a:pPr algn="ctr"/>
            <a:r>
              <a:rPr lang="nb-NO" sz="2400">
                <a:latin typeface="Arial" panose="020B0604020202020204" pitchFamily="34" charset="0"/>
                <a:cs typeface="Arial" panose="020B0604020202020204" pitchFamily="34" charset="0"/>
              </a:rPr>
              <a:t>Mangel på kompetanse</a:t>
            </a:r>
          </a:p>
        </p:txBody>
      </p:sp>
      <p:sp>
        <p:nvSpPr>
          <p:cNvPr id="4" name="TekstSylinder 3">
            <a:extLst>
              <a:ext uri="{FF2B5EF4-FFF2-40B4-BE49-F238E27FC236}">
                <a16:creationId xmlns:a16="http://schemas.microsoft.com/office/drawing/2014/main" id="{8D0BBD2E-251A-33DC-AA04-895EA1D862B8}"/>
              </a:ext>
            </a:extLst>
          </p:cNvPr>
          <p:cNvSpPr txBox="1"/>
          <p:nvPr/>
        </p:nvSpPr>
        <p:spPr>
          <a:xfrm>
            <a:off x="4710023" y="4115681"/>
            <a:ext cx="2751826" cy="830997"/>
          </a:xfrm>
          <a:prstGeom prst="rect">
            <a:avLst/>
          </a:prstGeom>
          <a:noFill/>
        </p:spPr>
        <p:txBody>
          <a:bodyPr wrap="square" rtlCol="0">
            <a:spAutoFit/>
          </a:bodyPr>
          <a:lstStyle/>
          <a:p>
            <a:pPr algn="ctr"/>
            <a:r>
              <a:rPr lang="nb-NO" sz="2400">
                <a:latin typeface="Arial" panose="020B0604020202020204" pitchFamily="34" charset="0"/>
                <a:cs typeface="Arial" panose="020B0604020202020204" pitchFamily="34" charset="0"/>
              </a:rPr>
              <a:t>Usikker teknologiutvikling</a:t>
            </a:r>
          </a:p>
        </p:txBody>
      </p:sp>
      <p:sp>
        <p:nvSpPr>
          <p:cNvPr id="5" name="TekstSylinder 4">
            <a:extLst>
              <a:ext uri="{FF2B5EF4-FFF2-40B4-BE49-F238E27FC236}">
                <a16:creationId xmlns:a16="http://schemas.microsoft.com/office/drawing/2014/main" id="{1545C292-0488-F521-8705-F73193C54E93}"/>
              </a:ext>
            </a:extLst>
          </p:cNvPr>
          <p:cNvSpPr txBox="1"/>
          <p:nvPr/>
        </p:nvSpPr>
        <p:spPr>
          <a:xfrm>
            <a:off x="8426426" y="4115680"/>
            <a:ext cx="2420718" cy="830997"/>
          </a:xfrm>
          <a:prstGeom prst="rect">
            <a:avLst/>
          </a:prstGeom>
          <a:noFill/>
        </p:spPr>
        <p:txBody>
          <a:bodyPr wrap="square" rtlCol="0">
            <a:spAutoFit/>
          </a:bodyPr>
          <a:lstStyle/>
          <a:p>
            <a:pPr algn="ctr"/>
            <a:r>
              <a:rPr lang="nb-NO" sz="2400">
                <a:latin typeface="Arial" panose="020B0604020202020204" pitchFamily="34" charset="0"/>
                <a:cs typeface="Arial" panose="020B0604020202020204" pitchFamily="34" charset="0"/>
              </a:rPr>
              <a:t>Ramme-betingelser</a:t>
            </a:r>
          </a:p>
        </p:txBody>
      </p:sp>
      <p:pic>
        <p:nvPicPr>
          <p:cNvPr id="6" name="Grafikk 5" descr="Hode med tannhjul med heldekkende fyll">
            <a:extLst>
              <a:ext uri="{FF2B5EF4-FFF2-40B4-BE49-F238E27FC236}">
                <a16:creationId xmlns:a16="http://schemas.microsoft.com/office/drawing/2014/main" id="{591DD79B-C580-87F1-D60E-52C553A0CF8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53741" y="2470308"/>
            <a:ext cx="1645372" cy="1645372"/>
          </a:xfrm>
          <a:prstGeom prst="rect">
            <a:avLst/>
          </a:prstGeom>
        </p:spPr>
      </p:pic>
      <p:pic>
        <p:nvPicPr>
          <p:cNvPr id="9" name="Grafikk 8" descr="Programmer hunn med heldekkende fyll">
            <a:extLst>
              <a:ext uri="{FF2B5EF4-FFF2-40B4-BE49-F238E27FC236}">
                <a16:creationId xmlns:a16="http://schemas.microsoft.com/office/drawing/2014/main" id="{33D3F1B4-CA58-A95C-8062-90002423F6E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280109" y="2374292"/>
            <a:ext cx="1645372" cy="1645372"/>
          </a:xfrm>
          <a:prstGeom prst="rect">
            <a:avLst/>
          </a:prstGeom>
        </p:spPr>
      </p:pic>
      <p:pic>
        <p:nvPicPr>
          <p:cNvPr id="10" name="Grafikk 9" descr="Sirkler med piler med heldekkende fyll">
            <a:extLst>
              <a:ext uri="{FF2B5EF4-FFF2-40B4-BE49-F238E27FC236}">
                <a16:creationId xmlns:a16="http://schemas.microsoft.com/office/drawing/2014/main" id="{B11F5844-0B20-041D-3041-FA9D24D4EB5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639816" y="2317815"/>
            <a:ext cx="1912866" cy="1912866"/>
          </a:xfrm>
          <a:prstGeom prst="rect">
            <a:avLst/>
          </a:prstGeom>
        </p:spPr>
      </p:pic>
    </p:spTree>
    <p:extLst>
      <p:ext uri="{BB962C8B-B14F-4D97-AF65-F5344CB8AC3E}">
        <p14:creationId xmlns:p14="http://schemas.microsoft.com/office/powerpoint/2010/main" val="10557300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35046B-ED6B-6CD7-4137-0E3D1F4F0F6F}"/>
              </a:ext>
            </a:extLst>
          </p:cNvPr>
          <p:cNvSpPr>
            <a:spLocks noGrp="1"/>
          </p:cNvSpPr>
          <p:nvPr>
            <p:ph type="title"/>
          </p:nvPr>
        </p:nvSpPr>
        <p:spPr/>
        <p:txBody>
          <a:bodyPr>
            <a:normAutofit/>
          </a:bodyPr>
          <a:lstStyle/>
          <a:p>
            <a:pPr algn="ctr"/>
            <a:r>
              <a:rPr lang="nb-NO" sz="4000" noProof="0">
                <a:solidFill>
                  <a:schemeClr val="tx1"/>
                </a:solidFill>
              </a:rPr>
              <a:t>Hvorfor trenger NAV en omverdensanalyse?</a:t>
            </a:r>
            <a:endParaRPr lang="nb-NO" sz="4000">
              <a:solidFill>
                <a:schemeClr val="tx1"/>
              </a:solidFill>
            </a:endParaRPr>
          </a:p>
        </p:txBody>
      </p:sp>
      <p:sp>
        <p:nvSpPr>
          <p:cNvPr id="3" name="TekstSylinder 2">
            <a:extLst>
              <a:ext uri="{FF2B5EF4-FFF2-40B4-BE49-F238E27FC236}">
                <a16:creationId xmlns:a16="http://schemas.microsoft.com/office/drawing/2014/main" id="{D77E0DB2-8F9B-0963-F4DA-5689FFC98EE4}"/>
              </a:ext>
            </a:extLst>
          </p:cNvPr>
          <p:cNvSpPr txBox="1"/>
          <p:nvPr/>
        </p:nvSpPr>
        <p:spPr>
          <a:xfrm>
            <a:off x="2096580" y="2184001"/>
            <a:ext cx="3454364" cy="1107996"/>
          </a:xfrm>
          <a:prstGeom prst="rect">
            <a:avLst/>
          </a:prstGeom>
          <a:noFill/>
        </p:spPr>
        <p:txBody>
          <a:bodyPr wrap="square" rtlCol="0">
            <a:spAutoFit/>
          </a:bodyPr>
          <a:lstStyle/>
          <a:p>
            <a:r>
              <a:rPr lang="nb-NO" sz="2200">
                <a:latin typeface="Arial" panose="020B0604020202020204" pitchFamily="34" charset="0"/>
                <a:cs typeface="Arial" panose="020B0604020202020204" pitchFamily="34" charset="0"/>
              </a:rPr>
              <a:t>Bidra til mer treffsikre strategier og prioriteringer for NAV</a:t>
            </a:r>
          </a:p>
        </p:txBody>
      </p:sp>
      <p:sp>
        <p:nvSpPr>
          <p:cNvPr id="7" name="Ellipse 6">
            <a:extLst>
              <a:ext uri="{FF2B5EF4-FFF2-40B4-BE49-F238E27FC236}">
                <a16:creationId xmlns:a16="http://schemas.microsoft.com/office/drawing/2014/main" id="{2E58EDB8-6A30-DFF4-733B-13DE6425401B}"/>
              </a:ext>
            </a:extLst>
          </p:cNvPr>
          <p:cNvSpPr/>
          <p:nvPr/>
        </p:nvSpPr>
        <p:spPr>
          <a:xfrm>
            <a:off x="665944" y="2038475"/>
            <a:ext cx="1333500" cy="1407687"/>
          </a:xfrm>
          <a:prstGeom prst="ellipse">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600" b="1">
                <a:latin typeface="Arial" panose="020B0604020202020204" pitchFamily="34" charset="0"/>
                <a:cs typeface="Arial" panose="020B0604020202020204" pitchFamily="34" charset="0"/>
              </a:rPr>
              <a:t>1</a:t>
            </a:r>
          </a:p>
        </p:txBody>
      </p:sp>
      <p:sp>
        <p:nvSpPr>
          <p:cNvPr id="11" name="Ellipse 10">
            <a:extLst>
              <a:ext uri="{FF2B5EF4-FFF2-40B4-BE49-F238E27FC236}">
                <a16:creationId xmlns:a16="http://schemas.microsoft.com/office/drawing/2014/main" id="{B4E42DF5-4FFC-B222-FF0C-A27A915B68C9}"/>
              </a:ext>
            </a:extLst>
          </p:cNvPr>
          <p:cNvSpPr/>
          <p:nvPr/>
        </p:nvSpPr>
        <p:spPr>
          <a:xfrm>
            <a:off x="6128349" y="2038475"/>
            <a:ext cx="1333500" cy="1407687"/>
          </a:xfrm>
          <a:prstGeom prst="ellipse">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600" b="1">
                <a:latin typeface="Arial" panose="020B0604020202020204" pitchFamily="34" charset="0"/>
                <a:cs typeface="Arial" panose="020B0604020202020204" pitchFamily="34" charset="0"/>
              </a:rPr>
              <a:t>2</a:t>
            </a:r>
          </a:p>
        </p:txBody>
      </p:sp>
      <p:sp>
        <p:nvSpPr>
          <p:cNvPr id="12" name="TekstSylinder 11">
            <a:extLst>
              <a:ext uri="{FF2B5EF4-FFF2-40B4-BE49-F238E27FC236}">
                <a16:creationId xmlns:a16="http://schemas.microsoft.com/office/drawing/2014/main" id="{ECEC2220-283E-7D4B-E8FD-EE6331F7B150}"/>
              </a:ext>
            </a:extLst>
          </p:cNvPr>
          <p:cNvSpPr txBox="1"/>
          <p:nvPr/>
        </p:nvSpPr>
        <p:spPr>
          <a:xfrm>
            <a:off x="7562292" y="2055478"/>
            <a:ext cx="3730253" cy="1446550"/>
          </a:xfrm>
          <a:prstGeom prst="rect">
            <a:avLst/>
          </a:prstGeom>
          <a:noFill/>
        </p:spPr>
        <p:txBody>
          <a:bodyPr wrap="square" rtlCol="0">
            <a:spAutoFit/>
          </a:bodyPr>
          <a:lstStyle/>
          <a:p>
            <a:r>
              <a:rPr lang="nb-NO" sz="2200" noProof="0">
                <a:latin typeface="Arial" panose="020B0604020202020204" pitchFamily="34" charset="0"/>
                <a:cs typeface="Arial" panose="020B0604020202020204" pitchFamily="34" charset="0"/>
              </a:rPr>
              <a:t>Refleksjon og diskusjon om hvordan samfunnstrendene treffer både NAV i stort og ditt arbeidsfelt</a:t>
            </a:r>
          </a:p>
        </p:txBody>
      </p:sp>
      <p:sp>
        <p:nvSpPr>
          <p:cNvPr id="17" name="Rektangel 16">
            <a:extLst>
              <a:ext uri="{FF2B5EF4-FFF2-40B4-BE49-F238E27FC236}">
                <a16:creationId xmlns:a16="http://schemas.microsoft.com/office/drawing/2014/main" id="{05FFABD0-AFEB-DD94-E31E-0955B6400464}"/>
              </a:ext>
            </a:extLst>
          </p:cNvPr>
          <p:cNvSpPr/>
          <p:nvPr/>
        </p:nvSpPr>
        <p:spPr>
          <a:xfrm>
            <a:off x="838200" y="4114800"/>
            <a:ext cx="10515600" cy="2121495"/>
          </a:xfrm>
          <a:prstGeom prst="rect">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6600" b="1">
              <a:latin typeface="Arial" panose="020B0604020202020204" pitchFamily="34" charset="0"/>
              <a:cs typeface="Arial" panose="020B0604020202020204" pitchFamily="34" charset="0"/>
            </a:endParaRPr>
          </a:p>
        </p:txBody>
      </p:sp>
      <p:sp>
        <p:nvSpPr>
          <p:cNvPr id="14" name="TekstSylinder 13">
            <a:extLst>
              <a:ext uri="{FF2B5EF4-FFF2-40B4-BE49-F238E27FC236}">
                <a16:creationId xmlns:a16="http://schemas.microsoft.com/office/drawing/2014/main" id="{788BD7DD-9DD6-6F87-A171-6581DD75A4E4}"/>
              </a:ext>
            </a:extLst>
          </p:cNvPr>
          <p:cNvSpPr txBox="1"/>
          <p:nvPr/>
        </p:nvSpPr>
        <p:spPr>
          <a:xfrm>
            <a:off x="2118096" y="4595593"/>
            <a:ext cx="3676648" cy="1200329"/>
          </a:xfrm>
          <a:prstGeom prst="rect">
            <a:avLst/>
          </a:prstGeom>
          <a:noFill/>
        </p:spPr>
        <p:txBody>
          <a:bodyPr wrap="square">
            <a:spAutoFit/>
          </a:bodyPr>
          <a:lstStyle/>
          <a:p>
            <a:pPr>
              <a:lnSpc>
                <a:spcPct val="100000"/>
              </a:lnSpc>
              <a:buClrTx/>
            </a:pPr>
            <a:r>
              <a:rPr lang="nb-NO">
                <a:solidFill>
                  <a:schemeClr val="bg1"/>
                </a:solidFill>
                <a:latin typeface="Arial" panose="020B0604020202020204" pitchFamily="34" charset="0"/>
                <a:cs typeface="Arial" panose="020B0604020202020204" pitchFamily="34" charset="0"/>
              </a:rPr>
              <a:t>Samfunnet endrer seg raskt. </a:t>
            </a:r>
            <a:br>
              <a:rPr lang="nb-NO">
                <a:solidFill>
                  <a:schemeClr val="bg1"/>
                </a:solidFill>
                <a:latin typeface="Arial" panose="020B0604020202020204" pitchFamily="34" charset="0"/>
                <a:cs typeface="Arial" panose="020B0604020202020204" pitchFamily="34" charset="0"/>
              </a:rPr>
            </a:br>
            <a:r>
              <a:rPr lang="nb-NO">
                <a:solidFill>
                  <a:schemeClr val="bg1"/>
                </a:solidFill>
                <a:latin typeface="Arial" panose="020B0604020202020204" pitchFamily="34" charset="0"/>
                <a:cs typeface="Arial" panose="020B0604020202020204" pitchFamily="34" charset="0"/>
              </a:rPr>
              <a:t>NAV må endre seg i takt med nye muligheter og utfordringer og ta høyde for det uventede.</a:t>
            </a:r>
          </a:p>
        </p:txBody>
      </p:sp>
      <p:sp>
        <p:nvSpPr>
          <p:cNvPr id="16" name="TekstSylinder 15">
            <a:extLst>
              <a:ext uri="{FF2B5EF4-FFF2-40B4-BE49-F238E27FC236}">
                <a16:creationId xmlns:a16="http://schemas.microsoft.com/office/drawing/2014/main" id="{7746E606-D3B4-D381-56D0-CEB9E949D394}"/>
              </a:ext>
            </a:extLst>
          </p:cNvPr>
          <p:cNvSpPr txBox="1"/>
          <p:nvPr/>
        </p:nvSpPr>
        <p:spPr>
          <a:xfrm>
            <a:off x="7272669" y="4595593"/>
            <a:ext cx="3752770" cy="1200329"/>
          </a:xfrm>
          <a:prstGeom prst="rect">
            <a:avLst/>
          </a:prstGeom>
          <a:noFill/>
        </p:spPr>
        <p:txBody>
          <a:bodyPr wrap="square">
            <a:spAutoFit/>
          </a:bodyPr>
          <a:lstStyle/>
          <a:p>
            <a:r>
              <a:rPr lang="nb-NO">
                <a:solidFill>
                  <a:schemeClr val="bg1"/>
                </a:solidFill>
                <a:latin typeface="Arial" panose="020B0604020202020204" pitchFamily="34" charset="0"/>
                <a:cs typeface="Arial" panose="020B0604020202020204" pitchFamily="34" charset="0"/>
              </a:rPr>
              <a:t>Ansatte i NAV er hovedmålgruppe, men vi ønsker også å nå beslutningstakere og samarbeids-partnere.</a:t>
            </a:r>
          </a:p>
        </p:txBody>
      </p:sp>
      <p:pic>
        <p:nvPicPr>
          <p:cNvPr id="18" name="Grafikk 17" descr="Mann og kvinne kontur">
            <a:extLst>
              <a:ext uri="{FF2B5EF4-FFF2-40B4-BE49-F238E27FC236}">
                <a16:creationId xmlns:a16="http://schemas.microsoft.com/office/drawing/2014/main" id="{B1C34761-A967-4D59-84BA-506D30A4706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58356" y="4704432"/>
            <a:ext cx="942229" cy="942229"/>
          </a:xfrm>
          <a:prstGeom prst="rect">
            <a:avLst/>
          </a:prstGeom>
        </p:spPr>
      </p:pic>
      <p:pic>
        <p:nvPicPr>
          <p:cNvPr id="19" name="Grafikk 18" descr="By kontur">
            <a:extLst>
              <a:ext uri="{FF2B5EF4-FFF2-40B4-BE49-F238E27FC236}">
                <a16:creationId xmlns:a16="http://schemas.microsoft.com/office/drawing/2014/main" id="{4DD2485F-3C89-1E1B-D2EB-39B728E89F3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42262" y="4704432"/>
            <a:ext cx="1071280" cy="1071280"/>
          </a:xfrm>
          <a:prstGeom prst="rect">
            <a:avLst/>
          </a:prstGeom>
        </p:spPr>
      </p:pic>
    </p:spTree>
    <p:extLst>
      <p:ext uri="{BB962C8B-B14F-4D97-AF65-F5344CB8AC3E}">
        <p14:creationId xmlns:p14="http://schemas.microsoft.com/office/powerpoint/2010/main" val="40150357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92500" lnSpcReduction="20000"/>
          </a:bodyPr>
          <a:lstStyle/>
          <a:p>
            <a:r>
              <a:rPr lang="nb-NO">
                <a:effectLst/>
              </a:rPr>
              <a:t>Hvordan kan datadrevne tjenester være nyttig på ditt arbeidsfelt?</a:t>
            </a:r>
          </a:p>
          <a:p>
            <a:endParaRPr lang="nb-NO">
              <a:effectLst/>
            </a:endParaRPr>
          </a:p>
          <a:p>
            <a:r>
              <a:rPr lang="nb-NO">
                <a:effectLst/>
              </a:rPr>
              <a:t>Hvordan kan vi unngå at algoritmer diskriminerer individer </a:t>
            </a:r>
            <a:br>
              <a:rPr lang="nb-NO">
                <a:effectLst/>
              </a:rPr>
            </a:br>
            <a:r>
              <a:rPr lang="nb-NO">
                <a:effectLst/>
              </a:rPr>
              <a:t>eller grupper?</a:t>
            </a:r>
          </a:p>
          <a:p>
            <a:endParaRPr lang="nb-NO">
              <a:effectLst/>
            </a:endParaRPr>
          </a:p>
          <a:p>
            <a:r>
              <a:rPr lang="nb-NO">
                <a:effectLst/>
              </a:rPr>
              <a:t>Hvordan vil teknologi endre brukermøtene i 2035?</a:t>
            </a:r>
          </a:p>
          <a:p>
            <a:pPr marL="0" indent="0">
              <a:buNone/>
            </a:pPr>
            <a:r>
              <a:rPr lang="nb-NO">
                <a:effectLst/>
              </a:rPr>
              <a:t> </a:t>
            </a:r>
          </a:p>
          <a:p>
            <a:r>
              <a:rPr lang="nb-NO">
                <a:effectLst/>
              </a:rPr>
              <a:t>Hvordan ønsker du at </a:t>
            </a:r>
            <a:br>
              <a:rPr lang="nb-NO">
                <a:effectLst/>
              </a:rPr>
            </a:br>
            <a:r>
              <a:rPr lang="nb-NO">
                <a:effectLst/>
              </a:rPr>
              <a:t>digitalisering skal endre NAV?</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nb-NO"/>
              <a:t>Refleksjonsspørsmål</a:t>
            </a:r>
          </a:p>
        </p:txBody>
      </p:sp>
    </p:spTree>
    <p:extLst>
      <p:ext uri="{BB962C8B-B14F-4D97-AF65-F5344CB8AC3E}">
        <p14:creationId xmlns:p14="http://schemas.microsoft.com/office/powerpoint/2010/main" val="31924898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e 3">
            <a:extLst>
              <a:ext uri="{FF2B5EF4-FFF2-40B4-BE49-F238E27FC236}">
                <a16:creationId xmlns:a16="http://schemas.microsoft.com/office/drawing/2014/main" id="{F6EA591E-AB3B-43C9-9BEE-460DF197C90B}"/>
              </a:ext>
            </a:extLst>
          </p:cNvPr>
          <p:cNvGrpSpPr/>
          <p:nvPr/>
        </p:nvGrpSpPr>
        <p:grpSpPr>
          <a:xfrm>
            <a:off x="0" y="276446"/>
            <a:ext cx="12192000" cy="6581553"/>
            <a:chOff x="-55811" y="-180754"/>
            <a:chExt cx="12303622" cy="6858000"/>
          </a:xfrm>
        </p:grpSpPr>
        <p:pic>
          <p:nvPicPr>
            <p:cNvPr id="11" name="Bilde 8" descr="Et bilde som inneholder utendørs, bakke, bygning, person&#10;&#10;Beskrivelse som er generert med svært høy visshet">
              <a:extLst>
                <a:ext uri="{FF2B5EF4-FFF2-40B4-BE49-F238E27FC236}">
                  <a16:creationId xmlns:a16="http://schemas.microsoft.com/office/drawing/2014/main" id="{45736735-0505-AB40-972F-8772ADAFA7C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5811" y="-180754"/>
              <a:ext cx="12303622" cy="6858000"/>
            </a:xfrm>
            <a:prstGeom prst="rect">
              <a:avLst/>
            </a:prstGeom>
          </p:spPr>
        </p:pic>
        <p:sp>
          <p:nvSpPr>
            <p:cNvPr id="14" name="TekstSylinder 9">
              <a:extLst>
                <a:ext uri="{FF2B5EF4-FFF2-40B4-BE49-F238E27FC236}">
                  <a16:creationId xmlns:a16="http://schemas.microsoft.com/office/drawing/2014/main" id="{E6AA477C-AC33-CF4E-AA05-FEABA8E1CA05}"/>
                </a:ext>
              </a:extLst>
            </p:cNvPr>
            <p:cNvSpPr txBox="1"/>
            <p:nvPr/>
          </p:nvSpPr>
          <p:spPr>
            <a:xfrm rot="5400000">
              <a:off x="10970457" y="3468966"/>
              <a:ext cx="2173781" cy="269304"/>
            </a:xfrm>
            <a:prstGeom prst="rect">
              <a:avLst/>
            </a:prstGeom>
            <a:noFill/>
          </p:spPr>
          <p:txBody>
            <a:bodyPr wrap="square" rtlCol="0">
              <a:spAutoFit/>
            </a:bodyPr>
            <a:lstStyle/>
            <a:p>
              <a:r>
                <a:rPr lang="nb-NO" sz="1100">
                  <a:solidFill>
                    <a:srgbClr val="3E3832"/>
                  </a:solidFill>
                  <a:latin typeface="Arial" panose="020B0604020202020204" pitchFamily="34" charset="0"/>
                  <a:cs typeface="Arial" panose="020B0604020202020204" pitchFamily="34" charset="0"/>
                </a:rPr>
                <a:t>Foto: Igor Cancarevic/Unsplash</a:t>
              </a:r>
            </a:p>
          </p:txBody>
        </p:sp>
      </p:grpSp>
      <p:pic>
        <p:nvPicPr>
          <p:cNvPr id="3" name="Bilde 2">
            <a:extLst>
              <a:ext uri="{FF2B5EF4-FFF2-40B4-BE49-F238E27FC236}">
                <a16:creationId xmlns:a16="http://schemas.microsoft.com/office/drawing/2014/main" id="{35518BC6-AB53-4B06-9C47-941F2E61C7C8}"/>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 y="0"/>
            <a:ext cx="12216653" cy="6858000"/>
          </a:xfrm>
          <a:prstGeom prst="rect">
            <a:avLst/>
          </a:prstGeom>
        </p:spPr>
      </p:pic>
      <p:sp>
        <p:nvSpPr>
          <p:cNvPr id="8" name="TekstSylinder 9">
            <a:extLst>
              <a:ext uri="{FF2B5EF4-FFF2-40B4-BE49-F238E27FC236}">
                <a16:creationId xmlns:a16="http://schemas.microsoft.com/office/drawing/2014/main" id="{4EA277C6-630B-4A0E-9122-71CED05DFEAF}"/>
              </a:ext>
            </a:extLst>
          </p:cNvPr>
          <p:cNvSpPr txBox="1"/>
          <p:nvPr/>
        </p:nvSpPr>
        <p:spPr>
          <a:xfrm>
            <a:off x="10815233" y="6454044"/>
            <a:ext cx="1376768" cy="269304"/>
          </a:xfrm>
          <a:prstGeom prst="rect">
            <a:avLst/>
          </a:prstGeom>
          <a:noFill/>
        </p:spPr>
        <p:txBody>
          <a:bodyPr wrap="square" rtlCol="0">
            <a:spAutoFit/>
          </a:bodyPr>
          <a:lstStyle/>
          <a:p>
            <a:r>
              <a:rPr lang="nb-NO" sz="1100">
                <a:solidFill>
                  <a:schemeClr val="bg1"/>
                </a:solidFill>
                <a:latin typeface="Arial" panose="020B0604020202020204" pitchFamily="34" charset="0"/>
                <a:cs typeface="Arial" panose="020B0604020202020204" pitchFamily="34" charset="0"/>
              </a:rPr>
              <a:t>Foto: </a:t>
            </a:r>
            <a:r>
              <a:rPr lang="nb-NO" sz="1100" err="1">
                <a:solidFill>
                  <a:schemeClr val="bg1"/>
                </a:solidFill>
                <a:latin typeface="Arial" panose="020B0604020202020204" pitchFamily="34" charset="0"/>
                <a:cs typeface="Arial" panose="020B0604020202020204" pitchFamily="34" charset="0"/>
              </a:rPr>
              <a:t>Colourbox</a:t>
            </a:r>
            <a:endParaRPr lang="nb-NO" sz="1100">
              <a:solidFill>
                <a:schemeClr val="bg1"/>
              </a:solidFill>
              <a:latin typeface="Arial" panose="020B0604020202020204" pitchFamily="34" charset="0"/>
              <a:cs typeface="Arial" panose="020B0604020202020204" pitchFamily="34" charset="0"/>
            </a:endParaRPr>
          </a:p>
        </p:txBody>
      </p:sp>
      <p:sp>
        <p:nvSpPr>
          <p:cNvPr id="5" name="Ellipse 4">
            <a:extLst>
              <a:ext uri="{FF2B5EF4-FFF2-40B4-BE49-F238E27FC236}">
                <a16:creationId xmlns:a16="http://schemas.microsoft.com/office/drawing/2014/main" id="{235C3883-95D8-D532-B068-ACB66979BB12}"/>
              </a:ext>
            </a:extLst>
          </p:cNvPr>
          <p:cNvSpPr/>
          <p:nvPr/>
        </p:nvSpPr>
        <p:spPr>
          <a:xfrm>
            <a:off x="7281730" y="827314"/>
            <a:ext cx="3533502" cy="3472543"/>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kstSylinder 7">
            <a:extLst>
              <a:ext uri="{FF2B5EF4-FFF2-40B4-BE49-F238E27FC236}">
                <a16:creationId xmlns:a16="http://schemas.microsoft.com/office/drawing/2014/main" id="{78CACF4D-9D62-8D47-9FA7-C3ADDDE07316}"/>
              </a:ext>
            </a:extLst>
          </p:cNvPr>
          <p:cNvSpPr txBox="1"/>
          <p:nvPr/>
        </p:nvSpPr>
        <p:spPr>
          <a:xfrm>
            <a:off x="7168994" y="1999527"/>
            <a:ext cx="3824290" cy="1015663"/>
          </a:xfrm>
          <a:prstGeom prst="rect">
            <a:avLst/>
          </a:prstGeom>
          <a:noFill/>
          <a:effectLst>
            <a:glow rad="190500">
              <a:schemeClr val="accent1">
                <a:satMod val="175000"/>
                <a:alpha val="40000"/>
              </a:schemeClr>
            </a:glow>
            <a:softEdge rad="177800"/>
          </a:effectLst>
        </p:spPr>
        <p:txBody>
          <a:bodyPr wrap="square" rtlCol="0">
            <a:spAutoFit/>
          </a:bodyPr>
          <a:lstStyle/>
          <a:p>
            <a:pPr algn="ctr"/>
            <a:r>
              <a:rPr lang="nb-NO" sz="6000" b="1">
                <a:solidFill>
                  <a:schemeClr val="bg1"/>
                </a:solidFill>
                <a:latin typeface="Arial" panose="020B0604020202020204" pitchFamily="34" charset="0"/>
                <a:cs typeface="Arial" panose="020B0604020202020204" pitchFamily="34" charset="0"/>
              </a:rPr>
              <a:t>Levekår</a:t>
            </a:r>
          </a:p>
        </p:txBody>
      </p:sp>
    </p:spTree>
    <p:extLst>
      <p:ext uri="{BB962C8B-B14F-4D97-AF65-F5344CB8AC3E}">
        <p14:creationId xmlns:p14="http://schemas.microsoft.com/office/powerpoint/2010/main" val="22932500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3EDFA2-F792-0740-74D1-51BE544B4EEC}"/>
              </a:ext>
            </a:extLst>
          </p:cNvPr>
          <p:cNvSpPr>
            <a:spLocks noGrp="1"/>
          </p:cNvSpPr>
          <p:nvPr>
            <p:ph type="title"/>
          </p:nvPr>
        </p:nvSpPr>
        <p:spPr>
          <a:xfrm>
            <a:off x="838200" y="482400"/>
            <a:ext cx="5533571" cy="1072080"/>
          </a:xfrm>
        </p:spPr>
        <p:txBody>
          <a:bodyPr anchor="ctr">
            <a:normAutofit/>
          </a:bodyPr>
          <a:lstStyle/>
          <a:p>
            <a:r>
              <a:rPr lang="nn-NO"/>
              <a:t>Alle har fått økt inntekt, men liten vekst de siste årene</a:t>
            </a:r>
            <a:endParaRPr lang="nb-NO"/>
          </a:p>
        </p:txBody>
      </p:sp>
      <p:graphicFrame>
        <p:nvGraphicFramePr>
          <p:cNvPr id="8" name="Plassholder for innhold 7">
            <a:extLst>
              <a:ext uri="{FF2B5EF4-FFF2-40B4-BE49-F238E27FC236}">
                <a16:creationId xmlns:a16="http://schemas.microsoft.com/office/drawing/2014/main" id="{5A21B9AA-3C21-14EC-000A-27246BFBA3AE}"/>
              </a:ext>
            </a:extLst>
          </p:cNvPr>
          <p:cNvGraphicFramePr>
            <a:graphicFrameLocks noGrp="1"/>
          </p:cNvGraphicFramePr>
          <p:nvPr>
            <p:ph idx="1"/>
            <p:extLst>
              <p:ext uri="{D42A27DB-BD31-4B8C-83A1-F6EECF244321}">
                <p14:modId xmlns:p14="http://schemas.microsoft.com/office/powerpoint/2010/main" val="3843518800"/>
              </p:ext>
            </p:extLst>
          </p:nvPr>
        </p:nvGraphicFramePr>
        <p:xfrm>
          <a:off x="606844" y="1825625"/>
          <a:ext cx="5764928" cy="4123483"/>
        </p:xfrm>
        <a:graphic>
          <a:graphicData uri="http://schemas.openxmlformats.org/drawingml/2006/chart">
            <c:chart xmlns:c="http://schemas.openxmlformats.org/drawingml/2006/chart" xmlns:r="http://schemas.openxmlformats.org/officeDocument/2006/relationships" r:id="rId3"/>
          </a:graphicData>
        </a:graphic>
      </p:graphicFrame>
      <p:pic>
        <p:nvPicPr>
          <p:cNvPr id="7" name="Bilde 6">
            <a:extLst>
              <a:ext uri="{FF2B5EF4-FFF2-40B4-BE49-F238E27FC236}">
                <a16:creationId xmlns:a16="http://schemas.microsoft.com/office/drawing/2014/main" id="{D279216C-0495-6CEF-91B0-81AF334C5B3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808424" y="1358251"/>
            <a:ext cx="4754698" cy="4180507"/>
          </a:xfrm>
          <a:prstGeom prst="rect">
            <a:avLst/>
          </a:prstGeom>
        </p:spPr>
      </p:pic>
    </p:spTree>
    <p:extLst>
      <p:ext uri="{BB962C8B-B14F-4D97-AF65-F5344CB8AC3E}">
        <p14:creationId xmlns:p14="http://schemas.microsoft.com/office/powerpoint/2010/main" val="20969853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E0DED30-818E-D79E-8E8E-5DEA1577A494}"/>
              </a:ext>
            </a:extLst>
          </p:cNvPr>
          <p:cNvSpPr/>
          <p:nvPr/>
        </p:nvSpPr>
        <p:spPr>
          <a:xfrm>
            <a:off x="6096000" y="0"/>
            <a:ext cx="6096000" cy="6858000"/>
          </a:xfrm>
          <a:prstGeom prst="rect">
            <a:avLst/>
          </a:prstGeom>
          <a:solidFill>
            <a:srgbClr val="CCD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E7CAE6A9-2F94-FE49-8F4C-C9197ED5A83B}"/>
              </a:ext>
            </a:extLst>
          </p:cNvPr>
          <p:cNvSpPr>
            <a:spLocks noGrp="1"/>
          </p:cNvSpPr>
          <p:nvPr>
            <p:ph type="title"/>
          </p:nvPr>
        </p:nvSpPr>
        <p:spPr/>
        <p:txBody>
          <a:bodyPr/>
          <a:lstStyle/>
          <a:p>
            <a:r>
              <a:rPr lang="nb-NO" noProof="0"/>
              <a:t>Økende inntektsforskjeller</a:t>
            </a:r>
          </a:p>
        </p:txBody>
      </p:sp>
      <p:sp>
        <p:nvSpPr>
          <p:cNvPr id="7" name="Content Placeholder 6">
            <a:extLst>
              <a:ext uri="{FF2B5EF4-FFF2-40B4-BE49-F238E27FC236}">
                <a16:creationId xmlns:a16="http://schemas.microsoft.com/office/drawing/2014/main" id="{74D97012-5243-7643-A741-DA1B30601511}"/>
              </a:ext>
            </a:extLst>
          </p:cNvPr>
          <p:cNvSpPr>
            <a:spLocks noGrp="1"/>
          </p:cNvSpPr>
          <p:nvPr>
            <p:ph sz="half" idx="1"/>
          </p:nvPr>
        </p:nvSpPr>
        <p:spPr>
          <a:xfrm>
            <a:off x="838200" y="1554480"/>
            <a:ext cx="5257800" cy="4351338"/>
          </a:xfrm>
        </p:spPr>
        <p:txBody>
          <a:bodyPr vert="horz" lIns="91440" tIns="45720" rIns="91440" bIns="45720" rtlCol="0" anchor="t">
            <a:normAutofit fontScale="92500" lnSpcReduction="20000"/>
          </a:bodyPr>
          <a:lstStyle/>
          <a:p>
            <a:pPr marL="0" indent="0">
              <a:buNone/>
            </a:pPr>
            <a:r>
              <a:rPr lang="nb-NO" sz="2100" b="1">
                <a:latin typeface="Arial"/>
                <a:cs typeface="Arial"/>
              </a:rPr>
              <a:t>Grupper særlig utsatt for lavinntekt:</a:t>
            </a:r>
          </a:p>
          <a:p>
            <a:r>
              <a:rPr lang="nb-NO" sz="2000"/>
              <a:t>Innvandrere</a:t>
            </a:r>
            <a:r>
              <a:rPr lang="nn-NO" sz="2000"/>
              <a:t> med flyktningbakgrunn </a:t>
            </a:r>
          </a:p>
          <a:p>
            <a:r>
              <a:rPr lang="nb-NO" sz="2000"/>
              <a:t>Enslige</a:t>
            </a:r>
            <a:r>
              <a:rPr lang="nn-NO" sz="2000"/>
              <a:t> </a:t>
            </a:r>
            <a:r>
              <a:rPr lang="nb-NO" sz="2000"/>
              <a:t>forsørgere</a:t>
            </a:r>
          </a:p>
          <a:p>
            <a:r>
              <a:rPr lang="nb-NO" sz="2000"/>
              <a:t>Mottakere av sosialhjelp eller andre ytelser fra NAV</a:t>
            </a:r>
          </a:p>
          <a:p>
            <a:pPr marL="0" indent="0">
              <a:buNone/>
            </a:pPr>
            <a:endParaRPr lang="nb-NO" sz="2000">
              <a:latin typeface="Arial"/>
              <a:cs typeface="Arial"/>
            </a:endParaRPr>
          </a:p>
          <a:p>
            <a:pPr marL="0" indent="0">
              <a:buNone/>
            </a:pPr>
            <a:r>
              <a:rPr lang="nb-NO" sz="2000" b="1">
                <a:latin typeface="Arial"/>
                <a:cs typeface="Arial"/>
              </a:rPr>
              <a:t>Stabil yrkestilknytning viktig for å unngå lavinntekt</a:t>
            </a:r>
          </a:p>
          <a:p>
            <a:pPr marL="0" indent="0">
              <a:buNone/>
            </a:pPr>
            <a:endParaRPr lang="nb-NO" sz="2000">
              <a:latin typeface="Arial"/>
              <a:cs typeface="Arial"/>
            </a:endParaRPr>
          </a:p>
          <a:p>
            <a:pPr marL="0" indent="0">
              <a:buNone/>
            </a:pPr>
            <a:r>
              <a:rPr lang="nb-NO" sz="1900" b="1">
                <a:latin typeface="Arial"/>
                <a:cs typeface="Arial"/>
              </a:rPr>
              <a:t>Flere med økonomiske problemer i 2022</a:t>
            </a:r>
          </a:p>
          <a:p>
            <a:r>
              <a:rPr lang="nb-NO" sz="2000"/>
              <a:t>5 % (130 000) med alvorlige økonomiske problemer, dobling fra 2021</a:t>
            </a:r>
          </a:p>
          <a:p>
            <a:r>
              <a:rPr lang="nb-NO" sz="2000"/>
              <a:t>Ytterligere 11 prosent (280 000) sliter økonomisk</a:t>
            </a:r>
          </a:p>
          <a:p>
            <a:pPr marL="0" indent="0">
              <a:buNone/>
            </a:pPr>
            <a:endParaRPr lang="nb-NO" sz="2000"/>
          </a:p>
          <a:p>
            <a:pPr marL="0" indent="0">
              <a:buNone/>
            </a:pPr>
            <a:endParaRPr lang="nb-NO" sz="2000" b="1">
              <a:latin typeface="Arial"/>
              <a:cs typeface="Arial"/>
            </a:endParaRPr>
          </a:p>
          <a:p>
            <a:pPr marL="0" indent="0">
              <a:buNone/>
            </a:pPr>
            <a:endParaRPr lang="nb-NO" sz="2000">
              <a:latin typeface="Arial"/>
              <a:cs typeface="Arial"/>
            </a:endParaRPr>
          </a:p>
          <a:p>
            <a:pPr marL="0" indent="0">
              <a:buNone/>
            </a:pPr>
            <a:endParaRPr lang="nb-NO" sz="2000" noProof="0"/>
          </a:p>
        </p:txBody>
      </p:sp>
      <p:sp>
        <p:nvSpPr>
          <p:cNvPr id="12" name="TekstSylinder 8">
            <a:extLst>
              <a:ext uri="{FF2B5EF4-FFF2-40B4-BE49-F238E27FC236}">
                <a16:creationId xmlns:a16="http://schemas.microsoft.com/office/drawing/2014/main" id="{861220F8-A103-344E-853B-341D781ED786}"/>
              </a:ext>
            </a:extLst>
          </p:cNvPr>
          <p:cNvSpPr txBox="1"/>
          <p:nvPr/>
        </p:nvSpPr>
        <p:spPr>
          <a:xfrm>
            <a:off x="10665223" y="5905818"/>
            <a:ext cx="947657" cy="256545"/>
          </a:xfrm>
          <a:prstGeom prst="rect">
            <a:avLst/>
          </a:prstGeom>
          <a:noFill/>
        </p:spPr>
        <p:txBody>
          <a:bodyPr wrap="square" rtlCol="0">
            <a:spAutoFit/>
          </a:bodyPr>
          <a:lstStyle/>
          <a:p>
            <a:pPr algn="r"/>
            <a:r>
              <a:rPr lang="nb-NO" sz="1067" b="1">
                <a:latin typeface="Arial" panose="020B0604020202020204" pitchFamily="34" charset="0"/>
                <a:cs typeface="Arial" panose="020B0604020202020204" pitchFamily="34" charset="0"/>
              </a:rPr>
              <a:t>Kilde:</a:t>
            </a:r>
            <a:r>
              <a:rPr lang="nb-NO" sz="1067">
                <a:latin typeface="Arial" panose="020B0604020202020204" pitchFamily="34" charset="0"/>
                <a:cs typeface="Arial" panose="020B0604020202020204" pitchFamily="34" charset="0"/>
              </a:rPr>
              <a:t> SSB</a:t>
            </a:r>
          </a:p>
        </p:txBody>
      </p:sp>
      <p:sp>
        <p:nvSpPr>
          <p:cNvPr id="3" name="TekstSylinder 2">
            <a:extLst>
              <a:ext uri="{FF2B5EF4-FFF2-40B4-BE49-F238E27FC236}">
                <a16:creationId xmlns:a16="http://schemas.microsoft.com/office/drawing/2014/main" id="{812483EE-F63C-D162-AD66-80A9589A805E}"/>
              </a:ext>
            </a:extLst>
          </p:cNvPr>
          <p:cNvSpPr txBox="1"/>
          <p:nvPr/>
        </p:nvSpPr>
        <p:spPr>
          <a:xfrm>
            <a:off x="6658984" y="1390549"/>
            <a:ext cx="5077609" cy="646331"/>
          </a:xfrm>
          <a:prstGeom prst="rect">
            <a:avLst/>
          </a:prstGeom>
          <a:noFill/>
        </p:spPr>
        <p:txBody>
          <a:bodyPr wrap="square" rtlCol="0">
            <a:spAutoFit/>
          </a:bodyPr>
          <a:lstStyle/>
          <a:p>
            <a:r>
              <a:rPr lang="nb-NO" sz="1800" b="1">
                <a:effectLst/>
                <a:latin typeface="Arial" panose="020B0604020202020204" pitchFamily="34" charset="0"/>
                <a:cs typeface="Arial" panose="020B0604020202020204" pitchFamily="34" charset="0"/>
              </a:rPr>
              <a:t>Andel av</a:t>
            </a:r>
            <a:r>
              <a:rPr lang="nb-NO" sz="1800" b="1" baseline="0">
                <a:effectLst/>
                <a:latin typeface="Arial" panose="020B0604020202020204" pitchFamily="34" charset="0"/>
                <a:cs typeface="Arial" panose="020B0604020202020204" pitchFamily="34" charset="0"/>
              </a:rPr>
              <a:t> befolkningen</a:t>
            </a:r>
            <a:r>
              <a:rPr lang="nb-NO" sz="1800" b="1">
                <a:effectLst/>
                <a:latin typeface="Arial" panose="020B0604020202020204" pitchFamily="34" charset="0"/>
                <a:cs typeface="Arial" panose="020B0604020202020204" pitchFamily="34" charset="0"/>
              </a:rPr>
              <a:t> med </a:t>
            </a:r>
            <a:r>
              <a:rPr lang="nb-NO" b="1">
                <a:latin typeface="Arial" panose="020B0604020202020204" pitchFamily="34" charset="0"/>
                <a:cs typeface="Arial" panose="020B0604020202020204" pitchFamily="34" charset="0"/>
              </a:rPr>
              <a:t>vedvarende</a:t>
            </a:r>
            <a:r>
              <a:rPr lang="nb-NO" sz="1800" b="1">
                <a:effectLst/>
                <a:latin typeface="Arial" panose="020B0604020202020204" pitchFamily="34" charset="0"/>
                <a:cs typeface="Arial" panose="020B0604020202020204" pitchFamily="34" charset="0"/>
              </a:rPr>
              <a:t> lavinntekt etter EU-60-definisjonen, i prosent</a:t>
            </a:r>
            <a:endParaRPr lang="nb-NO">
              <a:effectLst/>
              <a:latin typeface="Arial" panose="020B0604020202020204" pitchFamily="34" charset="0"/>
              <a:cs typeface="Arial" panose="020B0604020202020204" pitchFamily="34" charset="0"/>
            </a:endParaRPr>
          </a:p>
        </p:txBody>
      </p:sp>
      <p:graphicFrame>
        <p:nvGraphicFramePr>
          <p:cNvPr id="5" name="Diagram 4">
            <a:extLst>
              <a:ext uri="{FF2B5EF4-FFF2-40B4-BE49-F238E27FC236}">
                <a16:creationId xmlns:a16="http://schemas.microsoft.com/office/drawing/2014/main" id="{E3D99A87-F177-2380-CD57-EE017239B903}"/>
              </a:ext>
            </a:extLst>
          </p:cNvPr>
          <p:cNvGraphicFramePr>
            <a:graphicFrameLocks/>
          </p:cNvGraphicFramePr>
          <p:nvPr>
            <p:extLst>
              <p:ext uri="{D42A27DB-BD31-4B8C-83A1-F6EECF244321}">
                <p14:modId xmlns:p14="http://schemas.microsoft.com/office/powerpoint/2010/main" val="2576318968"/>
              </p:ext>
            </p:extLst>
          </p:nvPr>
        </p:nvGraphicFramePr>
        <p:xfrm>
          <a:off x="6658984" y="2161828"/>
          <a:ext cx="5257800" cy="37439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330880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CAE6A9-2F94-FE49-8F4C-C9197ED5A83B}"/>
              </a:ext>
            </a:extLst>
          </p:cNvPr>
          <p:cNvSpPr>
            <a:spLocks noGrp="1"/>
          </p:cNvSpPr>
          <p:nvPr>
            <p:ph type="title"/>
          </p:nvPr>
        </p:nvSpPr>
        <p:spPr>
          <a:xfrm>
            <a:off x="838200" y="482400"/>
            <a:ext cx="5257800" cy="1072080"/>
          </a:xfrm>
        </p:spPr>
        <p:txBody>
          <a:bodyPr/>
          <a:lstStyle/>
          <a:p>
            <a:r>
              <a:rPr lang="nb-NO"/>
              <a:t>Barn og unge voksne mest utsatt</a:t>
            </a:r>
            <a:endParaRPr lang="nb-NO" noProof="0"/>
          </a:p>
        </p:txBody>
      </p:sp>
      <p:sp>
        <p:nvSpPr>
          <p:cNvPr id="7" name="Content Placeholder 6">
            <a:extLst>
              <a:ext uri="{FF2B5EF4-FFF2-40B4-BE49-F238E27FC236}">
                <a16:creationId xmlns:a16="http://schemas.microsoft.com/office/drawing/2014/main" id="{74D97012-5243-7643-A741-DA1B30601511}"/>
              </a:ext>
            </a:extLst>
          </p:cNvPr>
          <p:cNvSpPr>
            <a:spLocks noGrp="1"/>
          </p:cNvSpPr>
          <p:nvPr>
            <p:ph sz="half" idx="1"/>
          </p:nvPr>
        </p:nvSpPr>
        <p:spPr>
          <a:xfrm>
            <a:off x="838200" y="1901098"/>
            <a:ext cx="4448695" cy="4176170"/>
          </a:xfrm>
        </p:spPr>
        <p:txBody>
          <a:bodyPr vert="horz" lIns="91440" tIns="45720" rIns="91440" bIns="45720" rtlCol="0" anchor="t">
            <a:normAutofit/>
          </a:bodyPr>
          <a:lstStyle/>
          <a:p>
            <a:r>
              <a:rPr lang="nb-NO" sz="2000">
                <a:latin typeface="Arial"/>
                <a:cs typeface="Arial"/>
              </a:rPr>
              <a:t>Nedgang i andelen med lavinntekt i aldersgruppen 67+</a:t>
            </a:r>
            <a:endParaRPr lang="nb-NO" sz="2000" noProof="0"/>
          </a:p>
          <a:p>
            <a:endParaRPr lang="nb-NO" sz="2000" noProof="0"/>
          </a:p>
          <a:p>
            <a:r>
              <a:rPr lang="nb-NO" sz="2000" noProof="0">
                <a:latin typeface="Arial"/>
                <a:cs typeface="Arial"/>
              </a:rPr>
              <a:t>Flest med lavinntekt blant unge voksne (18–34 år) og barn</a:t>
            </a:r>
          </a:p>
          <a:p>
            <a:endParaRPr lang="nb-NO" sz="2000">
              <a:latin typeface="Arial"/>
              <a:cs typeface="Arial"/>
            </a:endParaRPr>
          </a:p>
          <a:p>
            <a:r>
              <a:rPr lang="nb-NO" sz="2000" noProof="0">
                <a:latin typeface="Arial"/>
                <a:cs typeface="Arial"/>
              </a:rPr>
              <a:t>110 000 barn (11 prosent </a:t>
            </a:r>
            <a:r>
              <a:rPr lang="nb-NO" sz="2000">
                <a:latin typeface="Arial"/>
                <a:cs typeface="Arial"/>
              </a:rPr>
              <a:t>av alle) bor i en husholdning med vedvarende lavinntekt</a:t>
            </a:r>
            <a:endParaRPr lang="nb-NO" sz="2000" noProof="0">
              <a:latin typeface="Arial"/>
              <a:cs typeface="Arial"/>
            </a:endParaRPr>
          </a:p>
          <a:p>
            <a:pPr marL="0" indent="0">
              <a:buNone/>
            </a:pPr>
            <a:endParaRPr lang="nb-NO" sz="2000" noProof="0"/>
          </a:p>
          <a:p>
            <a:endParaRPr lang="nb-NO" sz="2000" noProof="0">
              <a:latin typeface="Arial"/>
              <a:cs typeface="Arial"/>
            </a:endParaRPr>
          </a:p>
        </p:txBody>
      </p:sp>
      <p:sp>
        <p:nvSpPr>
          <p:cNvPr id="12" name="TekstSylinder 8">
            <a:extLst>
              <a:ext uri="{FF2B5EF4-FFF2-40B4-BE49-F238E27FC236}">
                <a16:creationId xmlns:a16="http://schemas.microsoft.com/office/drawing/2014/main" id="{861220F8-A103-344E-853B-341D781ED786}"/>
              </a:ext>
            </a:extLst>
          </p:cNvPr>
          <p:cNvSpPr txBox="1"/>
          <p:nvPr/>
        </p:nvSpPr>
        <p:spPr>
          <a:xfrm>
            <a:off x="11244343" y="6560498"/>
            <a:ext cx="947657" cy="256545"/>
          </a:xfrm>
          <a:prstGeom prst="rect">
            <a:avLst/>
          </a:prstGeom>
          <a:noFill/>
        </p:spPr>
        <p:txBody>
          <a:bodyPr wrap="square" rtlCol="0">
            <a:spAutoFit/>
          </a:bodyPr>
          <a:lstStyle/>
          <a:p>
            <a:pPr algn="r"/>
            <a:r>
              <a:rPr lang="nb-NO" sz="1067" b="1">
                <a:latin typeface="Arial" panose="020B0604020202020204" pitchFamily="34" charset="0"/>
                <a:cs typeface="Arial" panose="020B0604020202020204" pitchFamily="34" charset="0"/>
              </a:rPr>
              <a:t>Kilde:</a:t>
            </a:r>
            <a:r>
              <a:rPr lang="nb-NO" sz="1067">
                <a:latin typeface="Arial" panose="020B0604020202020204" pitchFamily="34" charset="0"/>
                <a:cs typeface="Arial" panose="020B0604020202020204" pitchFamily="34" charset="0"/>
              </a:rPr>
              <a:t> SSB</a:t>
            </a:r>
          </a:p>
        </p:txBody>
      </p:sp>
      <p:sp>
        <p:nvSpPr>
          <p:cNvPr id="2" name="TekstSylinder 1">
            <a:extLst>
              <a:ext uri="{FF2B5EF4-FFF2-40B4-BE49-F238E27FC236}">
                <a16:creationId xmlns:a16="http://schemas.microsoft.com/office/drawing/2014/main" id="{53244626-4D81-33D2-8513-113440363D7E}"/>
              </a:ext>
            </a:extLst>
          </p:cNvPr>
          <p:cNvSpPr txBox="1"/>
          <p:nvPr/>
        </p:nvSpPr>
        <p:spPr>
          <a:xfrm>
            <a:off x="6770839" y="1366887"/>
            <a:ext cx="5077609" cy="646331"/>
          </a:xfrm>
          <a:prstGeom prst="rect">
            <a:avLst/>
          </a:prstGeom>
          <a:noFill/>
        </p:spPr>
        <p:txBody>
          <a:bodyPr wrap="square" rtlCol="0">
            <a:spAutoFit/>
          </a:bodyPr>
          <a:lstStyle/>
          <a:p>
            <a:r>
              <a:rPr lang="nb-NO" sz="1800" b="1">
                <a:effectLst/>
                <a:latin typeface="Arial" panose="020B0604020202020204" pitchFamily="34" charset="0"/>
                <a:cs typeface="Arial" panose="020B0604020202020204" pitchFamily="34" charset="0"/>
              </a:rPr>
              <a:t>Andel av</a:t>
            </a:r>
            <a:r>
              <a:rPr lang="nb-NO" sz="1800" b="1" baseline="0">
                <a:effectLst/>
                <a:latin typeface="Arial" panose="020B0604020202020204" pitchFamily="34" charset="0"/>
                <a:cs typeface="Arial" panose="020B0604020202020204" pitchFamily="34" charset="0"/>
              </a:rPr>
              <a:t> befolkningen</a:t>
            </a:r>
            <a:r>
              <a:rPr lang="nb-NO" sz="1800" b="1">
                <a:effectLst/>
                <a:latin typeface="Arial" panose="020B0604020202020204" pitchFamily="34" charset="0"/>
                <a:cs typeface="Arial" panose="020B0604020202020204" pitchFamily="34" charset="0"/>
              </a:rPr>
              <a:t> med treårig lavinntekt etter EU-60-definisjonen, i prosent</a:t>
            </a:r>
            <a:endParaRPr lang="nb-NO">
              <a:effectLst/>
              <a:latin typeface="Arial" panose="020B0604020202020204" pitchFamily="34" charset="0"/>
              <a:cs typeface="Arial" panose="020B0604020202020204" pitchFamily="34" charset="0"/>
            </a:endParaRPr>
          </a:p>
        </p:txBody>
      </p:sp>
      <p:graphicFrame>
        <p:nvGraphicFramePr>
          <p:cNvPr id="6" name="Diagram 5">
            <a:extLst>
              <a:ext uri="{FF2B5EF4-FFF2-40B4-BE49-F238E27FC236}">
                <a16:creationId xmlns:a16="http://schemas.microsoft.com/office/drawing/2014/main" id="{1C87C3DB-0DCD-4AE2-96DD-634D86192073}"/>
              </a:ext>
            </a:extLst>
          </p:cNvPr>
          <p:cNvGraphicFramePr>
            <a:graphicFrameLocks/>
          </p:cNvGraphicFramePr>
          <p:nvPr>
            <p:extLst>
              <p:ext uri="{D42A27DB-BD31-4B8C-83A1-F6EECF244321}">
                <p14:modId xmlns:p14="http://schemas.microsoft.com/office/powerpoint/2010/main" val="2865057032"/>
              </p:ext>
            </p:extLst>
          </p:nvPr>
        </p:nvGraphicFramePr>
        <p:xfrm>
          <a:off x="6770839" y="2165349"/>
          <a:ext cx="4943642" cy="40947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277346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506B738-8970-1339-BE95-F4A12D051ED3}"/>
              </a:ext>
            </a:extLst>
          </p:cNvPr>
          <p:cNvSpPr>
            <a:spLocks noGrp="1"/>
          </p:cNvSpPr>
          <p:nvPr>
            <p:ph type="title"/>
          </p:nvPr>
        </p:nvSpPr>
        <p:spPr/>
        <p:txBody>
          <a:bodyPr/>
          <a:lstStyle/>
          <a:p>
            <a:r>
              <a:rPr lang="nn-NO"/>
              <a:t>Levekår – framover mot 2035</a:t>
            </a:r>
            <a:endParaRPr lang="nb-NO"/>
          </a:p>
        </p:txBody>
      </p:sp>
      <p:sp>
        <p:nvSpPr>
          <p:cNvPr id="4" name="Pil: høyre 3">
            <a:extLst>
              <a:ext uri="{FF2B5EF4-FFF2-40B4-BE49-F238E27FC236}">
                <a16:creationId xmlns:a16="http://schemas.microsoft.com/office/drawing/2014/main" id="{BD7B14C8-9CF7-281E-4D9A-2093809DBE78}"/>
              </a:ext>
            </a:extLst>
          </p:cNvPr>
          <p:cNvSpPr/>
          <p:nvPr/>
        </p:nvSpPr>
        <p:spPr>
          <a:xfrm>
            <a:off x="947451" y="2060347"/>
            <a:ext cx="9937667" cy="660748"/>
          </a:xfrm>
          <a:prstGeom prst="rightArrow">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innhold 2">
            <a:extLst>
              <a:ext uri="{FF2B5EF4-FFF2-40B4-BE49-F238E27FC236}">
                <a16:creationId xmlns:a16="http://schemas.microsoft.com/office/drawing/2014/main" id="{65F7DB62-41A7-81C7-067A-F67A4EBCD139}"/>
              </a:ext>
            </a:extLst>
          </p:cNvPr>
          <p:cNvSpPr>
            <a:spLocks noGrp="1"/>
          </p:cNvSpPr>
          <p:nvPr>
            <p:ph idx="1"/>
          </p:nvPr>
        </p:nvSpPr>
        <p:spPr>
          <a:xfrm>
            <a:off x="1290180" y="5405767"/>
            <a:ext cx="4492413" cy="660748"/>
          </a:xfrm>
        </p:spPr>
        <p:txBody>
          <a:bodyPr>
            <a:normAutofit/>
          </a:bodyPr>
          <a:lstStyle/>
          <a:p>
            <a:pPr marL="0" indent="0" algn="ctr">
              <a:buNone/>
            </a:pPr>
            <a:r>
              <a:rPr lang="nb-NO" sz="1600"/>
              <a:t>Høy inflasjon og rentenivå gir økt behov for sosiale tjenester fra NAV</a:t>
            </a:r>
            <a:endParaRPr lang="nn-NO" sz="1600"/>
          </a:p>
        </p:txBody>
      </p:sp>
      <p:sp>
        <p:nvSpPr>
          <p:cNvPr id="6" name="TekstSylinder 5">
            <a:extLst>
              <a:ext uri="{FF2B5EF4-FFF2-40B4-BE49-F238E27FC236}">
                <a16:creationId xmlns:a16="http://schemas.microsoft.com/office/drawing/2014/main" id="{CA8A4933-24BB-06DD-45D8-BB412310BF75}"/>
              </a:ext>
            </a:extLst>
          </p:cNvPr>
          <p:cNvSpPr txBox="1"/>
          <p:nvPr/>
        </p:nvSpPr>
        <p:spPr>
          <a:xfrm>
            <a:off x="1290181" y="1691015"/>
            <a:ext cx="2780778"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På kort sikt</a:t>
            </a:r>
          </a:p>
        </p:txBody>
      </p:sp>
      <p:sp>
        <p:nvSpPr>
          <p:cNvPr id="7" name="TekstSylinder 6">
            <a:extLst>
              <a:ext uri="{FF2B5EF4-FFF2-40B4-BE49-F238E27FC236}">
                <a16:creationId xmlns:a16="http://schemas.microsoft.com/office/drawing/2014/main" id="{E8EB661B-B4EF-3952-DCF6-D61C668051BE}"/>
              </a:ext>
            </a:extLst>
          </p:cNvPr>
          <p:cNvSpPr txBox="1"/>
          <p:nvPr/>
        </p:nvSpPr>
        <p:spPr>
          <a:xfrm>
            <a:off x="8200373" y="1691015"/>
            <a:ext cx="2058444" cy="369332"/>
          </a:xfrm>
          <a:prstGeom prst="rect">
            <a:avLst/>
          </a:prstGeom>
          <a:noFill/>
        </p:spPr>
        <p:txBody>
          <a:bodyPr wrap="square" rtlCol="0">
            <a:spAutoFit/>
          </a:bodyPr>
          <a:lstStyle/>
          <a:p>
            <a:pPr algn="ctr"/>
            <a:r>
              <a:rPr lang="nb-NO">
                <a:latin typeface="Arial" panose="020B0604020202020204" pitchFamily="34" charset="0"/>
                <a:cs typeface="Arial" panose="020B0604020202020204" pitchFamily="34" charset="0"/>
              </a:rPr>
              <a:t>På lengre sikt</a:t>
            </a:r>
          </a:p>
        </p:txBody>
      </p:sp>
      <p:sp>
        <p:nvSpPr>
          <p:cNvPr id="8" name="Plassholder for innhold 2">
            <a:extLst>
              <a:ext uri="{FF2B5EF4-FFF2-40B4-BE49-F238E27FC236}">
                <a16:creationId xmlns:a16="http://schemas.microsoft.com/office/drawing/2014/main" id="{C2145434-2894-79D4-9549-223EB1636BB4}"/>
              </a:ext>
            </a:extLst>
          </p:cNvPr>
          <p:cNvSpPr txBox="1">
            <a:spLocks/>
          </p:cNvSpPr>
          <p:nvPr/>
        </p:nvSpPr>
        <p:spPr>
          <a:xfrm>
            <a:off x="7987682" y="4533910"/>
            <a:ext cx="2897436" cy="166387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0000"/>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600"/>
              <a:t>Størst utfordringer om vi får en kombinasjon av </a:t>
            </a:r>
            <a:r>
              <a:rPr lang="nb-NO" sz="1600" b="1"/>
              <a:t>økte inntektsforskjeller</a:t>
            </a:r>
            <a:r>
              <a:rPr lang="nb-NO" sz="1600"/>
              <a:t> og </a:t>
            </a:r>
            <a:r>
              <a:rPr lang="nb-NO" sz="1600" b="1"/>
              <a:t>lavere økonomisk vekst.</a:t>
            </a:r>
            <a:endParaRPr lang="nb-NO" sz="1600"/>
          </a:p>
          <a:p>
            <a:pPr marL="0" indent="0">
              <a:buNone/>
            </a:pPr>
            <a:r>
              <a:rPr lang="nb-NO" sz="1600"/>
              <a:t>Usikkert om høy prisvekst og høyt rentenivå vedvarer.</a:t>
            </a:r>
          </a:p>
        </p:txBody>
      </p:sp>
      <p:pic>
        <p:nvPicPr>
          <p:cNvPr id="12" name="Bilde 11">
            <a:extLst>
              <a:ext uri="{FF2B5EF4-FFF2-40B4-BE49-F238E27FC236}">
                <a16:creationId xmlns:a16="http://schemas.microsoft.com/office/drawing/2014/main" id="{C79ECADA-15AA-002C-EFED-1FB91229B1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30880" y="2721095"/>
            <a:ext cx="2451714" cy="1834034"/>
          </a:xfrm>
          <a:prstGeom prst="rect">
            <a:avLst/>
          </a:prstGeom>
          <a:effectLst>
            <a:outerShdw blurRad="50800" dist="38100" dir="2700000" algn="tl" rotWithShape="0">
              <a:prstClr val="black">
                <a:alpha val="40000"/>
              </a:prstClr>
            </a:outerShdw>
          </a:effectLst>
        </p:spPr>
      </p:pic>
      <p:pic>
        <p:nvPicPr>
          <p:cNvPr id="16" name="Grafikk 15" descr="Spørsmålstegn med heldekkende fyll">
            <a:extLst>
              <a:ext uri="{FF2B5EF4-FFF2-40B4-BE49-F238E27FC236}">
                <a16:creationId xmlns:a16="http://schemas.microsoft.com/office/drawing/2014/main" id="{826D086F-054C-B76A-4485-5C821C1E5B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73883" y="660216"/>
            <a:ext cx="1072081" cy="1072081"/>
          </a:xfrm>
          <a:prstGeom prst="rect">
            <a:avLst/>
          </a:prstGeom>
        </p:spPr>
      </p:pic>
      <p:pic>
        <p:nvPicPr>
          <p:cNvPr id="18" name="Bilde 17">
            <a:extLst>
              <a:ext uri="{FF2B5EF4-FFF2-40B4-BE49-F238E27FC236}">
                <a16:creationId xmlns:a16="http://schemas.microsoft.com/office/drawing/2014/main" id="{3F81625D-6D54-29A7-F1F6-0D07AEEAF68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32645" y="3858811"/>
            <a:ext cx="2363355" cy="1331139"/>
          </a:xfrm>
          <a:prstGeom prst="rect">
            <a:avLst/>
          </a:prstGeom>
          <a:effectLst>
            <a:outerShdw blurRad="50800" dist="38100" dir="2700000" algn="tl" rotWithShape="0">
              <a:prstClr val="black">
                <a:alpha val="40000"/>
              </a:prstClr>
            </a:outerShdw>
          </a:effectLst>
        </p:spPr>
      </p:pic>
      <p:pic>
        <p:nvPicPr>
          <p:cNvPr id="20" name="Bilde 19">
            <a:extLst>
              <a:ext uri="{FF2B5EF4-FFF2-40B4-BE49-F238E27FC236}">
                <a16:creationId xmlns:a16="http://schemas.microsoft.com/office/drawing/2014/main" id="{32BD376D-A132-EDA6-33CC-888D48BF2DD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22696" y="2712204"/>
            <a:ext cx="1569085" cy="1637306"/>
          </a:xfrm>
          <a:prstGeom prst="rect">
            <a:avLst/>
          </a:prstGeom>
          <a:effectLst>
            <a:outerShdw blurRad="50800" dist="38100" dir="2700000" algn="tl" rotWithShape="0">
              <a:prstClr val="black">
                <a:alpha val="40000"/>
              </a:prstClr>
            </a:outerShdw>
          </a:effectLst>
        </p:spPr>
      </p:pic>
      <p:pic>
        <p:nvPicPr>
          <p:cNvPr id="22" name="Bilde 21">
            <a:extLst>
              <a:ext uri="{FF2B5EF4-FFF2-40B4-BE49-F238E27FC236}">
                <a16:creationId xmlns:a16="http://schemas.microsoft.com/office/drawing/2014/main" id="{BEEDBBB2-66F4-0BF0-0F96-77E9B679B81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97114" y="3731879"/>
            <a:ext cx="1569085" cy="1441038"/>
          </a:xfrm>
          <a:prstGeom prst="rect">
            <a:avLst/>
          </a:prstGeom>
          <a:effectLst>
            <a:outerShdw blurRad="50800" dist="38100" dir="2700000" algn="tl" rotWithShape="0">
              <a:prstClr val="black">
                <a:alpha val="40000"/>
              </a:prstClr>
            </a:outerShdw>
          </a:effectLst>
        </p:spPr>
      </p:pic>
      <p:pic>
        <p:nvPicPr>
          <p:cNvPr id="9" name="Bilde 8">
            <a:extLst>
              <a:ext uri="{FF2B5EF4-FFF2-40B4-BE49-F238E27FC236}">
                <a16:creationId xmlns:a16="http://schemas.microsoft.com/office/drawing/2014/main" id="{0B431953-7AE5-85A9-62AC-F042CE1A0BC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29321" y="2662174"/>
            <a:ext cx="1904783" cy="1862206"/>
          </a:xfrm>
          <a:prstGeom prst="rect">
            <a:avLst/>
          </a:prstGeom>
        </p:spPr>
      </p:pic>
    </p:spTree>
    <p:extLst>
      <p:ext uri="{BB962C8B-B14F-4D97-AF65-F5344CB8AC3E}">
        <p14:creationId xmlns:p14="http://schemas.microsoft.com/office/powerpoint/2010/main" val="17931737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92500" lnSpcReduction="10000"/>
          </a:bodyPr>
          <a:lstStyle/>
          <a:p>
            <a:r>
              <a:rPr lang="nb-NO">
                <a:effectLst/>
              </a:rPr>
              <a:t>Hvem er de viktigste samarbeids-partnere for NAV for å bedre levekårene for ulike utsatte grupper?</a:t>
            </a:r>
          </a:p>
          <a:p>
            <a:endParaRPr lang="nb-NO"/>
          </a:p>
          <a:p>
            <a:r>
              <a:rPr lang="nb-NO">
                <a:effectLst/>
              </a:rPr>
              <a:t>Hvordan bør samarbeidet foregå i praksis?</a:t>
            </a:r>
          </a:p>
          <a:p>
            <a:endParaRPr lang="nb-NO">
              <a:effectLst/>
            </a:endParaRPr>
          </a:p>
          <a:p>
            <a:r>
              <a:rPr lang="nb-NO">
                <a:effectLst/>
              </a:rPr>
              <a:t>Hvordan kan NAV bidra til høy </a:t>
            </a:r>
            <a:br>
              <a:rPr lang="nb-NO">
                <a:effectLst/>
              </a:rPr>
            </a:br>
            <a:r>
              <a:rPr lang="nb-NO">
                <a:effectLst/>
              </a:rPr>
              <a:t>sosial mobilitet blant barn og unge som vokser opp i familier med lav inntekt?</a:t>
            </a:r>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nb-NO"/>
              <a:t>Refleksjonsspørsmål</a:t>
            </a:r>
          </a:p>
        </p:txBody>
      </p:sp>
    </p:spTree>
    <p:extLst>
      <p:ext uri="{BB962C8B-B14F-4D97-AF65-F5344CB8AC3E}">
        <p14:creationId xmlns:p14="http://schemas.microsoft.com/office/powerpoint/2010/main" val="36732871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descr="Et bilde som inneholder person, innendørs&#10;&#10;Automatisk generert beskrivelse">
            <a:extLst>
              <a:ext uri="{FF2B5EF4-FFF2-40B4-BE49-F238E27FC236}">
                <a16:creationId xmlns:a16="http://schemas.microsoft.com/office/drawing/2014/main" id="{2A91B1C1-3BBA-2DDC-3030-6758A9E2021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64" y="-635001"/>
            <a:ext cx="12218264" cy="8145509"/>
          </a:xfrm>
          <a:prstGeom prst="rect">
            <a:avLst/>
          </a:prstGeom>
        </p:spPr>
      </p:pic>
      <p:sp>
        <p:nvSpPr>
          <p:cNvPr id="4" name="Ellipse 3">
            <a:extLst>
              <a:ext uri="{FF2B5EF4-FFF2-40B4-BE49-F238E27FC236}">
                <a16:creationId xmlns:a16="http://schemas.microsoft.com/office/drawing/2014/main" id="{8E9D161C-256A-16A4-CA2A-CA5481CDA753}"/>
              </a:ext>
            </a:extLst>
          </p:cNvPr>
          <p:cNvSpPr/>
          <p:nvPr/>
        </p:nvSpPr>
        <p:spPr>
          <a:xfrm>
            <a:off x="7594416" y="505853"/>
            <a:ext cx="3533502" cy="3472543"/>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DF73711E-FECE-0C40-85D5-01BB8BE771B0}"/>
              </a:ext>
            </a:extLst>
          </p:cNvPr>
          <p:cNvSpPr/>
          <p:nvPr/>
        </p:nvSpPr>
        <p:spPr>
          <a:xfrm>
            <a:off x="7510696" y="1567052"/>
            <a:ext cx="3715196" cy="1323439"/>
          </a:xfrm>
          <a:prstGeom prst="rect">
            <a:avLst/>
          </a:prstGeom>
        </p:spPr>
        <p:txBody>
          <a:bodyPr wrap="square">
            <a:spAutoFit/>
          </a:bodyPr>
          <a:lstStyle/>
          <a:p>
            <a:pPr algn="ctr"/>
            <a:r>
              <a:rPr lang="nb-NO" sz="8000" b="1">
                <a:solidFill>
                  <a:schemeClr val="bg1"/>
                </a:solidFill>
                <a:latin typeface="Arial"/>
                <a:cs typeface="Arial"/>
              </a:rPr>
              <a:t>Helse</a:t>
            </a:r>
            <a:endParaRPr lang="en-NO" sz="8000"/>
          </a:p>
        </p:txBody>
      </p:sp>
    </p:spTree>
    <p:extLst>
      <p:ext uri="{BB962C8B-B14F-4D97-AF65-F5344CB8AC3E}">
        <p14:creationId xmlns:p14="http://schemas.microsoft.com/office/powerpoint/2010/main" val="4571782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graphicFrame>
        <p:nvGraphicFramePr>
          <p:cNvPr id="7" name="Plassholder for innhold 3">
            <a:extLst>
              <a:ext uri="{FF2B5EF4-FFF2-40B4-BE49-F238E27FC236}">
                <a16:creationId xmlns:a16="http://schemas.microsoft.com/office/drawing/2014/main" id="{56AAC3D3-EE74-7729-CBFB-368C709FCA7D}"/>
              </a:ext>
            </a:extLst>
          </p:cNvPr>
          <p:cNvGraphicFramePr>
            <a:graphicFrameLocks/>
          </p:cNvGraphicFramePr>
          <p:nvPr>
            <p:extLst>
              <p:ext uri="{D42A27DB-BD31-4B8C-83A1-F6EECF244321}">
                <p14:modId xmlns:p14="http://schemas.microsoft.com/office/powerpoint/2010/main" val="1110074648"/>
              </p:ext>
            </p:extLst>
          </p:nvPr>
        </p:nvGraphicFramePr>
        <p:xfrm>
          <a:off x="6585857" y="1890501"/>
          <a:ext cx="5519057" cy="39769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0578A02A-AE97-4F49-B844-56624D85DBFF}"/>
              </a:ext>
            </a:extLst>
          </p:cNvPr>
          <p:cNvSpPr>
            <a:spLocks noGrp="1"/>
          </p:cNvSpPr>
          <p:nvPr>
            <p:ph type="title"/>
          </p:nvPr>
        </p:nvSpPr>
        <p:spPr/>
        <p:txBody>
          <a:bodyPr/>
          <a:lstStyle/>
          <a:p>
            <a:r>
              <a:rPr lang="nb-NO" noProof="0"/>
              <a:t>Vi lever lenger og blir friskere</a:t>
            </a:r>
          </a:p>
        </p:txBody>
      </p:sp>
      <p:sp>
        <p:nvSpPr>
          <p:cNvPr id="3" name="TekstSylinder 4">
            <a:extLst>
              <a:ext uri="{FF2B5EF4-FFF2-40B4-BE49-F238E27FC236}">
                <a16:creationId xmlns:a16="http://schemas.microsoft.com/office/drawing/2014/main" id="{8BD077CD-27E0-7147-98C6-B35E85553BF6}"/>
              </a:ext>
            </a:extLst>
          </p:cNvPr>
          <p:cNvSpPr txBox="1"/>
          <p:nvPr/>
        </p:nvSpPr>
        <p:spPr>
          <a:xfrm>
            <a:off x="9345385" y="6453515"/>
            <a:ext cx="2754488" cy="235898"/>
          </a:xfrm>
          <a:prstGeom prst="rect">
            <a:avLst/>
          </a:prstGeom>
          <a:noFill/>
        </p:spPr>
        <p:txBody>
          <a:bodyPr wrap="square" rtlCol="0">
            <a:spAutoFit/>
          </a:bodyPr>
          <a:lstStyle/>
          <a:p>
            <a:pPr algn="r"/>
            <a:r>
              <a:rPr lang="nb-NO" sz="933" b="1">
                <a:latin typeface="Arial" panose="020B0604020202020204" pitchFamily="34" charset="0"/>
                <a:cs typeface="Arial" panose="020B0604020202020204" pitchFamily="34" charset="0"/>
              </a:rPr>
              <a:t>Kilde:</a:t>
            </a:r>
            <a:r>
              <a:rPr lang="nb-NO" sz="933">
                <a:latin typeface="Arial" panose="020B0604020202020204" pitchFamily="34" charset="0"/>
                <a:cs typeface="Arial" panose="020B0604020202020204" pitchFamily="34" charset="0"/>
              </a:rPr>
              <a:t> SSB og Global </a:t>
            </a:r>
            <a:r>
              <a:rPr lang="nb-NO" sz="933" err="1">
                <a:latin typeface="Arial" panose="020B0604020202020204" pitchFamily="34" charset="0"/>
                <a:cs typeface="Arial" panose="020B0604020202020204" pitchFamily="34" charset="0"/>
              </a:rPr>
              <a:t>Burden</a:t>
            </a:r>
            <a:r>
              <a:rPr lang="nb-NO" sz="933">
                <a:latin typeface="Arial" panose="020B0604020202020204" pitchFamily="34" charset="0"/>
                <a:cs typeface="Arial" panose="020B0604020202020204" pitchFamily="34" charset="0"/>
              </a:rPr>
              <a:t> </a:t>
            </a:r>
            <a:r>
              <a:rPr lang="nb-NO" sz="933" err="1">
                <a:latin typeface="Arial" panose="020B0604020202020204" pitchFamily="34" charset="0"/>
                <a:cs typeface="Arial" panose="020B0604020202020204" pitchFamily="34" charset="0"/>
              </a:rPr>
              <a:t>of</a:t>
            </a:r>
            <a:r>
              <a:rPr lang="nb-NO" sz="933">
                <a:latin typeface="Arial" panose="020B0604020202020204" pitchFamily="34" charset="0"/>
                <a:cs typeface="Arial" panose="020B0604020202020204" pitchFamily="34" charset="0"/>
              </a:rPr>
              <a:t> </a:t>
            </a:r>
            <a:r>
              <a:rPr lang="nb-NO" sz="933" err="1">
                <a:latin typeface="Arial" panose="020B0604020202020204" pitchFamily="34" charset="0"/>
                <a:cs typeface="Arial" panose="020B0604020202020204" pitchFamily="34" charset="0"/>
              </a:rPr>
              <a:t>Disease</a:t>
            </a:r>
            <a:endParaRPr lang="nb-NO" sz="933">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E1AE967A-A554-4A58-9D1D-502BB9FD45E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1205" y="3686480"/>
            <a:ext cx="265984" cy="192471"/>
          </a:xfrm>
          <a:prstGeom prst="rect">
            <a:avLst/>
          </a:prstGeom>
        </p:spPr>
      </p:pic>
      <p:pic>
        <p:nvPicPr>
          <p:cNvPr id="10" name="Bilde 9">
            <a:extLst>
              <a:ext uri="{FF2B5EF4-FFF2-40B4-BE49-F238E27FC236}">
                <a16:creationId xmlns:a16="http://schemas.microsoft.com/office/drawing/2014/main" id="{8B501FB8-AFCB-4BC4-AFFB-130C4CF3C32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029990" y="4285624"/>
            <a:ext cx="265984" cy="194400"/>
          </a:xfrm>
          <a:prstGeom prst="rect">
            <a:avLst/>
          </a:prstGeom>
        </p:spPr>
      </p:pic>
      <p:pic>
        <p:nvPicPr>
          <p:cNvPr id="12" name="Bilde 11">
            <a:extLst>
              <a:ext uri="{FF2B5EF4-FFF2-40B4-BE49-F238E27FC236}">
                <a16:creationId xmlns:a16="http://schemas.microsoft.com/office/drawing/2014/main" id="{BFFF8115-2147-46C6-B20E-048164388C7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029990" y="4871738"/>
            <a:ext cx="258865" cy="194400"/>
          </a:xfrm>
          <a:prstGeom prst="rect">
            <a:avLst/>
          </a:prstGeom>
        </p:spPr>
      </p:pic>
      <p:pic>
        <p:nvPicPr>
          <p:cNvPr id="18" name="Bilde 17">
            <a:extLst>
              <a:ext uri="{FF2B5EF4-FFF2-40B4-BE49-F238E27FC236}">
                <a16:creationId xmlns:a16="http://schemas.microsoft.com/office/drawing/2014/main" id="{69DD0838-150F-41E0-9E72-46B89F55506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029990" y="4007878"/>
            <a:ext cx="258865" cy="194400"/>
          </a:xfrm>
          <a:prstGeom prst="rect">
            <a:avLst/>
          </a:prstGeom>
        </p:spPr>
      </p:pic>
      <p:pic>
        <p:nvPicPr>
          <p:cNvPr id="20" name="Bilde 19">
            <a:extLst>
              <a:ext uri="{FF2B5EF4-FFF2-40B4-BE49-F238E27FC236}">
                <a16:creationId xmlns:a16="http://schemas.microsoft.com/office/drawing/2014/main" id="{7E87418B-6A04-4FF2-B0A0-0EF08833F3C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1042977" y="4588202"/>
            <a:ext cx="258866" cy="194400"/>
          </a:xfrm>
          <a:prstGeom prst="rect">
            <a:avLst/>
          </a:prstGeom>
        </p:spPr>
      </p:pic>
      <p:sp>
        <p:nvSpPr>
          <p:cNvPr id="21" name="TekstSylinder 20">
            <a:extLst>
              <a:ext uri="{FF2B5EF4-FFF2-40B4-BE49-F238E27FC236}">
                <a16:creationId xmlns:a16="http://schemas.microsoft.com/office/drawing/2014/main" id="{79AB5564-05D1-4E0E-A01E-ED085BC1AE03}"/>
              </a:ext>
            </a:extLst>
          </p:cNvPr>
          <p:cNvSpPr txBox="1"/>
          <p:nvPr/>
        </p:nvSpPr>
        <p:spPr>
          <a:xfrm>
            <a:off x="501183" y="1485652"/>
            <a:ext cx="1073887" cy="276999"/>
          </a:xfrm>
          <a:prstGeom prst="rect">
            <a:avLst/>
          </a:prstGeom>
          <a:noFill/>
        </p:spPr>
        <p:txBody>
          <a:bodyPr wrap="square" rtlCol="0">
            <a:spAutoFit/>
          </a:bodyPr>
          <a:lstStyle/>
          <a:p>
            <a:r>
              <a:rPr lang="nb-NO" sz="1200">
                <a:latin typeface="Arial" panose="020B0604020202020204" pitchFamily="34" charset="0"/>
                <a:cs typeface="Arial" panose="020B0604020202020204" pitchFamily="34" charset="0"/>
              </a:rPr>
              <a:t>Levealder</a:t>
            </a:r>
          </a:p>
        </p:txBody>
      </p:sp>
      <p:sp>
        <p:nvSpPr>
          <p:cNvPr id="23" name="TekstSylinder 22">
            <a:extLst>
              <a:ext uri="{FF2B5EF4-FFF2-40B4-BE49-F238E27FC236}">
                <a16:creationId xmlns:a16="http://schemas.microsoft.com/office/drawing/2014/main" id="{8ECAB440-DFB3-48E8-8D1E-604544BA3851}"/>
              </a:ext>
            </a:extLst>
          </p:cNvPr>
          <p:cNvSpPr txBox="1"/>
          <p:nvPr/>
        </p:nvSpPr>
        <p:spPr>
          <a:xfrm>
            <a:off x="6386387" y="1509498"/>
            <a:ext cx="1073887" cy="276999"/>
          </a:xfrm>
          <a:prstGeom prst="rect">
            <a:avLst/>
          </a:prstGeom>
          <a:noFill/>
        </p:spPr>
        <p:txBody>
          <a:bodyPr wrap="square" rtlCol="0">
            <a:spAutoFit/>
          </a:bodyPr>
          <a:lstStyle/>
          <a:p>
            <a:r>
              <a:rPr lang="nb-NO" sz="1200">
                <a:latin typeface="Arial" panose="020B0604020202020204" pitchFamily="34" charset="0"/>
                <a:cs typeface="Arial" panose="020B0604020202020204" pitchFamily="34" charset="0"/>
              </a:rPr>
              <a:t>Levealder</a:t>
            </a:r>
          </a:p>
        </p:txBody>
      </p:sp>
      <p:graphicFrame>
        <p:nvGraphicFramePr>
          <p:cNvPr id="4" name="Diagram 3">
            <a:extLst>
              <a:ext uri="{FF2B5EF4-FFF2-40B4-BE49-F238E27FC236}">
                <a16:creationId xmlns:a16="http://schemas.microsoft.com/office/drawing/2014/main" id="{E729B72D-129C-CAEE-5CE5-B36ED0B3143D}"/>
              </a:ext>
            </a:extLst>
          </p:cNvPr>
          <p:cNvGraphicFramePr>
            <a:graphicFrameLocks/>
          </p:cNvGraphicFramePr>
          <p:nvPr>
            <p:extLst>
              <p:ext uri="{D42A27DB-BD31-4B8C-83A1-F6EECF244321}">
                <p14:modId xmlns:p14="http://schemas.microsoft.com/office/powerpoint/2010/main" val="3798473037"/>
              </p:ext>
            </p:extLst>
          </p:nvPr>
        </p:nvGraphicFramePr>
        <p:xfrm>
          <a:off x="501183" y="1890501"/>
          <a:ext cx="5104962" cy="39769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250717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pic>
        <p:nvPicPr>
          <p:cNvPr id="10" name="Plassholder for bilde 9" descr="Et bilde som inneholder utendørs, gress, tre, person&#10;&#10;Automatisk generert beskrivelse">
            <a:extLst>
              <a:ext uri="{FF2B5EF4-FFF2-40B4-BE49-F238E27FC236}">
                <a16:creationId xmlns:a16="http://schemas.microsoft.com/office/drawing/2014/main" id="{98C8328E-E31B-14F9-1B7B-111ED1620DE2}"/>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
        <p:nvSpPr>
          <p:cNvPr id="5" name="Tittel 1">
            <a:extLst>
              <a:ext uri="{FF2B5EF4-FFF2-40B4-BE49-F238E27FC236}">
                <a16:creationId xmlns:a16="http://schemas.microsoft.com/office/drawing/2014/main" id="{AA556F97-FF88-17BE-2EC2-2C023326A291}"/>
              </a:ext>
            </a:extLst>
          </p:cNvPr>
          <p:cNvSpPr>
            <a:spLocks noGrp="1"/>
          </p:cNvSpPr>
          <p:nvPr>
            <p:ph type="title"/>
          </p:nvPr>
        </p:nvSpPr>
        <p:spPr>
          <a:xfrm>
            <a:off x="747650" y="482400"/>
            <a:ext cx="10606150" cy="1072080"/>
          </a:xfrm>
        </p:spPr>
        <p:txBody>
          <a:bodyPr/>
          <a:lstStyle/>
          <a:p>
            <a:r>
              <a:rPr lang="nb-NO"/>
              <a:t>Aldringen gir utflating i sykdomsbyrden, </a:t>
            </a:r>
            <a:br>
              <a:rPr lang="nb-NO"/>
            </a:br>
            <a:r>
              <a:rPr lang="nb-NO"/>
              <a:t>men fortsatt nedgang i yrkesaktiv alder</a:t>
            </a:r>
          </a:p>
        </p:txBody>
      </p:sp>
      <p:sp>
        <p:nvSpPr>
          <p:cNvPr id="6" name="TekstSylinder 5">
            <a:extLst>
              <a:ext uri="{FF2B5EF4-FFF2-40B4-BE49-F238E27FC236}">
                <a16:creationId xmlns:a16="http://schemas.microsoft.com/office/drawing/2014/main" id="{280C8E6D-00CC-0624-172E-E3D3ECA2F6CE}"/>
              </a:ext>
            </a:extLst>
          </p:cNvPr>
          <p:cNvSpPr txBox="1"/>
          <p:nvPr/>
        </p:nvSpPr>
        <p:spPr>
          <a:xfrm>
            <a:off x="747650" y="1665601"/>
            <a:ext cx="6524006" cy="553998"/>
          </a:xfrm>
          <a:prstGeom prst="rect">
            <a:avLst/>
          </a:prstGeom>
          <a:noFill/>
        </p:spPr>
        <p:txBody>
          <a:bodyPr wrap="square" rtlCol="0">
            <a:spAutoFit/>
          </a:bodyPr>
          <a:lstStyle/>
          <a:p>
            <a:r>
              <a:rPr lang="nb-NO" sz="1800">
                <a:effectLst/>
                <a:latin typeface="Arial" panose="020B0604020202020204" pitchFamily="34" charset="0"/>
                <a:ea typeface="MS Mincho" panose="02020609040205080304" pitchFamily="49" charset="-128"/>
                <a:cs typeface="Times New Roman" panose="02020603050405020304" pitchFamily="18" charset="0"/>
              </a:rPr>
              <a:t>Sykdomsbyrde, framskrevet til 2035</a:t>
            </a:r>
          </a:p>
          <a:p>
            <a:r>
              <a:rPr lang="nb-NO" sz="1200">
                <a:effectLst/>
                <a:latin typeface="Arial" panose="020B0604020202020204" pitchFamily="34" charset="0"/>
                <a:ea typeface="MS Mincho" panose="02020609040205080304" pitchFamily="49" charset="-128"/>
                <a:cs typeface="Times New Roman" panose="02020603050405020304" pitchFamily="18" charset="0"/>
              </a:rPr>
              <a:t>(summen av tapte leveår og ikke-dødelig helsetap per 100 000 i befolkningen)</a:t>
            </a:r>
            <a:endParaRPr lang="nb-NO" sz="1200"/>
          </a:p>
        </p:txBody>
      </p:sp>
      <p:sp>
        <p:nvSpPr>
          <p:cNvPr id="7" name="TekstSylinder 6">
            <a:extLst>
              <a:ext uri="{FF2B5EF4-FFF2-40B4-BE49-F238E27FC236}">
                <a16:creationId xmlns:a16="http://schemas.microsoft.com/office/drawing/2014/main" id="{E62C91A5-6AC7-0B94-7B0F-4CEBE3ED9252}"/>
              </a:ext>
            </a:extLst>
          </p:cNvPr>
          <p:cNvSpPr txBox="1"/>
          <p:nvPr/>
        </p:nvSpPr>
        <p:spPr>
          <a:xfrm>
            <a:off x="3820314" y="6581001"/>
            <a:ext cx="2835998" cy="230832"/>
          </a:xfrm>
          <a:prstGeom prst="rect">
            <a:avLst/>
          </a:prstGeom>
          <a:noFill/>
        </p:spPr>
        <p:txBody>
          <a:bodyPr wrap="square">
            <a:spAutoFit/>
          </a:bodyPr>
          <a:lstStyle/>
          <a:p>
            <a:r>
              <a:rPr lang="nb-NO" sz="900">
                <a:effectLst/>
                <a:latin typeface="Arial" panose="020B0604020202020204" pitchFamily="34" charset="0"/>
                <a:ea typeface="MS Mincho" panose="02020609040205080304" pitchFamily="49" charset="-128"/>
                <a:cs typeface="Times New Roman" panose="02020603050405020304" pitchFamily="18" charset="0"/>
              </a:rPr>
              <a:t>Kilde: Global </a:t>
            </a:r>
            <a:r>
              <a:rPr lang="nb-NO" sz="900" err="1">
                <a:effectLst/>
                <a:latin typeface="Arial" panose="020B0604020202020204" pitchFamily="34" charset="0"/>
                <a:ea typeface="MS Mincho" panose="02020609040205080304" pitchFamily="49" charset="-128"/>
                <a:cs typeface="Times New Roman" panose="02020603050405020304" pitchFamily="18" charset="0"/>
              </a:rPr>
              <a:t>Burden</a:t>
            </a:r>
            <a:r>
              <a:rPr lang="nb-NO" sz="900">
                <a:effectLst/>
                <a:latin typeface="Arial" panose="020B0604020202020204" pitchFamily="34" charset="0"/>
                <a:ea typeface="MS Mincho" panose="02020609040205080304" pitchFamily="49" charset="-128"/>
                <a:cs typeface="Times New Roman" panose="02020603050405020304" pitchFamily="18" charset="0"/>
              </a:rPr>
              <a:t> </a:t>
            </a:r>
            <a:r>
              <a:rPr lang="nb-NO" sz="900" err="1">
                <a:effectLst/>
                <a:latin typeface="Arial" panose="020B0604020202020204" pitchFamily="34" charset="0"/>
                <a:ea typeface="MS Mincho" panose="02020609040205080304" pitchFamily="49" charset="-128"/>
                <a:cs typeface="Times New Roman" panose="02020603050405020304" pitchFamily="18" charset="0"/>
              </a:rPr>
              <a:t>of</a:t>
            </a:r>
            <a:r>
              <a:rPr lang="nb-NO" sz="900">
                <a:effectLst/>
                <a:latin typeface="Arial" panose="020B0604020202020204" pitchFamily="34" charset="0"/>
                <a:ea typeface="MS Mincho" panose="02020609040205080304" pitchFamily="49" charset="-128"/>
                <a:cs typeface="Times New Roman" panose="02020603050405020304" pitchFamily="18" charset="0"/>
              </a:rPr>
              <a:t> </a:t>
            </a:r>
            <a:r>
              <a:rPr lang="nb-NO" sz="900" err="1">
                <a:effectLst/>
                <a:latin typeface="Arial" panose="020B0604020202020204" pitchFamily="34" charset="0"/>
                <a:ea typeface="MS Mincho" panose="02020609040205080304" pitchFamily="49" charset="-128"/>
                <a:cs typeface="Times New Roman" panose="02020603050405020304" pitchFamily="18" charset="0"/>
              </a:rPr>
              <a:t>Disease</a:t>
            </a:r>
            <a:r>
              <a:rPr lang="nb-NO" sz="900">
                <a:effectLst/>
                <a:latin typeface="Arial" panose="020B0604020202020204" pitchFamily="34" charset="0"/>
                <a:ea typeface="MS Mincho" panose="02020609040205080304" pitchFamily="49" charset="-128"/>
                <a:cs typeface="Times New Roman" panose="02020603050405020304" pitchFamily="18" charset="0"/>
              </a:rPr>
              <a:t>-prosjektet</a:t>
            </a:r>
          </a:p>
        </p:txBody>
      </p:sp>
      <p:graphicFrame>
        <p:nvGraphicFramePr>
          <p:cNvPr id="8" name="Diagram 7">
            <a:extLst>
              <a:ext uri="{FF2B5EF4-FFF2-40B4-BE49-F238E27FC236}">
                <a16:creationId xmlns:a16="http://schemas.microsoft.com/office/drawing/2014/main" id="{B40B6407-185A-E8EE-2199-67C7D8153637}"/>
              </a:ext>
            </a:extLst>
          </p:cNvPr>
          <p:cNvGraphicFramePr/>
          <p:nvPr/>
        </p:nvGraphicFramePr>
        <p:xfrm>
          <a:off x="747650" y="2425000"/>
          <a:ext cx="5979074" cy="39506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40334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5D43E1-3233-814B-91CB-3E108DFF8216}"/>
              </a:ext>
            </a:extLst>
          </p:cNvPr>
          <p:cNvSpPr>
            <a:spLocks noGrp="1"/>
          </p:cNvSpPr>
          <p:nvPr>
            <p:ph type="title" idx="4294967295"/>
          </p:nvPr>
        </p:nvSpPr>
        <p:spPr>
          <a:xfrm>
            <a:off x="0" y="241300"/>
            <a:ext cx="12192000" cy="1261533"/>
          </a:xfrm>
        </p:spPr>
        <p:txBody>
          <a:bodyPr>
            <a:normAutofit/>
          </a:bodyPr>
          <a:lstStyle/>
          <a:p>
            <a:pPr algn="ctr"/>
            <a:r>
              <a:rPr lang="nb-NO">
                <a:solidFill>
                  <a:schemeClr val="tx1"/>
                </a:solidFill>
              </a:rPr>
              <a:t>Fra framtidsvisjon til å levere endring</a:t>
            </a:r>
          </a:p>
        </p:txBody>
      </p:sp>
      <p:sp>
        <p:nvSpPr>
          <p:cNvPr id="7" name="Likebent trekant 4">
            <a:extLst>
              <a:ext uri="{FF2B5EF4-FFF2-40B4-BE49-F238E27FC236}">
                <a16:creationId xmlns:a16="http://schemas.microsoft.com/office/drawing/2014/main" id="{F8FE29AC-4DDD-1E46-BB18-BCCB91B40B7B}"/>
              </a:ext>
            </a:extLst>
          </p:cNvPr>
          <p:cNvSpPr/>
          <p:nvPr/>
        </p:nvSpPr>
        <p:spPr>
          <a:xfrm rot="16200000">
            <a:off x="2951652" y="821288"/>
            <a:ext cx="1776197" cy="4512501"/>
          </a:xfrm>
          <a:prstGeom prst="triangl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8" name="Likebent trekant 5">
            <a:extLst>
              <a:ext uri="{FF2B5EF4-FFF2-40B4-BE49-F238E27FC236}">
                <a16:creationId xmlns:a16="http://schemas.microsoft.com/office/drawing/2014/main" id="{716BB0AC-55B5-C14A-A0E7-873105BC1607}"/>
              </a:ext>
            </a:extLst>
          </p:cNvPr>
          <p:cNvSpPr/>
          <p:nvPr/>
        </p:nvSpPr>
        <p:spPr>
          <a:xfrm rot="5400000">
            <a:off x="7452863" y="831359"/>
            <a:ext cx="1776197" cy="4512501"/>
          </a:xfrm>
          <a:prstGeom prst="triangle">
            <a:avLst/>
          </a:prstGeom>
          <a:solidFill>
            <a:srgbClr val="FFB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9" name="Likebent trekant 6">
            <a:extLst>
              <a:ext uri="{FF2B5EF4-FFF2-40B4-BE49-F238E27FC236}">
                <a16:creationId xmlns:a16="http://schemas.microsoft.com/office/drawing/2014/main" id="{7846966C-837A-E242-9524-33C475CD172F}"/>
              </a:ext>
            </a:extLst>
          </p:cNvPr>
          <p:cNvSpPr/>
          <p:nvPr/>
        </p:nvSpPr>
        <p:spPr>
          <a:xfrm rot="16200000">
            <a:off x="2316141" y="1813933"/>
            <a:ext cx="983917" cy="2529243"/>
          </a:xfrm>
          <a:prstGeom prst="triangle">
            <a:avLst/>
          </a:prstGeom>
          <a:solidFill>
            <a:srgbClr val="CCE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10" name="Likebent trekant 7">
            <a:extLst>
              <a:ext uri="{FF2B5EF4-FFF2-40B4-BE49-F238E27FC236}">
                <a16:creationId xmlns:a16="http://schemas.microsoft.com/office/drawing/2014/main" id="{E0B8D9E6-C4DD-6340-B991-2DB8DBB9FA83}"/>
              </a:ext>
            </a:extLst>
          </p:cNvPr>
          <p:cNvSpPr/>
          <p:nvPr/>
        </p:nvSpPr>
        <p:spPr>
          <a:xfrm rot="5400000">
            <a:off x="8743767" y="1771650"/>
            <a:ext cx="1024891" cy="2623969"/>
          </a:xfrm>
          <a:prstGeom prst="triangle">
            <a:avLst/>
          </a:prstGeom>
          <a:solidFill>
            <a:srgbClr val="FFD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11" name="Rektangel 8">
            <a:extLst>
              <a:ext uri="{FF2B5EF4-FFF2-40B4-BE49-F238E27FC236}">
                <a16:creationId xmlns:a16="http://schemas.microsoft.com/office/drawing/2014/main" id="{9987018A-A69F-A14F-9E4A-39BAFC10A02A}"/>
              </a:ext>
            </a:extLst>
          </p:cNvPr>
          <p:cNvSpPr/>
          <p:nvPr/>
        </p:nvSpPr>
        <p:spPr>
          <a:xfrm>
            <a:off x="2311566" y="2753504"/>
            <a:ext cx="1768215"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nb-NO" sz="1400">
                <a:solidFill>
                  <a:srgbClr val="3E3832"/>
                </a:solidFill>
                <a:latin typeface="Arial"/>
              </a:rPr>
              <a:t>Omverdensanalyse</a:t>
            </a:r>
          </a:p>
        </p:txBody>
      </p:sp>
      <p:sp>
        <p:nvSpPr>
          <p:cNvPr id="12" name="Rektangel 9">
            <a:extLst>
              <a:ext uri="{FF2B5EF4-FFF2-40B4-BE49-F238E27FC236}">
                <a16:creationId xmlns:a16="http://schemas.microsoft.com/office/drawing/2014/main" id="{EB3A7294-2CD0-4E48-BD39-998F60C42606}"/>
              </a:ext>
            </a:extLst>
          </p:cNvPr>
          <p:cNvSpPr/>
          <p:nvPr/>
        </p:nvSpPr>
        <p:spPr>
          <a:xfrm>
            <a:off x="4072722" y="2765736"/>
            <a:ext cx="2023278"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nb-NO" sz="1400">
                <a:solidFill>
                  <a:srgbClr val="3E3832"/>
                </a:solidFill>
                <a:latin typeface="Arial"/>
              </a:rPr>
              <a:t>Virksomhets-</a:t>
            </a:r>
            <a:br>
              <a:rPr lang="nb-NO" sz="1400">
                <a:solidFill>
                  <a:srgbClr val="3E3832"/>
                </a:solidFill>
                <a:latin typeface="Arial"/>
              </a:rPr>
            </a:br>
            <a:r>
              <a:rPr lang="nb-NO" sz="1400">
                <a:solidFill>
                  <a:srgbClr val="3E3832"/>
                </a:solidFill>
                <a:latin typeface="Arial"/>
              </a:rPr>
              <a:t>strategi</a:t>
            </a:r>
          </a:p>
        </p:txBody>
      </p:sp>
      <p:sp>
        <p:nvSpPr>
          <p:cNvPr id="13" name="Rektangel 10">
            <a:extLst>
              <a:ext uri="{FF2B5EF4-FFF2-40B4-BE49-F238E27FC236}">
                <a16:creationId xmlns:a16="http://schemas.microsoft.com/office/drawing/2014/main" id="{B5983949-8F97-FB42-9D6C-A4694B83047E}"/>
              </a:ext>
            </a:extLst>
          </p:cNvPr>
          <p:cNvSpPr/>
          <p:nvPr/>
        </p:nvSpPr>
        <p:spPr>
          <a:xfrm>
            <a:off x="6084710" y="2794088"/>
            <a:ext cx="1859517"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nb-NO" sz="1400">
                <a:solidFill>
                  <a:srgbClr val="3E3832"/>
                </a:solidFill>
                <a:latin typeface="Arial"/>
              </a:rPr>
              <a:t>Strategiske prioriteringer (3 år)</a:t>
            </a:r>
          </a:p>
        </p:txBody>
      </p:sp>
      <p:sp>
        <p:nvSpPr>
          <p:cNvPr id="14" name="Rektangel 11">
            <a:extLst>
              <a:ext uri="{FF2B5EF4-FFF2-40B4-BE49-F238E27FC236}">
                <a16:creationId xmlns:a16="http://schemas.microsoft.com/office/drawing/2014/main" id="{EC8AE87B-A22D-D54C-9DA4-194DDEAFB745}"/>
              </a:ext>
            </a:extLst>
          </p:cNvPr>
          <p:cNvSpPr/>
          <p:nvPr/>
        </p:nvSpPr>
        <p:spPr>
          <a:xfrm>
            <a:off x="8003401" y="2725926"/>
            <a:ext cx="1768215"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nb-NO" sz="1200">
                <a:solidFill>
                  <a:srgbClr val="3E3832"/>
                </a:solidFill>
                <a:latin typeface="Arial"/>
              </a:rPr>
              <a:t>Årlig budsjett og </a:t>
            </a:r>
          </a:p>
          <a:p>
            <a:pPr algn="ctr" defTabSz="1219140">
              <a:defRPr/>
            </a:pPr>
            <a:r>
              <a:rPr lang="nb-NO" sz="1200">
                <a:solidFill>
                  <a:srgbClr val="3E3832"/>
                </a:solidFill>
                <a:latin typeface="Arial"/>
              </a:rPr>
              <a:t>mål- og disponeringsbrev</a:t>
            </a:r>
          </a:p>
        </p:txBody>
      </p:sp>
      <p:sp>
        <p:nvSpPr>
          <p:cNvPr id="15" name="Rektangel 18">
            <a:extLst>
              <a:ext uri="{FF2B5EF4-FFF2-40B4-BE49-F238E27FC236}">
                <a16:creationId xmlns:a16="http://schemas.microsoft.com/office/drawing/2014/main" id="{98B825BA-ACF9-8044-8DFD-79A4AA814341}"/>
              </a:ext>
            </a:extLst>
          </p:cNvPr>
          <p:cNvSpPr/>
          <p:nvPr/>
        </p:nvSpPr>
        <p:spPr>
          <a:xfrm>
            <a:off x="422608" y="2725927"/>
            <a:ext cx="1176123"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nb-NO" sz="1867">
                <a:solidFill>
                  <a:srgbClr val="000000"/>
                </a:solidFill>
                <a:latin typeface="Arial"/>
              </a:rPr>
              <a:t>Sette retning</a:t>
            </a:r>
          </a:p>
        </p:txBody>
      </p:sp>
      <p:sp>
        <p:nvSpPr>
          <p:cNvPr id="16" name="Rektangel 21">
            <a:extLst>
              <a:ext uri="{FF2B5EF4-FFF2-40B4-BE49-F238E27FC236}">
                <a16:creationId xmlns:a16="http://schemas.microsoft.com/office/drawing/2014/main" id="{3A9D1BC7-F281-7642-9631-C2F133C346FF}"/>
              </a:ext>
            </a:extLst>
          </p:cNvPr>
          <p:cNvSpPr/>
          <p:nvPr/>
        </p:nvSpPr>
        <p:spPr>
          <a:xfrm>
            <a:off x="10554365" y="2741499"/>
            <a:ext cx="1383396"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nb-NO" sz="1867">
                <a:solidFill>
                  <a:srgbClr val="000000"/>
                </a:solidFill>
                <a:latin typeface="Arial"/>
              </a:rPr>
              <a:t>Levere endring</a:t>
            </a:r>
          </a:p>
        </p:txBody>
      </p:sp>
      <p:sp>
        <p:nvSpPr>
          <p:cNvPr id="17" name="Rektangel 1">
            <a:extLst>
              <a:ext uri="{FF2B5EF4-FFF2-40B4-BE49-F238E27FC236}">
                <a16:creationId xmlns:a16="http://schemas.microsoft.com/office/drawing/2014/main" id="{45308044-E402-D84A-9B29-E7172BC95603}"/>
              </a:ext>
            </a:extLst>
          </p:cNvPr>
          <p:cNvSpPr/>
          <p:nvPr/>
        </p:nvSpPr>
        <p:spPr>
          <a:xfrm>
            <a:off x="5934418" y="3424490"/>
            <a:ext cx="261610" cy="461665"/>
          </a:xfrm>
          <a:prstGeom prst="rect">
            <a:avLst/>
          </a:prstGeom>
        </p:spPr>
        <p:txBody>
          <a:bodyPr wrap="none">
            <a:spAutoFit/>
          </a:bodyPr>
          <a:lstStyle/>
          <a:p>
            <a:pPr defTabSz="1219140">
              <a:defRPr/>
            </a:pPr>
            <a:r>
              <a:rPr lang="nb-NO" sz="2400">
                <a:solidFill>
                  <a:srgbClr val="000000"/>
                </a:solidFill>
                <a:latin typeface="Times New Roman" panose="02020603050405020304" pitchFamily="18" charset="0"/>
              </a:rPr>
              <a:t> </a:t>
            </a:r>
            <a:endParaRPr lang="nb-NO" sz="2400">
              <a:solidFill>
                <a:srgbClr val="3E3832"/>
              </a:solidFill>
              <a:latin typeface="Arial"/>
            </a:endParaRPr>
          </a:p>
        </p:txBody>
      </p:sp>
      <p:sp>
        <p:nvSpPr>
          <p:cNvPr id="20" name="Rektangel 15">
            <a:extLst>
              <a:ext uri="{FF2B5EF4-FFF2-40B4-BE49-F238E27FC236}">
                <a16:creationId xmlns:a16="http://schemas.microsoft.com/office/drawing/2014/main" id="{89D3E22F-0AB2-9B48-88B8-046228D1D6A0}"/>
              </a:ext>
            </a:extLst>
          </p:cNvPr>
          <p:cNvSpPr/>
          <p:nvPr/>
        </p:nvSpPr>
        <p:spPr>
          <a:xfrm>
            <a:off x="4399235" y="4569241"/>
            <a:ext cx="1535183" cy="1336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lnSpc>
                <a:spcPts val="1600"/>
              </a:lnSpc>
              <a:defRPr/>
            </a:pPr>
            <a:r>
              <a:rPr lang="nb-NO" sz="1467" b="1">
                <a:solidFill>
                  <a:srgbClr val="3E3832"/>
                </a:solidFill>
                <a:latin typeface="Arial"/>
              </a:rPr>
              <a:t>Strategi</a:t>
            </a:r>
          </a:p>
          <a:p>
            <a:pPr algn="ctr" defTabSz="1219140">
              <a:defRPr/>
            </a:pPr>
            <a:r>
              <a:rPr lang="nb-NO" sz="1067" err="1">
                <a:solidFill>
                  <a:srgbClr val="3E3832"/>
                </a:solidFill>
                <a:latin typeface="Arial"/>
              </a:rPr>
              <a:t>Framtidsbilde</a:t>
            </a:r>
            <a:r>
              <a:rPr lang="nb-NO" sz="1067">
                <a:solidFill>
                  <a:srgbClr val="3E3832"/>
                </a:solidFill>
                <a:latin typeface="Arial"/>
              </a:rPr>
              <a:t> for NAV (10 år) med 4 strategiske ambisjoner</a:t>
            </a:r>
            <a:endParaRPr lang="nb-NO" sz="1067">
              <a:solidFill>
                <a:srgbClr val="3E3832"/>
              </a:solidFill>
              <a:latin typeface="Arial"/>
              <a:cs typeface="Arial"/>
            </a:endParaRPr>
          </a:p>
        </p:txBody>
      </p:sp>
      <p:sp>
        <p:nvSpPr>
          <p:cNvPr id="22" name="Rektangel 17">
            <a:extLst>
              <a:ext uri="{FF2B5EF4-FFF2-40B4-BE49-F238E27FC236}">
                <a16:creationId xmlns:a16="http://schemas.microsoft.com/office/drawing/2014/main" id="{1468A28C-0578-664C-B877-81651DE1A7F7}"/>
              </a:ext>
            </a:extLst>
          </p:cNvPr>
          <p:cNvSpPr/>
          <p:nvPr/>
        </p:nvSpPr>
        <p:spPr>
          <a:xfrm>
            <a:off x="6220654" y="4544221"/>
            <a:ext cx="1717161" cy="1336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lnSpc>
                <a:spcPts val="1600"/>
              </a:lnSpc>
              <a:defRPr/>
            </a:pPr>
            <a:r>
              <a:rPr lang="nb-NO" sz="1467" b="1">
                <a:solidFill>
                  <a:srgbClr val="3E3832"/>
                </a:solidFill>
                <a:latin typeface="Arial"/>
              </a:rPr>
              <a:t>Strategiske prioriteringer</a:t>
            </a:r>
          </a:p>
          <a:p>
            <a:pPr algn="ctr" defTabSz="1219140">
              <a:defRPr/>
            </a:pPr>
            <a:r>
              <a:rPr lang="nb-NO" sz="1067">
                <a:solidFill>
                  <a:srgbClr val="3E3832"/>
                </a:solidFill>
                <a:latin typeface="Arial"/>
              </a:rPr>
              <a:t>Beskriver hva NAV skal oppnå innen 3 år. Rulleres årlig og følges opp gjennom målbare suksesskriterier</a:t>
            </a:r>
          </a:p>
        </p:txBody>
      </p:sp>
      <p:sp>
        <p:nvSpPr>
          <p:cNvPr id="24" name="Rektangel 20">
            <a:extLst>
              <a:ext uri="{FF2B5EF4-FFF2-40B4-BE49-F238E27FC236}">
                <a16:creationId xmlns:a16="http://schemas.microsoft.com/office/drawing/2014/main" id="{83155C1D-6ADF-A34B-A86F-1AB0A82AB48D}"/>
              </a:ext>
            </a:extLst>
          </p:cNvPr>
          <p:cNvSpPr/>
          <p:nvPr/>
        </p:nvSpPr>
        <p:spPr>
          <a:xfrm>
            <a:off x="8147709" y="4544221"/>
            <a:ext cx="1944558" cy="1057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defRPr/>
            </a:pPr>
            <a:r>
              <a:rPr lang="nb-NO" sz="1467" b="1">
                <a:solidFill>
                  <a:srgbClr val="3E3832"/>
                </a:solidFill>
                <a:latin typeface="Arial"/>
              </a:rPr>
              <a:t>Årlig budsjett og </a:t>
            </a:r>
            <a:br>
              <a:rPr lang="nb-NO" sz="1467" b="1">
                <a:solidFill>
                  <a:srgbClr val="3E3832"/>
                </a:solidFill>
                <a:latin typeface="Arial"/>
              </a:rPr>
            </a:br>
            <a:r>
              <a:rPr lang="nb-NO" sz="1467" b="1">
                <a:solidFill>
                  <a:srgbClr val="3E3832"/>
                </a:solidFill>
                <a:latin typeface="Arial"/>
              </a:rPr>
              <a:t>MD-brev</a:t>
            </a:r>
          </a:p>
          <a:p>
            <a:pPr algn="ctr" defTabSz="1219140">
              <a:defRPr/>
            </a:pPr>
            <a:r>
              <a:rPr lang="nb-NO" sz="1067">
                <a:solidFill>
                  <a:srgbClr val="3E3832"/>
                </a:solidFill>
                <a:latin typeface="Arial"/>
              </a:rPr>
              <a:t>Årlige prioriteringer vil bli gitt gjennom mål- og disponeringsbrev på ulike nivåer i etaten og påvirker prioriteringer i driftsbudsjettene</a:t>
            </a:r>
          </a:p>
        </p:txBody>
      </p:sp>
      <p:sp>
        <p:nvSpPr>
          <p:cNvPr id="26" name="Rektangel 24">
            <a:extLst>
              <a:ext uri="{FF2B5EF4-FFF2-40B4-BE49-F238E27FC236}">
                <a16:creationId xmlns:a16="http://schemas.microsoft.com/office/drawing/2014/main" id="{514EC3E6-EA85-2144-8915-9BE3C0336092}"/>
              </a:ext>
            </a:extLst>
          </p:cNvPr>
          <p:cNvSpPr/>
          <p:nvPr/>
        </p:nvSpPr>
        <p:spPr>
          <a:xfrm>
            <a:off x="5934418" y="3061965"/>
            <a:ext cx="261610" cy="461665"/>
          </a:xfrm>
          <a:prstGeom prst="rect">
            <a:avLst/>
          </a:prstGeom>
        </p:spPr>
        <p:txBody>
          <a:bodyPr wrap="none">
            <a:spAutoFit/>
          </a:bodyPr>
          <a:lstStyle/>
          <a:p>
            <a:pPr defTabSz="1219140">
              <a:defRPr/>
            </a:pPr>
            <a:r>
              <a:rPr lang="nb-NO" sz="2400">
                <a:solidFill>
                  <a:srgbClr val="000000"/>
                </a:solidFill>
                <a:latin typeface="Times New Roman" panose="02020603050405020304" pitchFamily="18" charset="0"/>
              </a:rPr>
              <a:t> </a:t>
            </a:r>
            <a:endParaRPr lang="nb-NO" sz="2400">
              <a:solidFill>
                <a:srgbClr val="3E3832"/>
              </a:solidFill>
              <a:latin typeface="Arial"/>
            </a:endParaRPr>
          </a:p>
        </p:txBody>
      </p:sp>
      <p:cxnSp>
        <p:nvCxnSpPr>
          <p:cNvPr id="3" name="Rett linje 2">
            <a:extLst>
              <a:ext uri="{FF2B5EF4-FFF2-40B4-BE49-F238E27FC236}">
                <a16:creationId xmlns:a16="http://schemas.microsoft.com/office/drawing/2014/main" id="{5C21425A-7D5D-4A2F-9D5D-0BFE08268B0C}"/>
              </a:ext>
            </a:extLst>
          </p:cNvPr>
          <p:cNvCxnSpPr>
            <a:cxnSpLocks/>
          </p:cNvCxnSpPr>
          <p:nvPr/>
        </p:nvCxnSpPr>
        <p:spPr>
          <a:xfrm>
            <a:off x="2257956" y="4335919"/>
            <a:ext cx="1651699" cy="0"/>
          </a:xfrm>
          <a:prstGeom prst="line">
            <a:avLst/>
          </a:prstGeom>
        </p:spPr>
        <p:style>
          <a:lnRef idx="1">
            <a:schemeClr val="dk1"/>
          </a:lnRef>
          <a:fillRef idx="0">
            <a:schemeClr val="dk1"/>
          </a:fillRef>
          <a:effectRef idx="0">
            <a:schemeClr val="dk1"/>
          </a:effectRef>
          <a:fontRef idx="minor">
            <a:schemeClr val="tx1"/>
          </a:fontRef>
        </p:style>
      </p:cxnSp>
      <p:cxnSp>
        <p:nvCxnSpPr>
          <p:cNvPr id="31" name="Rett linje 30">
            <a:extLst>
              <a:ext uri="{FF2B5EF4-FFF2-40B4-BE49-F238E27FC236}">
                <a16:creationId xmlns:a16="http://schemas.microsoft.com/office/drawing/2014/main" id="{592C413E-EE8F-4557-A913-99405C056DF5}"/>
              </a:ext>
            </a:extLst>
          </p:cNvPr>
          <p:cNvCxnSpPr>
            <a:cxnSpLocks/>
          </p:cNvCxnSpPr>
          <p:nvPr/>
        </p:nvCxnSpPr>
        <p:spPr>
          <a:xfrm>
            <a:off x="4282719" y="4335919"/>
            <a:ext cx="1651699" cy="0"/>
          </a:xfrm>
          <a:prstGeom prst="line">
            <a:avLst/>
          </a:prstGeom>
        </p:spPr>
        <p:style>
          <a:lnRef idx="1">
            <a:schemeClr val="dk1"/>
          </a:lnRef>
          <a:fillRef idx="0">
            <a:schemeClr val="dk1"/>
          </a:fillRef>
          <a:effectRef idx="0">
            <a:schemeClr val="dk1"/>
          </a:effectRef>
          <a:fontRef idx="minor">
            <a:schemeClr val="tx1"/>
          </a:fontRef>
        </p:style>
      </p:cxnSp>
      <p:cxnSp>
        <p:nvCxnSpPr>
          <p:cNvPr id="32" name="Rett linje 31">
            <a:extLst>
              <a:ext uri="{FF2B5EF4-FFF2-40B4-BE49-F238E27FC236}">
                <a16:creationId xmlns:a16="http://schemas.microsoft.com/office/drawing/2014/main" id="{69EE6B9D-F0DC-437F-B55D-4371281E82B6}"/>
              </a:ext>
            </a:extLst>
          </p:cNvPr>
          <p:cNvCxnSpPr>
            <a:cxnSpLocks/>
          </p:cNvCxnSpPr>
          <p:nvPr/>
        </p:nvCxnSpPr>
        <p:spPr>
          <a:xfrm>
            <a:off x="6235860" y="4335919"/>
            <a:ext cx="1651699" cy="0"/>
          </a:xfrm>
          <a:prstGeom prst="line">
            <a:avLst/>
          </a:prstGeom>
        </p:spPr>
        <p:style>
          <a:lnRef idx="1">
            <a:schemeClr val="dk1"/>
          </a:lnRef>
          <a:fillRef idx="0">
            <a:schemeClr val="dk1"/>
          </a:fillRef>
          <a:effectRef idx="0">
            <a:schemeClr val="dk1"/>
          </a:effectRef>
          <a:fontRef idx="minor">
            <a:schemeClr val="tx1"/>
          </a:fontRef>
        </p:style>
      </p:cxnSp>
      <p:cxnSp>
        <p:nvCxnSpPr>
          <p:cNvPr id="33" name="Rett linje 32">
            <a:extLst>
              <a:ext uri="{FF2B5EF4-FFF2-40B4-BE49-F238E27FC236}">
                <a16:creationId xmlns:a16="http://schemas.microsoft.com/office/drawing/2014/main" id="{02921945-F4B7-44C1-ABA6-9C1D19CC2CAF}"/>
              </a:ext>
            </a:extLst>
          </p:cNvPr>
          <p:cNvCxnSpPr>
            <a:cxnSpLocks/>
          </p:cNvCxnSpPr>
          <p:nvPr/>
        </p:nvCxnSpPr>
        <p:spPr>
          <a:xfrm>
            <a:off x="8205965" y="4335919"/>
            <a:ext cx="1828043" cy="0"/>
          </a:xfrm>
          <a:prstGeom prst="line">
            <a:avLst/>
          </a:prstGeom>
        </p:spPr>
        <p:style>
          <a:lnRef idx="1">
            <a:schemeClr val="dk1"/>
          </a:lnRef>
          <a:fillRef idx="0">
            <a:schemeClr val="dk1"/>
          </a:fillRef>
          <a:effectRef idx="0">
            <a:schemeClr val="dk1"/>
          </a:effectRef>
          <a:fontRef idx="minor">
            <a:schemeClr val="tx1"/>
          </a:fontRef>
        </p:style>
      </p:cxnSp>
      <p:sp>
        <p:nvSpPr>
          <p:cNvPr id="2" name="Ellipse 1">
            <a:extLst>
              <a:ext uri="{FF2B5EF4-FFF2-40B4-BE49-F238E27FC236}">
                <a16:creationId xmlns:a16="http://schemas.microsoft.com/office/drawing/2014/main" id="{CDE99F9A-6019-AF0C-C752-F0F9AC802DCE}"/>
              </a:ext>
            </a:extLst>
          </p:cNvPr>
          <p:cNvSpPr/>
          <p:nvPr/>
        </p:nvSpPr>
        <p:spPr>
          <a:xfrm>
            <a:off x="1905757" y="1715910"/>
            <a:ext cx="2291616" cy="4368799"/>
          </a:xfrm>
          <a:prstGeom prst="ellipse">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ktangel 14">
            <a:extLst>
              <a:ext uri="{FF2B5EF4-FFF2-40B4-BE49-F238E27FC236}">
                <a16:creationId xmlns:a16="http://schemas.microsoft.com/office/drawing/2014/main" id="{38019699-7636-D641-959E-0B01D4430B5B}"/>
              </a:ext>
            </a:extLst>
          </p:cNvPr>
          <p:cNvSpPr/>
          <p:nvPr/>
        </p:nvSpPr>
        <p:spPr>
          <a:xfrm>
            <a:off x="1905757" y="4544221"/>
            <a:ext cx="2236592" cy="1480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defRPr/>
            </a:pPr>
            <a:r>
              <a:rPr lang="nb-NO" sz="1467" b="1">
                <a:solidFill>
                  <a:srgbClr val="3E3832"/>
                </a:solidFill>
                <a:latin typeface="Arial"/>
              </a:rPr>
              <a:t>Omverdensanalysen</a:t>
            </a:r>
          </a:p>
          <a:p>
            <a:pPr algn="ctr" defTabSz="1219140">
              <a:defRPr/>
            </a:pPr>
            <a:r>
              <a:rPr lang="nb-NO" sz="1067">
                <a:solidFill>
                  <a:srgbClr val="3E3832"/>
                </a:solidFill>
                <a:latin typeface="Arial"/>
              </a:rPr>
              <a:t>De viktigste samfunnstrendene</a:t>
            </a:r>
          </a:p>
          <a:p>
            <a:pPr algn="ctr" defTabSz="1219140">
              <a:defRPr/>
            </a:pPr>
            <a:r>
              <a:rPr lang="nb-NO" sz="1067">
                <a:solidFill>
                  <a:srgbClr val="3E3832"/>
                </a:solidFill>
                <a:latin typeface="Arial"/>
              </a:rPr>
              <a:t> som vil påvirke arbeids- </a:t>
            </a:r>
            <a:br>
              <a:rPr lang="nb-NO" sz="1067">
                <a:solidFill>
                  <a:srgbClr val="3E3832"/>
                </a:solidFill>
                <a:latin typeface="Arial"/>
              </a:rPr>
            </a:br>
            <a:r>
              <a:rPr lang="nb-NO" sz="1067">
                <a:solidFill>
                  <a:srgbClr val="3E3832"/>
                </a:solidFill>
                <a:latin typeface="Arial"/>
              </a:rPr>
              <a:t>og velferdsområdet fram til </a:t>
            </a:r>
            <a:br>
              <a:rPr lang="nb-NO" sz="1067">
                <a:solidFill>
                  <a:srgbClr val="3E3832"/>
                </a:solidFill>
                <a:latin typeface="Arial"/>
              </a:rPr>
            </a:br>
            <a:r>
              <a:rPr lang="nb-NO" sz="1067">
                <a:solidFill>
                  <a:srgbClr val="3E3832"/>
                </a:solidFill>
                <a:latin typeface="Arial"/>
              </a:rPr>
              <a:t>2035 og konsekvenser </a:t>
            </a:r>
            <a:br>
              <a:rPr lang="nb-NO" sz="1067">
                <a:solidFill>
                  <a:srgbClr val="3E3832"/>
                </a:solidFill>
                <a:latin typeface="Arial"/>
              </a:rPr>
            </a:br>
            <a:r>
              <a:rPr lang="nb-NO" sz="1067">
                <a:solidFill>
                  <a:srgbClr val="3E3832"/>
                </a:solidFill>
                <a:latin typeface="Arial"/>
              </a:rPr>
              <a:t>for NAV </a:t>
            </a:r>
            <a:endParaRPr lang="nb-NO" sz="1067">
              <a:solidFill>
                <a:srgbClr val="3E3832"/>
              </a:solidFill>
              <a:latin typeface="Arial"/>
              <a:cs typeface="Arial"/>
            </a:endParaRPr>
          </a:p>
        </p:txBody>
      </p:sp>
    </p:spTree>
    <p:extLst>
      <p:ext uri="{BB962C8B-B14F-4D97-AF65-F5344CB8AC3E}">
        <p14:creationId xmlns:p14="http://schemas.microsoft.com/office/powerpoint/2010/main" val="29319665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0EE60CFC-EAD3-3AF9-B507-5492C3C3E6E5}"/>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Tittel 5">
            <a:extLst>
              <a:ext uri="{FF2B5EF4-FFF2-40B4-BE49-F238E27FC236}">
                <a16:creationId xmlns:a16="http://schemas.microsoft.com/office/drawing/2014/main" id="{3F1A3724-68CD-4791-A508-D4BC4AD61CD6}"/>
              </a:ext>
            </a:extLst>
          </p:cNvPr>
          <p:cNvSpPr>
            <a:spLocks noGrp="1"/>
          </p:cNvSpPr>
          <p:nvPr>
            <p:ph type="title"/>
          </p:nvPr>
        </p:nvSpPr>
        <p:spPr>
          <a:xfrm>
            <a:off x="838201" y="482400"/>
            <a:ext cx="5257800" cy="1072080"/>
          </a:xfrm>
        </p:spPr>
        <p:txBody>
          <a:bodyPr anchor="ctr">
            <a:noAutofit/>
          </a:bodyPr>
          <a:lstStyle/>
          <a:p>
            <a:r>
              <a:rPr lang="nb-NO" sz="2800"/>
              <a:t>Hvordan har </a:t>
            </a:r>
            <a:r>
              <a:rPr lang="nb-NO" sz="2400"/>
              <a:t>koronapandemien</a:t>
            </a:r>
            <a:r>
              <a:rPr lang="nb-NO" sz="2800"/>
              <a:t> påvirket folkehelsen?</a:t>
            </a:r>
          </a:p>
        </p:txBody>
      </p:sp>
      <p:sp>
        <p:nvSpPr>
          <p:cNvPr id="4" name="Plassholder for innhold 3">
            <a:extLst>
              <a:ext uri="{FF2B5EF4-FFF2-40B4-BE49-F238E27FC236}">
                <a16:creationId xmlns:a16="http://schemas.microsoft.com/office/drawing/2014/main" id="{CEB5A685-31DB-4FA3-845F-BBEE0F4B08E3}"/>
              </a:ext>
            </a:extLst>
          </p:cNvPr>
          <p:cNvSpPr>
            <a:spLocks noGrp="1"/>
          </p:cNvSpPr>
          <p:nvPr>
            <p:ph sz="half" idx="1"/>
          </p:nvPr>
        </p:nvSpPr>
        <p:spPr>
          <a:xfrm>
            <a:off x="838200" y="1988912"/>
            <a:ext cx="5181600" cy="4351338"/>
          </a:xfrm>
        </p:spPr>
        <p:txBody>
          <a:bodyPr>
            <a:normAutofit/>
          </a:bodyPr>
          <a:lstStyle/>
          <a:p>
            <a:r>
              <a:rPr lang="nb-NO" sz="2000"/>
              <a:t>Økt sykefravær, flere langtidsfravær</a:t>
            </a:r>
          </a:p>
          <a:p>
            <a:pPr lvl="1"/>
            <a:r>
              <a:rPr lang="nb-NO" sz="2000"/>
              <a:t>Vegring mot friskmelding eller  senvirkninger?</a:t>
            </a:r>
          </a:p>
          <a:p>
            <a:pPr lvl="1"/>
            <a:endParaRPr lang="nb-NO" sz="2000"/>
          </a:p>
          <a:p>
            <a:r>
              <a:rPr lang="nb-NO" sz="2000">
                <a:solidFill>
                  <a:srgbClr val="000000"/>
                </a:solidFill>
              </a:rPr>
              <a:t>Litt færre døde i starten, </a:t>
            </a:r>
            <a:br>
              <a:rPr lang="nb-NO" sz="2000">
                <a:solidFill>
                  <a:srgbClr val="000000"/>
                </a:solidFill>
              </a:rPr>
            </a:br>
            <a:r>
              <a:rPr lang="nb-NO" sz="2000">
                <a:solidFill>
                  <a:srgbClr val="000000"/>
                </a:solidFill>
              </a:rPr>
              <a:t>flere døde siden høsten 2021</a:t>
            </a:r>
          </a:p>
          <a:p>
            <a:pPr lvl="1"/>
            <a:r>
              <a:rPr lang="nb-NO" sz="2000">
                <a:solidFill>
                  <a:srgbClr val="000000"/>
                </a:solidFill>
              </a:rPr>
              <a:t>I hovedsak pga. covid-19</a:t>
            </a:r>
            <a:endParaRPr lang="nb-NO" sz="2000" strike="sngStrike">
              <a:solidFill>
                <a:srgbClr val="000000"/>
              </a:solidFill>
            </a:endParaRPr>
          </a:p>
          <a:p>
            <a:pPr lvl="1"/>
            <a:r>
              <a:rPr lang="nb-NO" sz="2000">
                <a:solidFill>
                  <a:srgbClr val="000000"/>
                </a:solidFill>
              </a:rPr>
              <a:t>10 pst. med senvirkninger: Størst </a:t>
            </a:r>
            <a:r>
              <a:rPr lang="nb-NO" sz="2000"/>
              <a:t>risiko etter sykehusinnleggelse</a:t>
            </a:r>
          </a:p>
          <a:p>
            <a:pPr marL="457200" lvl="1" indent="0">
              <a:buNone/>
            </a:pPr>
            <a:endParaRPr lang="nb-NO" sz="2000"/>
          </a:p>
          <a:p>
            <a:r>
              <a:rPr lang="nb-NO" sz="2000"/>
              <a:t>Få klare tegn til økte psykiske lidelser</a:t>
            </a:r>
          </a:p>
        </p:txBody>
      </p:sp>
      <p:pic>
        <p:nvPicPr>
          <p:cNvPr id="5" name="Bilde 4" descr="Et bilde som inneholder kake, hånd, laget, holder&#10;&#10;Automatisk generert beskrivelse">
            <a:extLst>
              <a:ext uri="{FF2B5EF4-FFF2-40B4-BE49-F238E27FC236}">
                <a16:creationId xmlns:a16="http://schemas.microsoft.com/office/drawing/2014/main" id="{B0A9D7B8-11C7-8A81-D8E0-C4B40BEE0DD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13101" y="1119592"/>
            <a:ext cx="4439990" cy="4454866"/>
          </a:xfrm>
          <a:prstGeom prst="rect">
            <a:avLst/>
          </a:prstGeom>
        </p:spPr>
      </p:pic>
    </p:spTree>
    <p:extLst>
      <p:ext uri="{BB962C8B-B14F-4D97-AF65-F5344CB8AC3E}">
        <p14:creationId xmlns:p14="http://schemas.microsoft.com/office/powerpoint/2010/main" val="2119641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10" name="Rektangel: avrundede hjørner 9">
            <a:extLst>
              <a:ext uri="{FF2B5EF4-FFF2-40B4-BE49-F238E27FC236}">
                <a16:creationId xmlns:a16="http://schemas.microsoft.com/office/drawing/2014/main" id="{E0CDF61A-CA27-E8C8-D390-06B523799456}"/>
              </a:ext>
            </a:extLst>
          </p:cNvPr>
          <p:cNvSpPr/>
          <p:nvPr/>
        </p:nvSpPr>
        <p:spPr>
          <a:xfrm>
            <a:off x="648065" y="4183244"/>
            <a:ext cx="4737904" cy="1674980"/>
          </a:xfrm>
          <a:prstGeom prst="round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800">
                <a:solidFill>
                  <a:schemeClr val="tx1"/>
                </a:solidFill>
                <a:latin typeface="Arial" panose="020B0604020202020204" pitchFamily="34" charset="0"/>
                <a:cs typeface="Arial" panose="020B0604020202020204" pitchFamily="34" charset="0"/>
              </a:rPr>
              <a:t>Økning under pandemien</a:t>
            </a:r>
          </a:p>
          <a:p>
            <a:pPr marL="342900" indent="-342900">
              <a:buFont typeface="Arial" panose="020B0604020202020204" pitchFamily="34" charset="0"/>
              <a:buChar char="•"/>
            </a:pPr>
            <a:r>
              <a:rPr lang="nb-NO" sz="1800">
                <a:solidFill>
                  <a:schemeClr val="tx1"/>
                </a:solidFill>
                <a:latin typeface="Arial" panose="020B0604020202020204" pitchFamily="34" charset="0"/>
                <a:cs typeface="Arial" panose="020B0604020202020204" pitchFamily="34" charset="0"/>
              </a:rPr>
              <a:t>Høyest siden 2012</a:t>
            </a:r>
          </a:p>
          <a:p>
            <a:pPr marL="342900" indent="-342900">
              <a:buFont typeface="Arial" panose="020B0604020202020204" pitchFamily="34" charset="0"/>
              <a:buChar char="•"/>
            </a:pPr>
            <a:r>
              <a:rPr lang="nb-NO" sz="1800">
                <a:solidFill>
                  <a:schemeClr val="tx1"/>
                </a:solidFill>
                <a:latin typeface="Arial" panose="020B0604020202020204" pitchFamily="34" charset="0"/>
                <a:cs typeface="Arial" panose="020B0604020202020204" pitchFamily="34" charset="0"/>
              </a:rPr>
              <a:t>Foreløpige tall: Ytterligere </a:t>
            </a:r>
            <a:br>
              <a:rPr lang="nb-NO" sz="1800">
                <a:solidFill>
                  <a:schemeClr val="tx1"/>
                </a:solidFill>
                <a:latin typeface="Arial" panose="020B0604020202020204" pitchFamily="34" charset="0"/>
                <a:cs typeface="Arial" panose="020B0604020202020204" pitchFamily="34" charset="0"/>
              </a:rPr>
            </a:br>
            <a:r>
              <a:rPr lang="nb-NO" sz="1800">
                <a:solidFill>
                  <a:schemeClr val="tx1"/>
                </a:solidFill>
                <a:latin typeface="Arial" panose="020B0604020202020204" pitchFamily="34" charset="0"/>
                <a:cs typeface="Arial" panose="020B0604020202020204" pitchFamily="34" charset="0"/>
              </a:rPr>
              <a:t>økning i 2022</a:t>
            </a:r>
          </a:p>
        </p:txBody>
      </p:sp>
      <p:sp>
        <p:nvSpPr>
          <p:cNvPr id="9" name="Rektangel: avrundede hjørner 8">
            <a:extLst>
              <a:ext uri="{FF2B5EF4-FFF2-40B4-BE49-F238E27FC236}">
                <a16:creationId xmlns:a16="http://schemas.microsoft.com/office/drawing/2014/main" id="{1645074B-E591-4CD6-6AD9-3E6A983D7D53}"/>
              </a:ext>
            </a:extLst>
          </p:cNvPr>
          <p:cNvSpPr/>
          <p:nvPr/>
        </p:nvSpPr>
        <p:spPr>
          <a:xfrm>
            <a:off x="659640" y="2049810"/>
            <a:ext cx="4737904" cy="1674980"/>
          </a:xfrm>
          <a:prstGeom prst="round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800">
                <a:solidFill>
                  <a:schemeClr val="tx1"/>
                </a:solidFill>
                <a:latin typeface="Arial" panose="020B0604020202020204" pitchFamily="34" charset="0"/>
                <a:cs typeface="Arial" panose="020B0604020202020204" pitchFamily="34" charset="0"/>
              </a:rPr>
              <a:t>Nedgang 2010–2019</a:t>
            </a:r>
          </a:p>
          <a:p>
            <a:pPr marL="342900" indent="-342900">
              <a:buFont typeface="Arial" panose="020B0604020202020204" pitchFamily="34" charset="0"/>
              <a:buChar char="•"/>
            </a:pPr>
            <a:r>
              <a:rPr lang="nb-NO" sz="1800">
                <a:solidFill>
                  <a:schemeClr val="tx1"/>
                </a:solidFill>
                <a:latin typeface="Arial" panose="020B0604020202020204" pitchFamily="34" charset="0"/>
                <a:cs typeface="Arial" panose="020B0604020202020204" pitchFamily="34" charset="0"/>
              </a:rPr>
              <a:t>Størst nedgang blant </a:t>
            </a:r>
            <a:br>
              <a:rPr lang="nb-NO" sz="1800">
                <a:solidFill>
                  <a:schemeClr val="tx1"/>
                </a:solidFill>
                <a:latin typeface="Arial" panose="020B0604020202020204" pitchFamily="34" charset="0"/>
                <a:cs typeface="Arial" panose="020B0604020202020204" pitchFamily="34" charset="0"/>
              </a:rPr>
            </a:br>
            <a:r>
              <a:rPr lang="nb-NO" sz="1800">
                <a:solidFill>
                  <a:schemeClr val="tx1"/>
                </a:solidFill>
                <a:latin typeface="Arial" panose="020B0604020202020204" pitchFamily="34" charset="0"/>
                <a:cs typeface="Arial" panose="020B0604020202020204" pitchFamily="34" charset="0"/>
              </a:rPr>
              <a:t>dem over 50 år </a:t>
            </a:r>
            <a:br>
              <a:rPr lang="nb-NO" sz="1800">
                <a:solidFill>
                  <a:schemeClr val="tx1"/>
                </a:solidFill>
                <a:latin typeface="Arial" panose="020B0604020202020204" pitchFamily="34" charset="0"/>
                <a:cs typeface="Arial" panose="020B0604020202020204" pitchFamily="34" charset="0"/>
              </a:rPr>
            </a:br>
            <a:r>
              <a:rPr lang="nb-NO" sz="1800">
                <a:solidFill>
                  <a:schemeClr val="tx1"/>
                </a:solidFill>
                <a:latin typeface="Arial" panose="020B0604020202020204" pitchFamily="34" charset="0"/>
                <a:cs typeface="Arial" panose="020B0604020202020204" pitchFamily="34" charset="0"/>
              </a:rPr>
              <a:t>og særlig over 60 år</a:t>
            </a:r>
          </a:p>
        </p:txBody>
      </p:sp>
      <p:sp>
        <p:nvSpPr>
          <p:cNvPr id="4" name="Plassholder for innhold 3">
            <a:extLst>
              <a:ext uri="{FF2B5EF4-FFF2-40B4-BE49-F238E27FC236}">
                <a16:creationId xmlns:a16="http://schemas.microsoft.com/office/drawing/2014/main" id="{220ECE60-5F52-478F-A560-8AC7CDA9BDDB}"/>
              </a:ext>
            </a:extLst>
          </p:cNvPr>
          <p:cNvSpPr>
            <a:spLocks noGrp="1"/>
          </p:cNvSpPr>
          <p:nvPr>
            <p:ph sz="quarter" idx="10"/>
          </p:nvPr>
        </p:nvSpPr>
        <p:spPr>
          <a:xfrm>
            <a:off x="509534" y="1988840"/>
            <a:ext cx="5014966" cy="3649960"/>
          </a:xfrm>
        </p:spPr>
        <p:txBody>
          <a:bodyPr>
            <a:normAutofit/>
          </a:bodyPr>
          <a:lstStyle/>
          <a:p>
            <a:endParaRPr lang="nb-NO" sz="2133"/>
          </a:p>
          <a:p>
            <a:pPr marL="457200" lvl="1" indent="0">
              <a:buNone/>
            </a:pPr>
            <a:endParaRPr lang="nb-NO" sz="1733"/>
          </a:p>
          <a:p>
            <a:pPr lvl="1"/>
            <a:endParaRPr lang="nb-NO" sz="1733"/>
          </a:p>
          <a:p>
            <a:pPr marL="0" indent="0">
              <a:buNone/>
            </a:pPr>
            <a:endParaRPr lang="nb-NO" sz="1600"/>
          </a:p>
        </p:txBody>
      </p:sp>
      <p:sp>
        <p:nvSpPr>
          <p:cNvPr id="6" name="Tittel 5">
            <a:extLst>
              <a:ext uri="{FF2B5EF4-FFF2-40B4-BE49-F238E27FC236}">
                <a16:creationId xmlns:a16="http://schemas.microsoft.com/office/drawing/2014/main" id="{A00AE556-42FC-40CB-A047-5F2C406912DD}"/>
              </a:ext>
            </a:extLst>
          </p:cNvPr>
          <p:cNvSpPr>
            <a:spLocks noGrp="1"/>
          </p:cNvSpPr>
          <p:nvPr>
            <p:ph type="title"/>
          </p:nvPr>
        </p:nvSpPr>
        <p:spPr/>
        <p:txBody>
          <a:bodyPr/>
          <a:lstStyle/>
          <a:p>
            <a:r>
              <a:rPr lang="nb-NO"/>
              <a:t>Færre med helserelaterte ytelser</a:t>
            </a:r>
          </a:p>
        </p:txBody>
      </p:sp>
      <p:graphicFrame>
        <p:nvGraphicFramePr>
          <p:cNvPr id="2" name="Diagram 1">
            <a:extLst>
              <a:ext uri="{FF2B5EF4-FFF2-40B4-BE49-F238E27FC236}">
                <a16:creationId xmlns:a16="http://schemas.microsoft.com/office/drawing/2014/main" id="{80DAAB1E-3F7E-497E-92E7-2270E32CFA81}"/>
              </a:ext>
            </a:extLst>
          </p:cNvPr>
          <p:cNvGraphicFramePr>
            <a:graphicFrameLocks/>
          </p:cNvGraphicFramePr>
          <p:nvPr>
            <p:extLst>
              <p:ext uri="{D42A27DB-BD31-4B8C-83A1-F6EECF244321}">
                <p14:modId xmlns:p14="http://schemas.microsoft.com/office/powerpoint/2010/main" val="938429134"/>
              </p:ext>
            </p:extLst>
          </p:nvPr>
        </p:nvGraphicFramePr>
        <p:xfrm>
          <a:off x="5715000" y="1774371"/>
          <a:ext cx="6146800" cy="4608937"/>
        </p:xfrm>
        <a:graphic>
          <a:graphicData uri="http://schemas.openxmlformats.org/drawingml/2006/chart">
            <c:chart xmlns:c="http://schemas.openxmlformats.org/drawingml/2006/chart" xmlns:r="http://schemas.openxmlformats.org/officeDocument/2006/relationships" r:id="rId3"/>
          </a:graphicData>
        </a:graphic>
      </p:graphicFrame>
      <p:pic>
        <p:nvPicPr>
          <p:cNvPr id="7" name="Bilde 6" descr="Et bilde som inneholder kake, hånd, laget, holder&#10;&#10;Automatisk generert beskrivelse">
            <a:extLst>
              <a:ext uri="{FF2B5EF4-FFF2-40B4-BE49-F238E27FC236}">
                <a16:creationId xmlns:a16="http://schemas.microsoft.com/office/drawing/2014/main" id="{D8527276-5867-4D22-B627-7D2DF8607A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43915" y="4498168"/>
            <a:ext cx="1041642" cy="1045132"/>
          </a:xfrm>
          <a:prstGeom prst="rect">
            <a:avLst/>
          </a:prstGeom>
        </p:spPr>
      </p:pic>
      <p:sp>
        <p:nvSpPr>
          <p:cNvPr id="8" name="Rectangle 15">
            <a:extLst>
              <a:ext uri="{FF2B5EF4-FFF2-40B4-BE49-F238E27FC236}">
                <a16:creationId xmlns:a16="http://schemas.microsoft.com/office/drawing/2014/main" id="{20569437-4088-61EC-A185-514132F05471}"/>
              </a:ext>
            </a:extLst>
          </p:cNvPr>
          <p:cNvSpPr/>
          <p:nvPr/>
        </p:nvSpPr>
        <p:spPr>
          <a:xfrm rot="5400000">
            <a:off x="4039325" y="2380883"/>
            <a:ext cx="836570" cy="844774"/>
          </a:xfrm>
          <a:custGeom>
            <a:avLst/>
            <a:gdLst/>
            <a:ahLst/>
            <a:cxnLst/>
            <a:rect l="l" t="t" r="r" b="b"/>
            <a:pathLst>
              <a:path w="3244313" h="3240000">
                <a:moveTo>
                  <a:pt x="2055482" y="677891"/>
                </a:moveTo>
                <a:lnTo>
                  <a:pt x="2055482" y="209891"/>
                </a:lnTo>
                <a:lnTo>
                  <a:pt x="2919482" y="209891"/>
                </a:lnTo>
                <a:lnTo>
                  <a:pt x="2919482" y="677891"/>
                </a:lnTo>
                <a:close/>
                <a:moveTo>
                  <a:pt x="1695482" y="1397971"/>
                </a:moveTo>
                <a:lnTo>
                  <a:pt x="1695482" y="929971"/>
                </a:lnTo>
                <a:lnTo>
                  <a:pt x="2919482" y="929971"/>
                </a:lnTo>
                <a:lnTo>
                  <a:pt x="2919482" y="1397971"/>
                </a:lnTo>
                <a:close/>
                <a:moveTo>
                  <a:pt x="1335482" y="2118051"/>
                </a:moveTo>
                <a:lnTo>
                  <a:pt x="1335482" y="1650051"/>
                </a:lnTo>
                <a:lnTo>
                  <a:pt x="2919482" y="1650051"/>
                </a:lnTo>
                <a:lnTo>
                  <a:pt x="2919482" y="2118051"/>
                </a:lnTo>
                <a:close/>
                <a:moveTo>
                  <a:pt x="975482" y="2838131"/>
                </a:moveTo>
                <a:lnTo>
                  <a:pt x="975482" y="2370131"/>
                </a:lnTo>
                <a:lnTo>
                  <a:pt x="2919482" y="2370131"/>
                </a:lnTo>
                <a:lnTo>
                  <a:pt x="2919482" y="2838131"/>
                </a:lnTo>
                <a:close/>
                <a:moveTo>
                  <a:pt x="10788" y="2651034"/>
                </a:moveTo>
                <a:lnTo>
                  <a:pt x="1168116" y="646484"/>
                </a:lnTo>
                <a:lnTo>
                  <a:pt x="1038664" y="571745"/>
                </a:lnTo>
                <a:lnTo>
                  <a:pt x="1533856" y="311959"/>
                </a:lnTo>
                <a:lnTo>
                  <a:pt x="1556471" y="870701"/>
                </a:lnTo>
                <a:lnTo>
                  <a:pt x="1427019" y="795962"/>
                </a:lnTo>
                <a:lnTo>
                  <a:pt x="269691" y="2800512"/>
                </a:lnTo>
                <a:close/>
                <a:moveTo>
                  <a:pt x="0" y="3240000"/>
                </a:moveTo>
                <a:lnTo>
                  <a:pt x="0" y="3060000"/>
                </a:lnTo>
                <a:lnTo>
                  <a:pt x="3064313" y="3060000"/>
                </a:lnTo>
                <a:lnTo>
                  <a:pt x="3064313" y="0"/>
                </a:lnTo>
                <a:lnTo>
                  <a:pt x="3244313" y="0"/>
                </a:lnTo>
                <a:lnTo>
                  <a:pt x="3244313" y="3240000"/>
                </a:lnTo>
                <a:lnTo>
                  <a:pt x="3240000" y="3240000"/>
                </a:lnTo>
                <a:lnTo>
                  <a:pt x="3064313" y="3240000"/>
                </a:lnTo>
                <a:close/>
              </a:path>
            </a:pathLst>
          </a:cu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Tree>
    <p:extLst>
      <p:ext uri="{BB962C8B-B14F-4D97-AF65-F5344CB8AC3E}">
        <p14:creationId xmlns:p14="http://schemas.microsoft.com/office/powerpoint/2010/main" val="8574508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D2D6D89B-F943-4979-B165-267B9C161C0C}"/>
              </a:ext>
            </a:extLst>
          </p:cNvPr>
          <p:cNvSpPr>
            <a:spLocks noGrp="1"/>
          </p:cNvSpPr>
          <p:nvPr>
            <p:ph type="title"/>
          </p:nvPr>
        </p:nvSpPr>
        <p:spPr>
          <a:xfrm>
            <a:off x="504826" y="241301"/>
            <a:ext cx="11182351" cy="876299"/>
          </a:xfrm>
        </p:spPr>
        <p:txBody>
          <a:bodyPr>
            <a:normAutofit/>
          </a:bodyPr>
          <a:lstStyle/>
          <a:p>
            <a:r>
              <a:rPr lang="nb-NO"/>
              <a:t>Stadig flere unge mottar uføretrygd</a:t>
            </a:r>
          </a:p>
        </p:txBody>
      </p:sp>
      <p:sp>
        <p:nvSpPr>
          <p:cNvPr id="2" name="TekstSylinder 1">
            <a:extLst>
              <a:ext uri="{FF2B5EF4-FFF2-40B4-BE49-F238E27FC236}">
                <a16:creationId xmlns:a16="http://schemas.microsoft.com/office/drawing/2014/main" id="{2361E6A9-99B5-930E-132D-571AFB3AAAF2}"/>
              </a:ext>
            </a:extLst>
          </p:cNvPr>
          <p:cNvSpPr txBox="1"/>
          <p:nvPr/>
        </p:nvSpPr>
        <p:spPr>
          <a:xfrm>
            <a:off x="785584" y="1284514"/>
            <a:ext cx="11113407" cy="584775"/>
          </a:xfrm>
          <a:prstGeom prst="rect">
            <a:avLst/>
          </a:prstGeom>
          <a:noFill/>
        </p:spPr>
        <p:txBody>
          <a:bodyPr wrap="square" rtlCol="0">
            <a:spAutoFit/>
          </a:bodyPr>
          <a:lstStyle/>
          <a:p>
            <a:r>
              <a:rPr lang="nb-NO" sz="1600" b="1">
                <a:latin typeface="Arial" panose="020B0604020202020204" pitchFamily="34" charset="0"/>
                <a:cs typeface="Arial" panose="020B0604020202020204" pitchFamily="34" charset="0"/>
              </a:rPr>
              <a:t>Prosentandel av befolkningen 18–29 år med sykepenger, arbeidsavklaringspenger og uføretrygd (venstre akse)</a:t>
            </a:r>
          </a:p>
          <a:p>
            <a:r>
              <a:rPr lang="nb-NO" sz="1600" b="1">
                <a:latin typeface="Arial" panose="020B0604020202020204" pitchFamily="34" charset="0"/>
                <a:cs typeface="Arial" panose="020B0604020202020204" pitchFamily="34" charset="0"/>
              </a:rPr>
              <a:t>og helserelaterte ytelser i alt (høyre akse)</a:t>
            </a:r>
          </a:p>
        </p:txBody>
      </p:sp>
      <p:graphicFrame>
        <p:nvGraphicFramePr>
          <p:cNvPr id="8" name="Diagram 7">
            <a:extLst>
              <a:ext uri="{FF2B5EF4-FFF2-40B4-BE49-F238E27FC236}">
                <a16:creationId xmlns:a16="http://schemas.microsoft.com/office/drawing/2014/main" id="{867FB4F3-E791-4B87-AAD9-99440E20A244}"/>
              </a:ext>
            </a:extLst>
          </p:cNvPr>
          <p:cNvGraphicFramePr/>
          <p:nvPr>
            <p:extLst>
              <p:ext uri="{D42A27DB-BD31-4B8C-83A1-F6EECF244321}">
                <p14:modId xmlns:p14="http://schemas.microsoft.com/office/powerpoint/2010/main" val="752968708"/>
              </p:ext>
            </p:extLst>
          </p:nvPr>
        </p:nvGraphicFramePr>
        <p:xfrm>
          <a:off x="504826" y="2036202"/>
          <a:ext cx="11103594" cy="43868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051535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7" y="1554480"/>
            <a:ext cx="5027024" cy="4821120"/>
          </a:xfrm>
        </p:spPr>
        <p:txBody>
          <a:bodyPr vert="horz" lIns="91440" tIns="45720" rIns="91440" bIns="45720" rtlCol="0" anchor="t">
            <a:normAutofit/>
          </a:bodyPr>
          <a:lstStyle/>
          <a:p>
            <a:pPr marL="0" indent="0">
              <a:lnSpc>
                <a:spcPct val="100000"/>
              </a:lnSpc>
              <a:buNone/>
            </a:pPr>
            <a:r>
              <a:rPr lang="nb-NO" sz="1600" b="1" noProof="0">
                <a:latin typeface="Arial"/>
                <a:cs typeface="Arial"/>
              </a:rPr>
              <a:t>Økt levealder og bedre folkehelse i hver aldersgruppe</a:t>
            </a:r>
          </a:p>
          <a:p>
            <a:pPr lvl="1">
              <a:lnSpc>
                <a:spcPct val="100000"/>
              </a:lnSpc>
              <a:buClr>
                <a:srgbClr val="000000"/>
              </a:buClr>
            </a:pPr>
            <a:r>
              <a:rPr lang="nb-NO" sz="1400">
                <a:latin typeface="Arial"/>
                <a:cs typeface="Arial"/>
              </a:rPr>
              <a:t>M</a:t>
            </a:r>
            <a:r>
              <a:rPr lang="nb-NO" sz="1400" noProof="0">
                <a:latin typeface="Arial"/>
                <a:cs typeface="Arial"/>
              </a:rPr>
              <a:t>en aldring gir stabil sykdomsbyrde totalt sett, nedgang for befolkningen i yrkesaktiv alder</a:t>
            </a:r>
          </a:p>
          <a:p>
            <a:pPr marL="0" indent="0">
              <a:lnSpc>
                <a:spcPct val="100000"/>
              </a:lnSpc>
              <a:buNone/>
            </a:pPr>
            <a:r>
              <a:rPr lang="nb-NO" sz="1600" b="1">
                <a:latin typeface="Arial"/>
                <a:cs typeface="Arial"/>
              </a:rPr>
              <a:t>Usikkerheter</a:t>
            </a:r>
          </a:p>
          <a:p>
            <a:pPr lvl="1">
              <a:lnSpc>
                <a:spcPct val="110000"/>
              </a:lnSpc>
              <a:buClr>
                <a:srgbClr val="000000"/>
              </a:buClr>
            </a:pPr>
            <a:r>
              <a:rPr lang="nb-NO" sz="1400">
                <a:latin typeface="Arial"/>
                <a:cs typeface="Arial"/>
              </a:rPr>
              <a:t>Koronapandemien går mot slutten?</a:t>
            </a:r>
          </a:p>
          <a:p>
            <a:pPr lvl="1">
              <a:lnSpc>
                <a:spcPct val="110000"/>
              </a:lnSpc>
              <a:buClr>
                <a:srgbClr val="000000"/>
              </a:buClr>
            </a:pPr>
            <a:r>
              <a:rPr lang="nb-NO" sz="1400">
                <a:latin typeface="Arial"/>
                <a:cs typeface="Arial"/>
              </a:rPr>
              <a:t>Risiko for framtidige pandemier</a:t>
            </a:r>
          </a:p>
          <a:p>
            <a:pPr lvl="1">
              <a:lnSpc>
                <a:spcPct val="110000"/>
              </a:lnSpc>
              <a:buClr>
                <a:srgbClr val="000000"/>
              </a:buClr>
            </a:pPr>
            <a:r>
              <a:rPr lang="nb-NO" sz="1400">
                <a:latin typeface="Arial"/>
                <a:cs typeface="Arial"/>
              </a:rPr>
              <a:t>Antibiotika-resistens</a:t>
            </a:r>
          </a:p>
          <a:p>
            <a:pPr marL="0" indent="0">
              <a:lnSpc>
                <a:spcPct val="100000"/>
              </a:lnSpc>
              <a:buNone/>
            </a:pPr>
            <a:r>
              <a:rPr lang="nb-NO" sz="1600" b="1" noProof="0">
                <a:latin typeface="Arial"/>
                <a:cs typeface="Arial"/>
              </a:rPr>
              <a:t>Helserelaterte ytelser påvirkes av mer enn helse</a:t>
            </a:r>
          </a:p>
          <a:p>
            <a:pPr lvl="1">
              <a:lnSpc>
                <a:spcPct val="120000"/>
              </a:lnSpc>
              <a:buClr>
                <a:srgbClr val="000000"/>
              </a:buClr>
            </a:pPr>
            <a:r>
              <a:rPr lang="nb-NO" sz="1400">
                <a:latin typeface="Arial"/>
                <a:cs typeface="Arial"/>
              </a:rPr>
              <a:t>Omstilling gir risiko for utstøting fra arbeidslivet</a:t>
            </a:r>
          </a:p>
          <a:p>
            <a:pPr lvl="1">
              <a:lnSpc>
                <a:spcPct val="120000"/>
              </a:lnSpc>
              <a:buClr>
                <a:srgbClr val="000000"/>
              </a:buClr>
            </a:pPr>
            <a:r>
              <a:rPr lang="nb-NO" sz="1400">
                <a:latin typeface="Arial"/>
                <a:cs typeface="Arial"/>
              </a:rPr>
              <a:t>Mangel på arbeidskraft gir gode vilkår for inkludering</a:t>
            </a:r>
          </a:p>
          <a:p>
            <a:pPr lvl="1">
              <a:lnSpc>
                <a:spcPct val="120000"/>
              </a:lnSpc>
              <a:buClr>
                <a:srgbClr val="000000"/>
              </a:buClr>
            </a:pPr>
            <a:r>
              <a:rPr lang="nb-NO" sz="1400">
                <a:latin typeface="Arial"/>
                <a:cs typeface="Arial"/>
              </a:rPr>
              <a:t>Psykiske lidelser oftere årsak til helserelaterte ytelser til tross for uendret forekomst i befolkningen – trenden kan fortsette</a:t>
            </a:r>
          </a:p>
          <a:p>
            <a:pPr lvl="1">
              <a:lnSpc>
                <a:spcPct val="120000"/>
              </a:lnSpc>
              <a:buClr>
                <a:srgbClr val="000000"/>
              </a:buClr>
            </a:pPr>
            <a:r>
              <a:rPr lang="nb-NO" sz="1400">
                <a:latin typeface="Arial"/>
                <a:cs typeface="Arial"/>
              </a:rPr>
              <a:t>Venter alt i alt en stabil utvikling i andelen med helserelaterte trygdeytelser</a:t>
            </a:r>
          </a:p>
          <a:p>
            <a:pPr marL="0" indent="0">
              <a:lnSpc>
                <a:spcPct val="100000"/>
              </a:lnSpc>
              <a:buNone/>
            </a:pPr>
            <a:endParaRPr lang="nb-NO" sz="1600" b="1">
              <a:latin typeface="Arial"/>
              <a:cs typeface="Arial"/>
            </a:endParaRPr>
          </a:p>
          <a:p>
            <a:pPr marL="0" indent="0">
              <a:lnSpc>
                <a:spcPct val="100000"/>
              </a:lnSpc>
              <a:buNone/>
            </a:pPr>
            <a:endParaRPr lang="nb-NO" sz="1600" noProof="0">
              <a:latin typeface="Arial"/>
              <a:cs typeface="Arial"/>
            </a:endParaRPr>
          </a:p>
          <a:p>
            <a:pPr lvl="1">
              <a:lnSpc>
                <a:spcPct val="100000"/>
              </a:lnSpc>
            </a:pPr>
            <a:endParaRPr lang="nb-NO" sz="1200" noProof="0">
              <a:latin typeface="Arial"/>
              <a:cs typeface="Arial"/>
            </a:endParaRP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nb-NO" noProof="0">
                <a:solidFill>
                  <a:schemeClr val="tx1"/>
                </a:solidFill>
              </a:rPr>
              <a:t>Helse – utviklingen mot 2035</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011782" y="6484851"/>
            <a:ext cx="16023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000000"/>
                </a:solidFill>
                <a:effectLst/>
                <a:uLnTx/>
                <a:uFillTx/>
                <a:latin typeface="Calibri" panose="020F0502020204030204"/>
                <a:ea typeface="+mn-ea"/>
                <a:cs typeface="+mn-cs"/>
              </a:rPr>
              <a:t>Foto: </a:t>
            </a:r>
            <a:r>
              <a:rPr kumimoji="0" lang="nb-NO" sz="1000" b="0" i="0" u="none" strike="noStrike" kern="1200" cap="none" spc="0" normalizeH="0" baseline="0" noProof="0" err="1">
                <a:ln>
                  <a:noFill/>
                </a:ln>
                <a:solidFill>
                  <a:srgbClr val="000000"/>
                </a:solidFill>
                <a:effectLst/>
                <a:uLnTx/>
                <a:uFillTx/>
                <a:latin typeface="Calibri" panose="020F0502020204030204"/>
                <a:ea typeface="+mn-ea"/>
                <a:cs typeface="+mn-cs"/>
              </a:rPr>
              <a:t>Colourbox</a:t>
            </a:r>
            <a:endParaRPr kumimoji="0" lang="nb-NO"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 name="Plassholder for bilde 6" descr="Et bilde som inneholder person, blå&#10;&#10;Automatisk generert beskrivelse">
            <a:extLst>
              <a:ext uri="{FF2B5EF4-FFF2-40B4-BE49-F238E27FC236}">
                <a16:creationId xmlns:a16="http://schemas.microsoft.com/office/drawing/2014/main" id="{62B7E9B6-AFB4-A0B9-1CDC-891C4097F59D}"/>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0635028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77500" lnSpcReduction="20000"/>
          </a:bodyPr>
          <a:lstStyle/>
          <a:p>
            <a:r>
              <a:rPr lang="nb-NO">
                <a:effectLst/>
              </a:rPr>
              <a:t>Hvordan vil aldring av befolkningen sammen med bedre folkehelse påvirke NAV?</a:t>
            </a:r>
          </a:p>
          <a:p>
            <a:endParaRPr lang="nb-NO">
              <a:effectLst/>
            </a:endParaRPr>
          </a:p>
          <a:p>
            <a:r>
              <a:rPr lang="nb-NO">
                <a:effectLst/>
              </a:rPr>
              <a:t>Hvordan kan NAV hindre økt utenforskap for unge med psykiske lidelser?</a:t>
            </a:r>
          </a:p>
          <a:p>
            <a:endParaRPr lang="nb-NO">
              <a:effectLst/>
            </a:endParaRPr>
          </a:p>
          <a:p>
            <a:r>
              <a:rPr lang="nb-NO">
                <a:effectLst/>
              </a:rPr>
              <a:t>Hvilke nye metoder for inkludering av personer av helseproblemer vil være viktige i 2035, og hva vil de kreve av ny kompetanse?</a:t>
            </a:r>
          </a:p>
          <a:p>
            <a:endParaRPr lang="nb-NO">
              <a:effectLst/>
            </a:endParaRPr>
          </a:p>
          <a:p>
            <a:r>
              <a:rPr lang="nb-NO">
                <a:effectLst/>
              </a:rPr>
              <a:t>Hvordan kan NAV samarbeide bedre </a:t>
            </a:r>
            <a:br>
              <a:rPr lang="nb-NO">
                <a:effectLst/>
              </a:rPr>
            </a:br>
            <a:r>
              <a:rPr lang="nb-NO">
                <a:effectLst/>
              </a:rPr>
              <a:t>med helsesektoren?</a:t>
            </a:r>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nb-NO"/>
              <a:t>Refleksjonsspørsmål</a:t>
            </a:r>
          </a:p>
        </p:txBody>
      </p:sp>
    </p:spTree>
    <p:extLst>
      <p:ext uri="{BB962C8B-B14F-4D97-AF65-F5344CB8AC3E}">
        <p14:creationId xmlns:p14="http://schemas.microsoft.com/office/powerpoint/2010/main" val="25048341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752722E9-5859-CA4D-9962-277599E389E5}"/>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0" y="3047"/>
            <a:ext cx="12317506" cy="6854953"/>
          </a:xfrm>
        </p:spPr>
      </p:pic>
      <p:sp>
        <p:nvSpPr>
          <p:cNvPr id="15" name="TekstSylinder 9">
            <a:extLst>
              <a:ext uri="{FF2B5EF4-FFF2-40B4-BE49-F238E27FC236}">
                <a16:creationId xmlns:a16="http://schemas.microsoft.com/office/drawing/2014/main" id="{3EE69A72-115C-3B46-8271-F43402FD8BD4}"/>
              </a:ext>
            </a:extLst>
          </p:cNvPr>
          <p:cNvSpPr txBox="1"/>
          <p:nvPr/>
        </p:nvSpPr>
        <p:spPr>
          <a:xfrm>
            <a:off x="11230821" y="6537641"/>
            <a:ext cx="1086686" cy="246221"/>
          </a:xfrm>
          <a:prstGeom prst="rect">
            <a:avLst/>
          </a:prstGeom>
          <a:noFill/>
        </p:spPr>
        <p:txBody>
          <a:bodyPr wrap="square" rtlCol="0">
            <a:spAutoFit/>
          </a:bodyPr>
          <a:lstStyle/>
          <a:p>
            <a:r>
              <a:rPr lang="nb-NO" sz="1000">
                <a:solidFill>
                  <a:schemeClr val="bg1"/>
                </a:solidFill>
                <a:latin typeface="Arial" panose="020B0604020202020204" pitchFamily="34" charset="0"/>
                <a:cs typeface="Arial" panose="020B0604020202020204" pitchFamily="34" charset="0"/>
              </a:rPr>
              <a:t>Foto: </a:t>
            </a:r>
            <a:r>
              <a:rPr lang="nb-NO" sz="1000" err="1">
                <a:solidFill>
                  <a:schemeClr val="bg1"/>
                </a:solidFill>
                <a:latin typeface="Arial" panose="020B0604020202020204" pitchFamily="34" charset="0"/>
                <a:cs typeface="Arial" panose="020B0604020202020204" pitchFamily="34" charset="0"/>
              </a:rPr>
              <a:t>Colourbox</a:t>
            </a:r>
            <a:endParaRPr lang="nb-NO" sz="1000">
              <a:solidFill>
                <a:schemeClr val="bg1"/>
              </a:solidFill>
              <a:latin typeface="Arial" panose="020B0604020202020204" pitchFamily="34" charset="0"/>
              <a:cs typeface="Arial" panose="020B0604020202020204" pitchFamily="34" charset="0"/>
            </a:endParaRPr>
          </a:p>
        </p:txBody>
      </p:sp>
      <p:sp>
        <p:nvSpPr>
          <p:cNvPr id="2" name="Ellipse 1">
            <a:extLst>
              <a:ext uri="{FF2B5EF4-FFF2-40B4-BE49-F238E27FC236}">
                <a16:creationId xmlns:a16="http://schemas.microsoft.com/office/drawing/2014/main" id="{0E74A854-B8CC-8EA0-0405-A002DE200316}"/>
              </a:ext>
            </a:extLst>
          </p:cNvPr>
          <p:cNvSpPr/>
          <p:nvPr/>
        </p:nvSpPr>
        <p:spPr>
          <a:xfrm>
            <a:off x="7511144" y="685799"/>
            <a:ext cx="3719676" cy="3493609"/>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98A251C-9D7E-5B4C-87DE-B133D69E3ED2}"/>
              </a:ext>
            </a:extLst>
          </p:cNvPr>
          <p:cNvSpPr/>
          <p:nvPr/>
        </p:nvSpPr>
        <p:spPr>
          <a:xfrm>
            <a:off x="7627460" y="1647773"/>
            <a:ext cx="3488926" cy="1569660"/>
          </a:xfrm>
          <a:prstGeom prst="rect">
            <a:avLst/>
          </a:prstGeom>
        </p:spPr>
        <p:txBody>
          <a:bodyPr wrap="square">
            <a:spAutoFit/>
          </a:bodyPr>
          <a:lstStyle/>
          <a:p>
            <a:pPr algn="ctr"/>
            <a:r>
              <a:rPr lang="nb-NO" sz="4800" b="1">
                <a:solidFill>
                  <a:schemeClr val="bg1"/>
                </a:solidFill>
                <a:latin typeface="Arial" panose="020B0604020202020204" pitchFamily="34" charset="0"/>
                <a:cs typeface="Arial" panose="020B0604020202020204" pitchFamily="34" charset="0"/>
              </a:rPr>
              <a:t>Politiske trender </a:t>
            </a:r>
            <a:endParaRPr lang="en-NO" sz="4800"/>
          </a:p>
        </p:txBody>
      </p:sp>
    </p:spTree>
    <p:extLst>
      <p:ext uri="{BB962C8B-B14F-4D97-AF65-F5344CB8AC3E}">
        <p14:creationId xmlns:p14="http://schemas.microsoft.com/office/powerpoint/2010/main" val="25444365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5799338" cy="4622483"/>
          </a:xfrm>
        </p:spPr>
        <p:txBody>
          <a:bodyPr vert="horz" lIns="91440" tIns="45720" rIns="91440" bIns="45720" rtlCol="0" anchor="t">
            <a:normAutofit fontScale="92500" lnSpcReduction="10000"/>
          </a:bodyPr>
          <a:lstStyle/>
          <a:p>
            <a:pPr marL="0" indent="0">
              <a:lnSpc>
                <a:spcPct val="100000"/>
              </a:lnSpc>
              <a:buNone/>
            </a:pPr>
            <a:r>
              <a:rPr lang="nb-NO" sz="1600" b="1" noProof="0">
                <a:latin typeface="Arial"/>
                <a:cs typeface="Arial"/>
              </a:rPr>
              <a:t>Omstilling og ny kompetanse blir enda viktigere</a:t>
            </a:r>
          </a:p>
          <a:p>
            <a:pPr marL="457200" lvl="1" indent="0">
              <a:lnSpc>
                <a:spcPct val="100000"/>
              </a:lnSpc>
              <a:buNone/>
            </a:pPr>
            <a:endParaRPr lang="nb-NO" sz="1600" noProof="0"/>
          </a:p>
          <a:p>
            <a:pPr marL="0" indent="0">
              <a:lnSpc>
                <a:spcPct val="100000"/>
              </a:lnSpc>
              <a:buNone/>
            </a:pPr>
            <a:r>
              <a:rPr lang="nb-NO" sz="1600" b="1" noProof="0">
                <a:latin typeface="Arial"/>
                <a:cs typeface="Arial"/>
              </a:rPr>
              <a:t>Inkludering av utsatte grupper</a:t>
            </a:r>
          </a:p>
          <a:p>
            <a:pPr lvl="1">
              <a:lnSpc>
                <a:spcPct val="100000"/>
              </a:lnSpc>
              <a:buClr>
                <a:srgbClr val="000000"/>
              </a:buClr>
            </a:pPr>
            <a:r>
              <a:rPr lang="nb-NO" sz="1600" noProof="0">
                <a:latin typeface="Arial"/>
                <a:cs typeface="Arial"/>
              </a:rPr>
              <a:t>Enkelte grupper av innvandrere og unge med manglende formell kompetanse</a:t>
            </a:r>
          </a:p>
          <a:p>
            <a:pPr marL="457200" lvl="1" indent="0">
              <a:lnSpc>
                <a:spcPct val="100000"/>
              </a:lnSpc>
              <a:buNone/>
            </a:pPr>
            <a:endParaRPr lang="nb-NO" sz="1600" noProof="0"/>
          </a:p>
          <a:p>
            <a:pPr marL="0" indent="0">
              <a:lnSpc>
                <a:spcPct val="100000"/>
              </a:lnSpc>
              <a:buNone/>
            </a:pPr>
            <a:r>
              <a:rPr lang="nb-NO" sz="1600" b="1" noProof="0">
                <a:latin typeface="Arial"/>
                <a:cs typeface="Arial"/>
              </a:rPr>
              <a:t>Sikre velferdsstatens bærekraft – stadig mer påtrengende</a:t>
            </a:r>
          </a:p>
          <a:p>
            <a:pPr lvl="1">
              <a:lnSpc>
                <a:spcPct val="100000"/>
              </a:lnSpc>
              <a:buClr>
                <a:srgbClr val="000000"/>
              </a:buClr>
            </a:pPr>
            <a:r>
              <a:rPr lang="nb-NO" sz="1600" noProof="0">
                <a:latin typeface="Arial"/>
                <a:cs typeface="Arial"/>
              </a:rPr>
              <a:t>Balanse mellom trygge velferdsordninger og økonomisk bærekraft</a:t>
            </a:r>
            <a:br>
              <a:rPr lang="nb-NO" sz="1600" noProof="0">
                <a:latin typeface="Arial"/>
                <a:cs typeface="Arial"/>
              </a:rPr>
            </a:br>
            <a:endParaRPr lang="nb-NO" sz="1600" noProof="0">
              <a:latin typeface="Arial"/>
              <a:cs typeface="Arial"/>
            </a:endParaRPr>
          </a:p>
          <a:p>
            <a:pPr marL="0" indent="0">
              <a:lnSpc>
                <a:spcPct val="100000"/>
              </a:lnSpc>
              <a:buClr>
                <a:srgbClr val="000000"/>
              </a:buClr>
              <a:buNone/>
            </a:pPr>
            <a:r>
              <a:rPr lang="nb-NO" sz="1600" b="1">
                <a:latin typeface="Arial"/>
                <a:cs typeface="Arial"/>
              </a:rPr>
              <a:t>Tøffe prioriteringer krever kombinasjoner av ulike grep, avhengig av politisk flertall:</a:t>
            </a:r>
          </a:p>
          <a:p>
            <a:pPr lvl="1">
              <a:lnSpc>
                <a:spcPct val="100000"/>
              </a:lnSpc>
            </a:pPr>
            <a:r>
              <a:rPr lang="nb-NO" sz="1600">
                <a:latin typeface="Arial"/>
                <a:cs typeface="Arial"/>
              </a:rPr>
              <a:t>Lavere ytelser, redusert tjenestetilbud?</a:t>
            </a:r>
          </a:p>
          <a:p>
            <a:pPr lvl="1">
              <a:lnSpc>
                <a:spcPct val="100000"/>
              </a:lnSpc>
            </a:pPr>
            <a:r>
              <a:rPr lang="nb-NO" sz="1600">
                <a:latin typeface="Arial"/>
                <a:cs typeface="Arial"/>
              </a:rPr>
              <a:t>Økte skatter og avgifter?</a:t>
            </a:r>
          </a:p>
          <a:p>
            <a:pPr lvl="1">
              <a:lnSpc>
                <a:spcPct val="100000"/>
              </a:lnSpc>
            </a:pPr>
            <a:r>
              <a:rPr lang="nb-NO" sz="1600">
                <a:latin typeface="Arial"/>
                <a:cs typeface="Arial"/>
              </a:rPr>
              <a:t>Tiltak som ø</a:t>
            </a:r>
            <a:r>
              <a:rPr lang="nb-NO" sz="1600" err="1">
                <a:latin typeface="Arial"/>
                <a:cs typeface="Arial"/>
              </a:rPr>
              <a:t>ker</a:t>
            </a:r>
            <a:r>
              <a:rPr lang="nb-NO" sz="1600">
                <a:latin typeface="Arial"/>
                <a:cs typeface="Arial"/>
              </a:rPr>
              <a:t> sysselsettingen?</a:t>
            </a:r>
          </a:p>
          <a:p>
            <a:pPr lvl="1">
              <a:lnSpc>
                <a:spcPct val="100000"/>
              </a:lnSpc>
            </a:pPr>
            <a:r>
              <a:rPr lang="nb-NO" sz="1600">
                <a:latin typeface="Arial"/>
                <a:cs typeface="Arial"/>
              </a:rPr>
              <a:t>Effektivisere offentlig sektor?</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nb-NO" noProof="0">
                <a:solidFill>
                  <a:schemeClr val="tx1"/>
                </a:solidFill>
              </a:rPr>
              <a:t>Omstilling, inkludering og bærekraft</a:t>
            </a:r>
          </a:p>
        </p:txBody>
      </p:sp>
      <p:sp>
        <p:nvSpPr>
          <p:cNvPr id="7" name="Rektangel 6">
            <a:extLst>
              <a:ext uri="{FF2B5EF4-FFF2-40B4-BE49-F238E27FC236}">
                <a16:creationId xmlns:a16="http://schemas.microsoft.com/office/drawing/2014/main" id="{4C183D20-C3B9-43C4-B8D2-51673FA386C7}"/>
              </a:ext>
            </a:extLst>
          </p:cNvPr>
          <p:cNvSpPr/>
          <p:nvPr/>
        </p:nvSpPr>
        <p:spPr>
          <a:xfrm>
            <a:off x="8115289" y="2996052"/>
            <a:ext cx="3023181" cy="1190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800" b="1" i="0" u="none" strike="noStrike" kern="1200" cap="none" spc="0" normalizeH="0" baseline="0" noProof="0">
                <a:ln>
                  <a:noFill/>
                </a:ln>
                <a:solidFill>
                  <a:srgbClr val="FFFFFF"/>
                </a:solidFill>
                <a:effectLst/>
                <a:uLnTx/>
                <a:uFillTx/>
                <a:latin typeface="Calibri" panose="020F0502020204030204"/>
                <a:ea typeface="+mn-ea"/>
                <a:cs typeface="+mn-cs"/>
              </a:rPr>
              <a:t>BYTTES UT</a:t>
            </a:r>
            <a:endPar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lassholder for bilde 5" descr="Et bilde som inneholder person, mann, blå&#10;&#10;Automatisk generert beskrivelse">
            <a:extLst>
              <a:ext uri="{FF2B5EF4-FFF2-40B4-BE49-F238E27FC236}">
                <a16:creationId xmlns:a16="http://schemas.microsoft.com/office/drawing/2014/main" id="{F234EC57-8AD0-CF4A-7038-48A656DD5F95}"/>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2929950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6158864" cy="4821120"/>
          </a:xfrm>
        </p:spPr>
        <p:txBody>
          <a:bodyPr>
            <a:normAutofit lnSpcReduction="10000"/>
          </a:bodyPr>
          <a:lstStyle/>
          <a:p>
            <a:pPr marL="0" indent="0">
              <a:lnSpc>
                <a:spcPct val="100000"/>
              </a:lnSpc>
              <a:buNone/>
            </a:pPr>
            <a:r>
              <a:rPr lang="nb-NO" sz="1600" b="1" noProof="0"/>
              <a:t>I arbeids- og velferdspolitikken</a:t>
            </a:r>
          </a:p>
          <a:p>
            <a:pPr lvl="1">
              <a:lnSpc>
                <a:spcPct val="100000"/>
              </a:lnSpc>
            </a:pPr>
            <a:r>
              <a:rPr lang="nb-NO" sz="1600" noProof="0"/>
              <a:t>Ytelsesnivåer vs. insentiver, arbeidslinjens grenser</a:t>
            </a:r>
          </a:p>
          <a:p>
            <a:pPr lvl="1">
              <a:lnSpc>
                <a:spcPct val="100000"/>
              </a:lnSpc>
            </a:pPr>
            <a:r>
              <a:rPr lang="nb-NO" sz="1600" noProof="0"/>
              <a:t>Universelle vs. behovsprøvde ordninger</a:t>
            </a:r>
          </a:p>
          <a:p>
            <a:pPr lvl="1">
              <a:lnSpc>
                <a:spcPct val="100000"/>
              </a:lnSpc>
            </a:pPr>
            <a:r>
              <a:rPr lang="nb-NO" sz="1600" noProof="0"/>
              <a:t>Offentlig vs. </a:t>
            </a:r>
            <a:r>
              <a:rPr lang="nb-NO" sz="1600"/>
              <a:t>private løsninger</a:t>
            </a:r>
            <a:endParaRPr lang="nb-NO" sz="1600" noProof="0"/>
          </a:p>
          <a:p>
            <a:pPr marL="457200" lvl="1" indent="0">
              <a:lnSpc>
                <a:spcPct val="100000"/>
              </a:lnSpc>
              <a:buNone/>
            </a:pPr>
            <a:endParaRPr lang="nb-NO" sz="1600" noProof="0"/>
          </a:p>
          <a:p>
            <a:pPr marL="0" indent="0">
              <a:lnSpc>
                <a:spcPct val="100000"/>
              </a:lnSpc>
              <a:buNone/>
            </a:pPr>
            <a:r>
              <a:rPr lang="nb-NO" sz="1600" b="1" noProof="0"/>
              <a:t>I samfunnet ellers</a:t>
            </a:r>
          </a:p>
          <a:p>
            <a:pPr lvl="1">
              <a:lnSpc>
                <a:spcPct val="100000"/>
              </a:lnSpc>
            </a:pPr>
            <a:r>
              <a:rPr lang="nb-NO" sz="1600" noProof="0">
                <a:solidFill>
                  <a:srgbClr val="000000"/>
                </a:solidFill>
              </a:rPr>
              <a:t>Klima og miljø</a:t>
            </a:r>
          </a:p>
          <a:p>
            <a:pPr lvl="1">
              <a:lnSpc>
                <a:spcPct val="100000"/>
              </a:lnSpc>
            </a:pPr>
            <a:r>
              <a:rPr lang="nb-NO" sz="1600" noProof="0">
                <a:solidFill>
                  <a:srgbClr val="000000"/>
                </a:solidFill>
              </a:rPr>
              <a:t>Internasjonalt samarbeid</a:t>
            </a:r>
          </a:p>
          <a:p>
            <a:pPr lvl="1">
              <a:lnSpc>
                <a:spcPct val="100000"/>
              </a:lnSpc>
            </a:pPr>
            <a:r>
              <a:rPr lang="nb-NO" sz="1600" noProof="0">
                <a:solidFill>
                  <a:srgbClr val="000000"/>
                </a:solidFill>
              </a:rPr>
              <a:t>Innvandring </a:t>
            </a:r>
            <a:r>
              <a:rPr lang="nb-NO" sz="1600" noProof="0"/>
              <a:t>og integrering</a:t>
            </a:r>
          </a:p>
          <a:p>
            <a:pPr lvl="1">
              <a:lnSpc>
                <a:spcPct val="100000"/>
              </a:lnSpc>
            </a:pPr>
            <a:r>
              <a:rPr lang="nb-NO" sz="1600" noProof="0"/>
              <a:t>Sentralisering </a:t>
            </a:r>
          </a:p>
          <a:p>
            <a:pPr marL="457200" lvl="1" indent="0">
              <a:lnSpc>
                <a:spcPct val="100000"/>
              </a:lnSpc>
              <a:buNone/>
            </a:pPr>
            <a:endParaRPr lang="nb-NO" sz="1600" noProof="0"/>
          </a:p>
          <a:p>
            <a:pPr marL="0" indent="0">
              <a:lnSpc>
                <a:spcPct val="100000"/>
              </a:lnSpc>
              <a:buNone/>
            </a:pPr>
            <a:r>
              <a:rPr lang="nb-NO" sz="1600" b="1"/>
              <a:t>Økende politisk polarisering</a:t>
            </a:r>
          </a:p>
          <a:p>
            <a:pPr lvl="1">
              <a:lnSpc>
                <a:spcPct val="100000"/>
              </a:lnSpc>
            </a:pPr>
            <a:r>
              <a:rPr lang="nb-NO" sz="1600"/>
              <a:t>Flere brå politiske endringer</a:t>
            </a:r>
            <a:endParaRPr lang="nb-NO" sz="1600" noProof="0"/>
          </a:p>
          <a:p>
            <a:pPr lvl="1">
              <a:lnSpc>
                <a:spcPct val="100000"/>
              </a:lnSpc>
            </a:pPr>
            <a:r>
              <a:rPr lang="nb-NO" sz="1600" noProof="0"/>
              <a:t>Utfordrer tilliten til NAV</a:t>
            </a:r>
            <a:endParaRPr lang="nb-NO" sz="1600" b="1"/>
          </a:p>
          <a:p>
            <a:pPr marL="0" indent="0">
              <a:lnSpc>
                <a:spcPct val="100000"/>
              </a:lnSpc>
              <a:buNone/>
            </a:pPr>
            <a:r>
              <a:rPr lang="nb-NO" sz="1600" b="1" noProof="0"/>
              <a:t>	</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nb-NO" noProof="0"/>
              <a:t>Viktige konfliktlinjer fremover</a:t>
            </a:r>
          </a:p>
        </p:txBody>
      </p:sp>
      <p:pic>
        <p:nvPicPr>
          <p:cNvPr id="15" name="Plassholder for bilde 14">
            <a:extLst>
              <a:ext uri="{FF2B5EF4-FFF2-40B4-BE49-F238E27FC236}">
                <a16:creationId xmlns:a16="http://schemas.microsoft.com/office/drawing/2014/main" id="{6FC1ABF3-5F19-4B1A-B064-202C78B767E9}"/>
              </a:ext>
            </a:extLst>
          </p:cNvPr>
          <p:cNvPicPr>
            <a:picLocks noGrp="1" noChangeAspect="1"/>
          </p:cNvPicPr>
          <p:nvPr>
            <p:ph type="pic" sz="quarter" idx="13"/>
          </p:nvPr>
        </p:nvPicPr>
        <p:blipFill rotWithShape="1">
          <a:blip r:embed="rId3" cstate="email">
            <a:extLst>
              <a:ext uri="{28A0092B-C50C-407E-A947-70E740481C1C}">
                <a14:useLocalDpi xmlns:a14="http://schemas.microsoft.com/office/drawing/2010/main"/>
              </a:ext>
            </a:extLst>
          </a:blip>
          <a:srcRect/>
          <a:stretch/>
        </p:blipFill>
        <p:spPr>
          <a:xfrm>
            <a:off x="6640787" y="818903"/>
            <a:ext cx="5551213" cy="5556697"/>
          </a:xfrm>
        </p:spPr>
      </p:pic>
      <p:sp>
        <p:nvSpPr>
          <p:cNvPr id="6" name="TekstSylinder 5">
            <a:extLst>
              <a:ext uri="{FF2B5EF4-FFF2-40B4-BE49-F238E27FC236}">
                <a16:creationId xmlns:a16="http://schemas.microsoft.com/office/drawing/2014/main" id="{B35BF973-C73E-B401-9A8B-94CDBF5D7848}"/>
              </a:ext>
            </a:extLst>
          </p:cNvPr>
          <p:cNvSpPr txBox="1"/>
          <p:nvPr/>
        </p:nvSpPr>
        <p:spPr>
          <a:xfrm>
            <a:off x="10589622" y="6456447"/>
            <a:ext cx="16023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000000"/>
                </a:solidFill>
                <a:effectLst/>
                <a:uLnTx/>
                <a:uFillTx/>
                <a:latin typeface="Calibri" panose="020F0502020204030204"/>
                <a:ea typeface="+mn-ea"/>
                <a:cs typeface="+mn-cs"/>
              </a:rPr>
              <a:t>Foto: </a:t>
            </a:r>
            <a:r>
              <a:rPr kumimoji="0" lang="nb-NO" sz="1200" b="0" i="0" u="none" strike="noStrike" kern="1200" cap="none" spc="0" normalizeH="0" baseline="0" noProof="0" err="1">
                <a:ln>
                  <a:noFill/>
                </a:ln>
                <a:solidFill>
                  <a:srgbClr val="000000"/>
                </a:solidFill>
                <a:effectLst/>
                <a:uLnTx/>
                <a:uFillTx/>
                <a:latin typeface="Calibri" panose="020F0502020204030204"/>
                <a:ea typeface="+mn-ea"/>
                <a:cs typeface="+mn-cs"/>
              </a:rPr>
              <a:t>Colourbox</a:t>
            </a:r>
            <a:endParaRPr kumimoji="0" lang="nb-NO"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8" name="Rett linje 7">
            <a:extLst>
              <a:ext uri="{FF2B5EF4-FFF2-40B4-BE49-F238E27FC236}">
                <a16:creationId xmlns:a16="http://schemas.microsoft.com/office/drawing/2014/main" id="{755D50C6-240A-2BC1-52B2-5361EAEA02ED}"/>
              </a:ext>
            </a:extLst>
          </p:cNvPr>
          <p:cNvCxnSpPr>
            <a:cxnSpLocks/>
          </p:cNvCxnSpPr>
          <p:nvPr/>
        </p:nvCxnSpPr>
        <p:spPr>
          <a:xfrm flipH="1">
            <a:off x="6155635" y="-52448"/>
            <a:ext cx="2708643" cy="6939023"/>
          </a:xfrm>
          <a:prstGeom prst="line">
            <a:avLst/>
          </a:prstGeom>
          <a:ln w="50800">
            <a:solidFill>
              <a:srgbClr val="0C54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2852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pic>
        <p:nvPicPr>
          <p:cNvPr id="15" name="Plassholder for bilde 14">
            <a:extLst>
              <a:ext uri="{FF2B5EF4-FFF2-40B4-BE49-F238E27FC236}">
                <a16:creationId xmlns:a16="http://schemas.microsoft.com/office/drawing/2014/main" id="{6FC1ABF3-5F19-4B1A-B064-202C78B767E9}"/>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6357258" y="0"/>
            <a:ext cx="5823857" cy="6858000"/>
          </a:xfrm>
        </p:spPr>
      </p:pic>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5469835" cy="4821120"/>
          </a:xfrm>
        </p:spPr>
        <p:txBody>
          <a:bodyPr>
            <a:normAutofit lnSpcReduction="10000"/>
          </a:bodyPr>
          <a:lstStyle/>
          <a:p>
            <a:pPr marL="0" indent="0">
              <a:lnSpc>
                <a:spcPct val="100000"/>
              </a:lnSpc>
              <a:buNone/>
            </a:pPr>
            <a:r>
              <a:rPr lang="nb-NO" sz="1600" b="1" noProof="0"/>
              <a:t>Endrede internasjonale rammebetingelser</a:t>
            </a:r>
          </a:p>
          <a:p>
            <a:pPr lvl="1">
              <a:lnSpc>
                <a:spcPct val="100000"/>
              </a:lnSpc>
              <a:buClr>
                <a:srgbClr val="000000"/>
              </a:buClr>
            </a:pPr>
            <a:r>
              <a:rPr lang="nb-NO" sz="1600">
                <a:solidFill>
                  <a:srgbClr val="000000"/>
                </a:solidFill>
              </a:rPr>
              <a:t>EU blir trolig viktigere for Norge i en tid med økt regionalisering og rivalisering mellom land</a:t>
            </a:r>
          </a:p>
          <a:p>
            <a:pPr lvl="1">
              <a:lnSpc>
                <a:spcPct val="100000"/>
              </a:lnSpc>
              <a:buClr>
                <a:srgbClr val="000000"/>
              </a:buClr>
            </a:pPr>
            <a:r>
              <a:rPr lang="nb-NO" sz="1600" noProof="0">
                <a:solidFill>
                  <a:srgbClr val="000000"/>
                </a:solidFill>
              </a:rPr>
              <a:t>Økt behov </a:t>
            </a:r>
            <a:r>
              <a:rPr lang="nb-NO" sz="1600" noProof="0" err="1">
                <a:solidFill>
                  <a:srgbClr val="000000"/>
                </a:solidFill>
              </a:rPr>
              <a:t>fo</a:t>
            </a:r>
            <a:r>
              <a:rPr lang="nb-NO" sz="1600">
                <a:solidFill>
                  <a:srgbClr val="000000"/>
                </a:solidFill>
              </a:rPr>
              <a:t>r beredskap i møtet med framtidige internasjonale kriser</a:t>
            </a:r>
            <a:endParaRPr lang="nb-NO" sz="1600" noProof="0">
              <a:solidFill>
                <a:srgbClr val="000000"/>
              </a:solidFill>
            </a:endParaRPr>
          </a:p>
          <a:p>
            <a:pPr marL="457200" lvl="1" indent="0">
              <a:lnSpc>
                <a:spcPct val="100000"/>
              </a:lnSpc>
              <a:buNone/>
            </a:pPr>
            <a:endParaRPr lang="nb-NO" sz="1600" noProof="0"/>
          </a:p>
          <a:p>
            <a:pPr marL="0" indent="0">
              <a:lnSpc>
                <a:spcPct val="100000"/>
              </a:lnSpc>
              <a:buNone/>
            </a:pPr>
            <a:r>
              <a:rPr lang="nb-NO" sz="1600" b="1" noProof="0"/>
              <a:t>EU-politikk mot 2035</a:t>
            </a:r>
          </a:p>
          <a:p>
            <a:pPr lvl="1">
              <a:lnSpc>
                <a:spcPct val="100000"/>
              </a:lnSpc>
              <a:buClr>
                <a:srgbClr val="000000"/>
              </a:buClr>
            </a:pPr>
            <a:r>
              <a:rPr lang="nb-NO" sz="1600"/>
              <a:t>Aktiv rolle i personvern- og IKT-/digitaliseringspolitikk</a:t>
            </a:r>
          </a:p>
          <a:p>
            <a:pPr lvl="1">
              <a:lnSpc>
                <a:spcPct val="100000"/>
              </a:lnSpc>
              <a:buClr>
                <a:srgbClr val="000000"/>
              </a:buClr>
            </a:pPr>
            <a:r>
              <a:rPr lang="nb-NO" sz="1600" noProof="0"/>
              <a:t>«Soft </a:t>
            </a:r>
            <a:r>
              <a:rPr lang="nb-NO" sz="1600" noProof="0" err="1"/>
              <a:t>politics</a:t>
            </a:r>
            <a:r>
              <a:rPr lang="nb-NO" sz="1600" noProof="0"/>
              <a:t>»: Anbefalinger til medlemslandene og krav om lokale mål og handlingsplaner</a:t>
            </a:r>
          </a:p>
          <a:p>
            <a:pPr lvl="2">
              <a:lnSpc>
                <a:spcPct val="100000"/>
              </a:lnSpc>
              <a:buClr>
                <a:srgbClr val="000000"/>
              </a:buClr>
            </a:pPr>
            <a:r>
              <a:rPr lang="nb-NO" sz="1200"/>
              <a:t>Kompetansepolitikk, arbeids- og velferdspolitikk</a:t>
            </a:r>
          </a:p>
          <a:p>
            <a:pPr lvl="2">
              <a:lnSpc>
                <a:spcPct val="100000"/>
              </a:lnSpc>
              <a:buClr>
                <a:srgbClr val="000000"/>
              </a:buClr>
            </a:pPr>
            <a:r>
              <a:rPr lang="nb-NO" sz="1200"/>
              <a:t>Økende oppmerksomhet om behovet for motvirke fattigdom og økonomiske forskjeller</a:t>
            </a:r>
            <a:endParaRPr lang="nb-NO" sz="1200" noProof="0"/>
          </a:p>
          <a:p>
            <a:pPr marL="457200" lvl="1" indent="0">
              <a:lnSpc>
                <a:spcPct val="100000"/>
              </a:lnSpc>
              <a:buNone/>
            </a:pPr>
            <a:endParaRPr lang="nb-NO" sz="1600" noProof="0"/>
          </a:p>
          <a:p>
            <a:pPr marL="0" indent="0">
              <a:lnSpc>
                <a:spcPct val="100000"/>
              </a:lnSpc>
              <a:buNone/>
            </a:pPr>
            <a:r>
              <a:rPr lang="nb-NO" sz="1600" b="1"/>
              <a:t>FNs </a:t>
            </a:r>
            <a:r>
              <a:rPr lang="nb-NO" sz="1600" b="1" err="1"/>
              <a:t>bærekraftsmål</a:t>
            </a:r>
            <a:endParaRPr lang="nb-NO" sz="1600" b="1"/>
          </a:p>
          <a:p>
            <a:pPr lvl="1">
              <a:lnSpc>
                <a:spcPct val="100000"/>
              </a:lnSpc>
              <a:buClr>
                <a:srgbClr val="000000"/>
              </a:buClr>
            </a:pPr>
            <a:r>
              <a:rPr lang="nb-NO" sz="1600" noProof="0"/>
              <a:t>Overbygning som innvirker på strategier og planer for NAV og våre samarbeidspartnere</a:t>
            </a:r>
            <a:r>
              <a:rPr lang="nb-NO" sz="1600" b="1" noProof="0"/>
              <a:t>	</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nb-NO" noProof="0">
                <a:solidFill>
                  <a:schemeClr val="tx1"/>
                </a:solidFill>
              </a:rPr>
              <a:t>Internasjonal påvirkning</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294811" y="6522007"/>
            <a:ext cx="16023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Foto: </a:t>
            </a:r>
            <a:r>
              <a:rPr kumimoji="0" lang="nb-NO" sz="1000" b="0" i="0" u="none" strike="noStrike" kern="1200" cap="none" spc="0" normalizeH="0" baseline="0" noProof="0" err="1">
                <a:ln>
                  <a:noFill/>
                </a:ln>
                <a:solidFill>
                  <a:srgbClr val="FFFFFF">
                    <a:lumMod val="50000"/>
                  </a:srgbClr>
                </a:solidFill>
                <a:effectLst/>
                <a:uLnTx/>
                <a:uFillTx/>
                <a:latin typeface="Arial" panose="020B0604020202020204" pitchFamily="34" charset="0"/>
                <a:cs typeface="Arial" panose="020B0604020202020204" pitchFamily="34" charset="0"/>
              </a:rPr>
              <a:t>Colourbox</a:t>
            </a:r>
            <a:endParaRPr kumimoji="0" lang="nb-NO"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25713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5469835" cy="4622483"/>
          </a:xfrm>
        </p:spPr>
        <p:txBody>
          <a:bodyPr>
            <a:normAutofit/>
          </a:bodyPr>
          <a:lstStyle/>
          <a:p>
            <a:pPr marL="0" indent="0">
              <a:lnSpc>
                <a:spcPct val="100000"/>
              </a:lnSpc>
              <a:buNone/>
            </a:pPr>
            <a:r>
              <a:rPr lang="nb-NO" sz="1600" b="1" noProof="0"/>
              <a:t>Grep for omstilling og kompetanseutvikling</a:t>
            </a:r>
          </a:p>
          <a:p>
            <a:pPr lvl="1">
              <a:lnSpc>
                <a:spcPct val="100000"/>
              </a:lnSpc>
            </a:pPr>
            <a:r>
              <a:rPr lang="nb-NO" sz="1600" noProof="0"/>
              <a:t>Både </a:t>
            </a:r>
            <a:r>
              <a:rPr lang="nb-NO" sz="1600"/>
              <a:t>NAV,</a:t>
            </a:r>
            <a:r>
              <a:rPr lang="nb-NO" sz="1600" noProof="0"/>
              <a:t> arbeidsgivere, arbeidstakere og politikere har ansvar</a:t>
            </a:r>
          </a:p>
          <a:p>
            <a:pPr lvl="1">
              <a:lnSpc>
                <a:spcPct val="100000"/>
              </a:lnSpc>
            </a:pPr>
            <a:r>
              <a:rPr lang="nb-NO" sz="1600" noProof="0"/>
              <a:t>Økt vekt på utdanning som arbeidspolitisk virkemiddel</a:t>
            </a:r>
          </a:p>
          <a:p>
            <a:pPr marL="457200" lvl="1" indent="0">
              <a:lnSpc>
                <a:spcPct val="100000"/>
              </a:lnSpc>
              <a:buNone/>
            </a:pPr>
            <a:endParaRPr lang="nb-NO" sz="1600" noProof="0"/>
          </a:p>
          <a:p>
            <a:pPr marL="0" indent="0">
              <a:lnSpc>
                <a:spcPct val="100000"/>
              </a:lnSpc>
              <a:buNone/>
            </a:pPr>
            <a:r>
              <a:rPr lang="nb-NO" sz="1600" b="1" noProof="0"/>
              <a:t>Økt samhandling og koordinering</a:t>
            </a:r>
          </a:p>
          <a:p>
            <a:pPr lvl="1">
              <a:lnSpc>
                <a:spcPct val="100000"/>
              </a:lnSpc>
            </a:pPr>
            <a:r>
              <a:rPr lang="nb-NO" sz="1600" noProof="0"/>
              <a:t>Krever regelverksendringer og nedbygging av organisatoriske barrierer</a:t>
            </a:r>
          </a:p>
          <a:p>
            <a:pPr marL="457200" lvl="1" indent="0">
              <a:lnSpc>
                <a:spcPct val="100000"/>
              </a:lnSpc>
              <a:buNone/>
            </a:pPr>
            <a:endParaRPr lang="nb-NO" sz="1600" noProof="0"/>
          </a:p>
          <a:p>
            <a:pPr marL="0" indent="0">
              <a:lnSpc>
                <a:spcPct val="100000"/>
              </a:lnSpc>
              <a:buNone/>
            </a:pPr>
            <a:r>
              <a:rPr lang="nb-NO" sz="1600" b="1" noProof="0"/>
              <a:t>Digitalisering og forenkling</a:t>
            </a:r>
          </a:p>
          <a:p>
            <a:pPr lvl="1">
              <a:lnSpc>
                <a:spcPct val="100000"/>
              </a:lnSpc>
            </a:pPr>
            <a:r>
              <a:rPr lang="nb-NO" sz="1600" noProof="0"/>
              <a:t>Mål om mer helhetlige brukeropplevelser i møtet med det offentlige</a:t>
            </a:r>
          </a:p>
          <a:p>
            <a:pPr lvl="1">
              <a:lnSpc>
                <a:spcPct val="100000"/>
              </a:lnSpc>
            </a:pPr>
            <a:r>
              <a:rPr lang="nb-NO" sz="1600" noProof="0"/>
              <a:t>Digitalisering og automatisering forutsetter forenkling av regelverket</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nb-NO" noProof="0">
                <a:solidFill>
                  <a:schemeClr val="tx1"/>
                </a:solidFill>
              </a:rPr>
              <a:t>Politiske muligheter</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294811" y="6463014"/>
            <a:ext cx="16023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oto: NAV</a:t>
            </a:r>
          </a:p>
        </p:txBody>
      </p:sp>
      <p:sp>
        <p:nvSpPr>
          <p:cNvPr id="7" name="Rektangel 6">
            <a:extLst>
              <a:ext uri="{FF2B5EF4-FFF2-40B4-BE49-F238E27FC236}">
                <a16:creationId xmlns:a16="http://schemas.microsoft.com/office/drawing/2014/main" id="{4C183D20-C3B9-43C4-B8D2-51673FA386C7}"/>
              </a:ext>
            </a:extLst>
          </p:cNvPr>
          <p:cNvSpPr/>
          <p:nvPr/>
        </p:nvSpPr>
        <p:spPr>
          <a:xfrm>
            <a:off x="8115289" y="2996052"/>
            <a:ext cx="3023181" cy="1190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800" b="1" i="0" u="none" strike="noStrike" kern="1200" cap="none" spc="0" normalizeH="0" baseline="0" noProof="0">
                <a:ln>
                  <a:noFill/>
                </a:ln>
                <a:solidFill>
                  <a:srgbClr val="FFFFFF"/>
                </a:solidFill>
                <a:effectLst/>
                <a:uLnTx/>
                <a:uFillTx/>
                <a:latin typeface="Calibri" panose="020F0502020204030204"/>
                <a:ea typeface="+mn-ea"/>
                <a:cs typeface="+mn-cs"/>
              </a:rPr>
              <a:t>BYTTES UT</a:t>
            </a:r>
            <a:endPar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lassholder for bilde 7" descr="Et bilde som inneholder tekst, natt&#10;&#10;Automatisk generert beskrivelse">
            <a:extLst>
              <a:ext uri="{FF2B5EF4-FFF2-40B4-BE49-F238E27FC236}">
                <a16:creationId xmlns:a16="http://schemas.microsoft.com/office/drawing/2014/main" id="{AF2D43A8-8A7D-4653-AB0D-BA7AE31C5CFD}"/>
              </a:ext>
            </a:extLst>
          </p:cNvPr>
          <p:cNvPicPr>
            <a:picLocks noGrp="1" noChangeAspect="1"/>
          </p:cNvPicPr>
          <p:nvPr>
            <p:ph type="pic" sz="quarter" idx="13"/>
          </p:nvPr>
        </p:nvPicPr>
        <p:blipFill rotWithShape="1">
          <a:blip r:embed="rId3" cstate="email">
            <a:extLst>
              <a:ext uri="{28A0092B-C50C-407E-A947-70E740481C1C}">
                <a14:useLocalDpi xmlns:a14="http://schemas.microsoft.com/office/drawing/2010/main"/>
              </a:ext>
            </a:extLst>
          </a:blip>
          <a:srcRect/>
          <a:stretch/>
        </p:blipFill>
        <p:spPr>
          <a:xfrm>
            <a:off x="6160021" y="0"/>
            <a:ext cx="6031979" cy="6858000"/>
          </a:xfrm>
        </p:spPr>
      </p:pic>
    </p:spTree>
    <p:extLst>
      <p:ext uri="{BB962C8B-B14F-4D97-AF65-F5344CB8AC3E}">
        <p14:creationId xmlns:p14="http://schemas.microsoft.com/office/powerpoint/2010/main" val="223454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C2E5076-A38D-4C3C-A44D-A68E889B9BB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4C2E5076-A38D-4C3C-A44D-A68E889B9BB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1D35DC-7ADA-48A9-A27E-918769EDE1DB}"/>
              </a:ext>
            </a:extLst>
          </p:cNvPr>
          <p:cNvSpPr>
            <a:spLocks noGrp="1"/>
          </p:cNvSpPr>
          <p:nvPr>
            <p:ph type="title"/>
          </p:nvPr>
        </p:nvSpPr>
        <p:spPr/>
        <p:txBody>
          <a:bodyPr vert="horz">
            <a:normAutofit/>
          </a:bodyPr>
          <a:lstStyle/>
          <a:p>
            <a:r>
              <a:rPr lang="nb-NO">
                <a:solidFill>
                  <a:prstClr val="black"/>
                </a:solidFill>
              </a:rPr>
              <a:t>Samfunnstrender og NAV mot 2035</a:t>
            </a:r>
            <a:endParaRPr lang="nb-NO">
              <a:latin typeface="Arial" panose="020B0604020202020204" pitchFamily="34" charset="0"/>
              <a:cs typeface="Arial" panose="020B0604020202020204" pitchFamily="34" charset="0"/>
            </a:endParaRPr>
          </a:p>
        </p:txBody>
      </p:sp>
      <p:sp>
        <p:nvSpPr>
          <p:cNvPr id="4" name="Oval 2">
            <a:extLst>
              <a:ext uri="{FF2B5EF4-FFF2-40B4-BE49-F238E27FC236}">
                <a16:creationId xmlns:a16="http://schemas.microsoft.com/office/drawing/2014/main" id="{258ACBBD-752B-24B8-7F08-C831FA2AFA01}"/>
              </a:ext>
            </a:extLst>
          </p:cNvPr>
          <p:cNvSpPr/>
          <p:nvPr/>
        </p:nvSpPr>
        <p:spPr>
          <a:xfrm>
            <a:off x="659265" y="2029365"/>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Oval 2">
            <a:extLst>
              <a:ext uri="{FF2B5EF4-FFF2-40B4-BE49-F238E27FC236}">
                <a16:creationId xmlns:a16="http://schemas.microsoft.com/office/drawing/2014/main" id="{C717309A-6B8B-798D-8F4E-76483469EA82}"/>
              </a:ext>
            </a:extLst>
          </p:cNvPr>
          <p:cNvSpPr/>
          <p:nvPr/>
        </p:nvSpPr>
        <p:spPr>
          <a:xfrm>
            <a:off x="659265" y="4288936"/>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2">
            <a:extLst>
              <a:ext uri="{FF2B5EF4-FFF2-40B4-BE49-F238E27FC236}">
                <a16:creationId xmlns:a16="http://schemas.microsoft.com/office/drawing/2014/main" id="{695EFC29-B74D-C61C-667A-0AB97930F8A9}"/>
              </a:ext>
            </a:extLst>
          </p:cNvPr>
          <p:cNvSpPr/>
          <p:nvPr/>
        </p:nvSpPr>
        <p:spPr>
          <a:xfrm>
            <a:off x="6222508" y="2029365"/>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Oval 2">
            <a:extLst>
              <a:ext uri="{FF2B5EF4-FFF2-40B4-BE49-F238E27FC236}">
                <a16:creationId xmlns:a16="http://schemas.microsoft.com/office/drawing/2014/main" id="{780EC850-DD2E-4B77-8F6A-BD932065C062}"/>
              </a:ext>
            </a:extLst>
          </p:cNvPr>
          <p:cNvSpPr/>
          <p:nvPr/>
        </p:nvSpPr>
        <p:spPr>
          <a:xfrm>
            <a:off x="6222507" y="4288936"/>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Grafikk 14" descr="Mann med stav kontur">
            <a:extLst>
              <a:ext uri="{FF2B5EF4-FFF2-40B4-BE49-F238E27FC236}">
                <a16:creationId xmlns:a16="http://schemas.microsoft.com/office/drawing/2014/main" id="{D6C7B324-5E4F-774E-2484-3D4C7BA20F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8518" y="2158254"/>
            <a:ext cx="1071440" cy="1071440"/>
          </a:xfrm>
          <a:prstGeom prst="rect">
            <a:avLst/>
          </a:prstGeom>
        </p:spPr>
      </p:pic>
      <p:pic>
        <p:nvPicPr>
          <p:cNvPr id="17" name="Grafikk 16" descr="Lastebil kontur">
            <a:extLst>
              <a:ext uri="{FF2B5EF4-FFF2-40B4-BE49-F238E27FC236}">
                <a16:creationId xmlns:a16="http://schemas.microsoft.com/office/drawing/2014/main" id="{B57AA32D-F08F-F922-EF27-29FFCF1D7E2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38200" y="4487145"/>
            <a:ext cx="1002120" cy="1002120"/>
          </a:xfrm>
          <a:prstGeom prst="rect">
            <a:avLst/>
          </a:prstGeom>
        </p:spPr>
      </p:pic>
      <p:pic>
        <p:nvPicPr>
          <p:cNvPr id="19" name="Grafikk 18" descr="psykisk helse kontur">
            <a:extLst>
              <a:ext uri="{FF2B5EF4-FFF2-40B4-BE49-F238E27FC236}">
                <a16:creationId xmlns:a16="http://schemas.microsoft.com/office/drawing/2014/main" id="{12C5F873-B6AC-83BF-6C32-FC2985EF758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402024" y="2195894"/>
            <a:ext cx="1033800" cy="1033800"/>
          </a:xfrm>
          <a:prstGeom prst="rect">
            <a:avLst/>
          </a:prstGeom>
        </p:spPr>
      </p:pic>
      <p:pic>
        <p:nvPicPr>
          <p:cNvPr id="25" name="Grafikk 24" descr="Knyttneve kontur">
            <a:extLst>
              <a:ext uri="{FF2B5EF4-FFF2-40B4-BE49-F238E27FC236}">
                <a16:creationId xmlns:a16="http://schemas.microsoft.com/office/drawing/2014/main" id="{350C35FA-3D40-89A0-D9EB-69654A82F4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53323" y="4348264"/>
            <a:ext cx="1213317" cy="1213317"/>
          </a:xfrm>
          <a:prstGeom prst="rect">
            <a:avLst/>
          </a:prstGeom>
        </p:spPr>
      </p:pic>
      <p:sp>
        <p:nvSpPr>
          <p:cNvPr id="9" name="TekstSylinder 8">
            <a:extLst>
              <a:ext uri="{FF2B5EF4-FFF2-40B4-BE49-F238E27FC236}">
                <a16:creationId xmlns:a16="http://schemas.microsoft.com/office/drawing/2014/main" id="{94FAFBD4-F634-7E4A-3DD8-17508C3E8087}"/>
              </a:ext>
            </a:extLst>
          </p:cNvPr>
          <p:cNvSpPr txBox="1"/>
          <p:nvPr/>
        </p:nvSpPr>
        <p:spPr>
          <a:xfrm>
            <a:off x="1970810" y="2058412"/>
            <a:ext cx="3846137"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Aldring og sentralisering utfordrer velferdsstaten og NAV</a:t>
            </a:r>
            <a:b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Økt usikkerhet om innvandringen</a:t>
            </a:r>
          </a:p>
        </p:txBody>
      </p:sp>
      <p:sp>
        <p:nvSpPr>
          <p:cNvPr id="10" name="TekstSylinder 9">
            <a:extLst>
              <a:ext uri="{FF2B5EF4-FFF2-40B4-BE49-F238E27FC236}">
                <a16:creationId xmlns:a16="http://schemas.microsoft.com/office/drawing/2014/main" id="{71632922-5584-40B4-AEC7-E52BDD68ED21}"/>
              </a:ext>
            </a:extLst>
          </p:cNvPr>
          <p:cNvSpPr txBox="1"/>
          <p:nvPr/>
        </p:nvSpPr>
        <p:spPr>
          <a:xfrm>
            <a:off x="1984228" y="4288936"/>
            <a:ext cx="3846137"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Omstilling og mangel på </a:t>
            </a:r>
            <a:b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arbeidskraft</a:t>
            </a:r>
            <a:b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Økt regionalisering av internasjonal handel</a:t>
            </a:r>
          </a:p>
        </p:txBody>
      </p:sp>
      <p:sp>
        <p:nvSpPr>
          <p:cNvPr id="14" name="TekstSylinder 13">
            <a:extLst>
              <a:ext uri="{FF2B5EF4-FFF2-40B4-BE49-F238E27FC236}">
                <a16:creationId xmlns:a16="http://schemas.microsoft.com/office/drawing/2014/main" id="{1E0D0B84-4EDA-E327-B359-7F67668CA4C5}"/>
              </a:ext>
            </a:extLst>
          </p:cNvPr>
          <p:cNvSpPr txBox="1"/>
          <p:nvPr/>
        </p:nvSpPr>
        <p:spPr>
          <a:xfrm>
            <a:off x="7546676" y="2029365"/>
            <a:ext cx="4239075"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Nye forventninger og muligheter</a:t>
            </a:r>
            <a:b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Rammebetingelser og kompetanse-behov kan redusere utviklingstakten</a:t>
            </a:r>
          </a:p>
        </p:txBody>
      </p:sp>
      <p:sp>
        <p:nvSpPr>
          <p:cNvPr id="16" name="TekstSylinder 15">
            <a:extLst>
              <a:ext uri="{FF2B5EF4-FFF2-40B4-BE49-F238E27FC236}">
                <a16:creationId xmlns:a16="http://schemas.microsoft.com/office/drawing/2014/main" id="{D73C0409-8A5D-E152-19FF-16761D16718F}"/>
              </a:ext>
            </a:extLst>
          </p:cNvPr>
          <p:cNvSpPr txBox="1"/>
          <p:nvPr/>
        </p:nvSpPr>
        <p:spPr>
          <a:xfrm>
            <a:off x="7529460" y="4288936"/>
            <a:ext cx="3399797"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Risiko for økt polarisering og redusert tillit utfordrer NAV og kan gi større politisk uforutsigbarhet</a:t>
            </a:r>
          </a:p>
        </p:txBody>
      </p:sp>
    </p:spTree>
    <p:extLst>
      <p:ext uri="{BB962C8B-B14F-4D97-AF65-F5344CB8AC3E}">
        <p14:creationId xmlns:p14="http://schemas.microsoft.com/office/powerpoint/2010/main" val="2811406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6031979" cy="4351338"/>
          </a:xfrm>
        </p:spPr>
        <p:txBody>
          <a:bodyPr>
            <a:noAutofit/>
          </a:bodyPr>
          <a:lstStyle/>
          <a:p>
            <a:r>
              <a:rPr lang="nb-NO" sz="2400">
                <a:effectLst/>
              </a:rPr>
              <a:t>Hvordan skal vi sikre velferdsstatens bærekraft i fremtiden?</a:t>
            </a:r>
          </a:p>
          <a:p>
            <a:endParaRPr lang="nb-NO" sz="2400">
              <a:effectLst/>
            </a:endParaRPr>
          </a:p>
          <a:p>
            <a:r>
              <a:rPr lang="nb-NO" sz="2400">
                <a:effectLst/>
              </a:rPr>
              <a:t>Hvilke politiske tiltak må til for å inkludere flere unge og innvandrere i arbeidslivet?</a:t>
            </a:r>
          </a:p>
          <a:p>
            <a:endParaRPr lang="nb-NO" sz="2400">
              <a:effectLst/>
            </a:endParaRPr>
          </a:p>
          <a:p>
            <a:r>
              <a:rPr lang="nb-NO" sz="2400">
                <a:effectLst/>
              </a:rPr>
              <a:t>Har NAV tilstrekkelig beredskap for fremtidige kriser og dataangrep?</a:t>
            </a:r>
          </a:p>
          <a:p>
            <a:endParaRPr lang="nb-NO" sz="2400">
              <a:effectLst/>
            </a:endParaRPr>
          </a:p>
          <a:p>
            <a:r>
              <a:rPr lang="nb-NO" sz="2400">
                <a:effectLst/>
              </a:rPr>
              <a:t>Hvilken betydning vil tillits-</a:t>
            </a:r>
            <a:br>
              <a:rPr lang="nb-NO" sz="2400">
                <a:effectLst/>
              </a:rPr>
            </a:br>
            <a:r>
              <a:rPr lang="nb-NO" sz="2400">
                <a:effectLst/>
              </a:rPr>
              <a:t>reformen ha for NAV?</a:t>
            </a:r>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nb-NO"/>
              <a:t>Refleksjonsspørsmål</a:t>
            </a:r>
          </a:p>
        </p:txBody>
      </p:sp>
    </p:spTree>
    <p:extLst>
      <p:ext uri="{BB962C8B-B14F-4D97-AF65-F5344CB8AC3E}">
        <p14:creationId xmlns:p14="http://schemas.microsoft.com/office/powerpoint/2010/main" val="21564948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kstSylinder 19">
            <a:extLst>
              <a:ext uri="{FF2B5EF4-FFF2-40B4-BE49-F238E27FC236}">
                <a16:creationId xmlns:a16="http://schemas.microsoft.com/office/drawing/2014/main" id="{C21C05B3-ED5B-4685-ACCF-B58B195A777A}"/>
              </a:ext>
            </a:extLst>
          </p:cNvPr>
          <p:cNvSpPr txBox="1"/>
          <p:nvPr/>
        </p:nvSpPr>
        <p:spPr>
          <a:xfrm rot="5400000">
            <a:off x="11308704" y="5974707"/>
            <a:ext cx="1489587" cy="276999"/>
          </a:xfrm>
          <a:prstGeom prst="rect">
            <a:avLst/>
          </a:prstGeom>
          <a:noFill/>
        </p:spPr>
        <p:txBody>
          <a:bodyPr wrap="square" rtlCol="0">
            <a:spAutoFit/>
          </a:bodyPr>
          <a:lstStyle/>
          <a:p>
            <a:r>
              <a:rPr lang="nb-NO" sz="1200">
                <a:solidFill>
                  <a:schemeClr val="bg1"/>
                </a:solidFill>
                <a:latin typeface="Arial" panose="020B0604020202020204" pitchFamily="34" charset="0"/>
                <a:cs typeface="Arial" panose="020B0604020202020204" pitchFamily="34" charset="0"/>
              </a:rPr>
              <a:t>Foto: </a:t>
            </a:r>
            <a:r>
              <a:rPr lang="nb-NO" sz="1200" err="1">
                <a:solidFill>
                  <a:schemeClr val="bg1"/>
                </a:solidFill>
                <a:latin typeface="Arial" panose="020B0604020202020204" pitchFamily="34" charset="0"/>
                <a:cs typeface="Arial" panose="020B0604020202020204" pitchFamily="34" charset="0"/>
              </a:rPr>
              <a:t>Unsplash</a:t>
            </a:r>
            <a:endParaRPr lang="nb-NO" sz="120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39F508D-9D63-9F4C-9693-BF497EEFD82A}"/>
              </a:ext>
            </a:extLst>
          </p:cNvPr>
          <p:cNvSpPr/>
          <p:nvPr/>
        </p:nvSpPr>
        <p:spPr>
          <a:xfrm>
            <a:off x="5224534" y="1674674"/>
            <a:ext cx="6445045" cy="1754326"/>
          </a:xfrm>
          <a:prstGeom prst="rect">
            <a:avLst/>
          </a:prstGeom>
        </p:spPr>
        <p:txBody>
          <a:bodyPr wrap="square">
            <a:spAutoFit/>
          </a:bodyPr>
          <a:lstStyle/>
          <a:p>
            <a:r>
              <a:rPr lang="nb-NO" sz="5400" b="1">
                <a:solidFill>
                  <a:schemeClr val="bg1"/>
                </a:solidFill>
                <a:latin typeface="Arial" panose="020B0604020202020204" pitchFamily="34" charset="0"/>
                <a:cs typeface="Arial" panose="020B0604020202020204" pitchFamily="34" charset="0"/>
              </a:rPr>
              <a:t>Kompetansebehov i NAV</a:t>
            </a:r>
            <a:endParaRPr lang="en-NO" sz="5400">
              <a:solidFill>
                <a:schemeClr val="bg1"/>
              </a:solidFill>
            </a:endParaRPr>
          </a:p>
        </p:txBody>
      </p:sp>
      <p:pic>
        <p:nvPicPr>
          <p:cNvPr id="3" name="Bilde 2">
            <a:extLst>
              <a:ext uri="{FF2B5EF4-FFF2-40B4-BE49-F238E27FC236}">
                <a16:creationId xmlns:a16="http://schemas.microsoft.com/office/drawing/2014/main" id="{2459CC14-A567-6FD3-5E93-241BD7A5A1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6" name="Ellipse 5">
            <a:extLst>
              <a:ext uri="{FF2B5EF4-FFF2-40B4-BE49-F238E27FC236}">
                <a16:creationId xmlns:a16="http://schemas.microsoft.com/office/drawing/2014/main" id="{26C59954-341B-C54E-4C87-38ED6CDD7D9F}"/>
              </a:ext>
            </a:extLst>
          </p:cNvPr>
          <p:cNvSpPr/>
          <p:nvPr/>
        </p:nvSpPr>
        <p:spPr>
          <a:xfrm>
            <a:off x="1338800" y="664029"/>
            <a:ext cx="3363313" cy="3492126"/>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kstSylinder 7">
            <a:extLst>
              <a:ext uri="{FF2B5EF4-FFF2-40B4-BE49-F238E27FC236}">
                <a16:creationId xmlns:a16="http://schemas.microsoft.com/office/drawing/2014/main" id="{2BCBBF15-755B-FF32-970E-EC53D129A38A}"/>
              </a:ext>
            </a:extLst>
          </p:cNvPr>
          <p:cNvSpPr txBox="1"/>
          <p:nvPr/>
        </p:nvSpPr>
        <p:spPr>
          <a:xfrm>
            <a:off x="1338800" y="1809927"/>
            <a:ext cx="3363313" cy="1200329"/>
          </a:xfrm>
          <a:prstGeom prst="rect">
            <a:avLst/>
          </a:prstGeom>
          <a:noFill/>
          <a:effectLst>
            <a:glow rad="190500">
              <a:schemeClr val="accent1">
                <a:satMod val="175000"/>
                <a:alpha val="40000"/>
              </a:schemeClr>
            </a:glow>
            <a:softEdge rad="177800"/>
          </a:effectLst>
        </p:spPr>
        <p:txBody>
          <a:bodyPr wrap="square" rtlCol="0">
            <a:spAutoFit/>
          </a:bodyPr>
          <a:lstStyle/>
          <a:p>
            <a:pPr algn="ctr"/>
            <a:r>
              <a:rPr lang="nb-NO" sz="3600" b="1">
                <a:solidFill>
                  <a:schemeClr val="bg1"/>
                </a:solidFill>
                <a:latin typeface="Arial" panose="020B0604020202020204" pitchFamily="34" charset="0"/>
                <a:cs typeface="Arial" panose="020B0604020202020204" pitchFamily="34" charset="0"/>
              </a:rPr>
              <a:t>Kompetanse-behov i NAV</a:t>
            </a:r>
          </a:p>
        </p:txBody>
      </p:sp>
    </p:spTree>
    <p:extLst>
      <p:ext uri="{BB962C8B-B14F-4D97-AF65-F5344CB8AC3E}">
        <p14:creationId xmlns:p14="http://schemas.microsoft.com/office/powerpoint/2010/main" val="32504927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09203F1-4DA9-92C9-6619-EC97165140C0}"/>
              </a:ext>
            </a:extLst>
          </p:cNvPr>
          <p:cNvSpPr>
            <a:spLocks noGrp="1"/>
          </p:cNvSpPr>
          <p:nvPr>
            <p:ph type="title"/>
          </p:nvPr>
        </p:nvSpPr>
        <p:spPr/>
        <p:txBody>
          <a:bodyPr/>
          <a:lstStyle/>
          <a:p>
            <a:pPr algn="ctr"/>
            <a:r>
              <a:rPr lang="nb-NO">
                <a:solidFill>
                  <a:schemeClr val="tx1"/>
                </a:solidFill>
              </a:rPr>
              <a:t>Framtidas kompetansebehov i NAV</a:t>
            </a:r>
            <a:endParaRPr lang="nb-NO"/>
          </a:p>
        </p:txBody>
      </p:sp>
      <p:grpSp>
        <p:nvGrpSpPr>
          <p:cNvPr id="3" name="Group 10">
            <a:extLst>
              <a:ext uri="{FF2B5EF4-FFF2-40B4-BE49-F238E27FC236}">
                <a16:creationId xmlns:a16="http://schemas.microsoft.com/office/drawing/2014/main" id="{5B1D8906-8C06-1F14-A3DF-6CACE0968117}"/>
              </a:ext>
            </a:extLst>
          </p:cNvPr>
          <p:cNvGrpSpPr/>
          <p:nvPr/>
        </p:nvGrpSpPr>
        <p:grpSpPr>
          <a:xfrm>
            <a:off x="3503265" y="1716432"/>
            <a:ext cx="4236334" cy="4579002"/>
            <a:chOff x="643921" y="1493918"/>
            <a:chExt cx="2590429" cy="2953609"/>
          </a:xfrm>
        </p:grpSpPr>
        <p:sp>
          <p:nvSpPr>
            <p:cNvPr id="4" name="Freeform 18">
              <a:extLst>
                <a:ext uri="{FF2B5EF4-FFF2-40B4-BE49-F238E27FC236}">
                  <a16:creationId xmlns:a16="http://schemas.microsoft.com/office/drawing/2014/main" id="{26355C6D-5824-7F86-7BCB-F8761A6E4BA3}"/>
                </a:ext>
              </a:extLst>
            </p:cNvPr>
            <p:cNvSpPr>
              <a:spLocks/>
            </p:cNvSpPr>
            <p:nvPr/>
          </p:nvSpPr>
          <p:spPr bwMode="auto">
            <a:xfrm>
              <a:off x="693506" y="1495071"/>
              <a:ext cx="1276351" cy="1459538"/>
            </a:xfrm>
            <a:custGeom>
              <a:avLst/>
              <a:gdLst/>
              <a:ahLst/>
              <a:cxnLst/>
              <a:rect l="l" t="t" r="r" b="b"/>
              <a:pathLst>
                <a:path w="1095957" h="1253252">
                  <a:moveTo>
                    <a:pt x="1095957" y="0"/>
                  </a:moveTo>
                  <a:lnTo>
                    <a:pt x="1095957" y="1253252"/>
                  </a:lnTo>
                  <a:lnTo>
                    <a:pt x="0" y="1253252"/>
                  </a:lnTo>
                  <a:lnTo>
                    <a:pt x="2876" y="1250470"/>
                  </a:lnTo>
                  <a:lnTo>
                    <a:pt x="12723" y="1241092"/>
                  </a:lnTo>
                  <a:lnTo>
                    <a:pt x="41507" y="1206703"/>
                  </a:lnTo>
                  <a:lnTo>
                    <a:pt x="71806" y="1175441"/>
                  </a:lnTo>
                  <a:lnTo>
                    <a:pt x="102105" y="1144179"/>
                  </a:lnTo>
                  <a:lnTo>
                    <a:pt x="130889" y="1109790"/>
                  </a:lnTo>
                  <a:lnTo>
                    <a:pt x="158159" y="1076184"/>
                  </a:lnTo>
                  <a:lnTo>
                    <a:pt x="183155" y="1037887"/>
                  </a:lnTo>
                  <a:lnTo>
                    <a:pt x="203607" y="996465"/>
                  </a:lnTo>
                  <a:lnTo>
                    <a:pt x="214969" y="962077"/>
                  </a:lnTo>
                  <a:lnTo>
                    <a:pt x="218757" y="928470"/>
                  </a:lnTo>
                  <a:lnTo>
                    <a:pt x="218757" y="892518"/>
                  </a:lnTo>
                  <a:lnTo>
                    <a:pt x="217999" y="854222"/>
                  </a:lnTo>
                  <a:lnTo>
                    <a:pt x="216484" y="815926"/>
                  </a:lnTo>
                  <a:lnTo>
                    <a:pt x="217999" y="774503"/>
                  </a:lnTo>
                  <a:lnTo>
                    <a:pt x="221787" y="730736"/>
                  </a:lnTo>
                  <a:lnTo>
                    <a:pt x="264205" y="550197"/>
                  </a:lnTo>
                  <a:lnTo>
                    <a:pt x="290717" y="484547"/>
                  </a:lnTo>
                  <a:lnTo>
                    <a:pt x="322531" y="423585"/>
                  </a:lnTo>
                  <a:lnTo>
                    <a:pt x="359647" y="366532"/>
                  </a:lnTo>
                  <a:lnTo>
                    <a:pt x="402066" y="312605"/>
                  </a:lnTo>
                  <a:lnTo>
                    <a:pt x="449030" y="263367"/>
                  </a:lnTo>
                  <a:lnTo>
                    <a:pt x="499781" y="218036"/>
                  </a:lnTo>
                  <a:lnTo>
                    <a:pt x="555076" y="176614"/>
                  </a:lnTo>
                  <a:lnTo>
                    <a:pt x="612645" y="139881"/>
                  </a:lnTo>
                  <a:lnTo>
                    <a:pt x="674758" y="107056"/>
                  </a:lnTo>
                  <a:lnTo>
                    <a:pt x="738386" y="79701"/>
                  </a:lnTo>
                  <a:lnTo>
                    <a:pt x="802771" y="55473"/>
                  </a:lnTo>
                  <a:lnTo>
                    <a:pt x="1019410" y="6235"/>
                  </a:lnTo>
                  <a:close/>
                </a:path>
              </a:pathLst>
            </a:custGeom>
            <a:solidFill>
              <a:srgbClr val="25465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sp>
          <p:nvSpPr>
            <p:cNvPr id="5" name="Freeform 18">
              <a:extLst>
                <a:ext uri="{FF2B5EF4-FFF2-40B4-BE49-F238E27FC236}">
                  <a16:creationId xmlns:a16="http://schemas.microsoft.com/office/drawing/2014/main" id="{4CEBA6D0-E2E5-DE33-4B57-FC9F48050EC4}"/>
                </a:ext>
              </a:extLst>
            </p:cNvPr>
            <p:cNvSpPr>
              <a:spLocks/>
            </p:cNvSpPr>
            <p:nvPr/>
          </p:nvSpPr>
          <p:spPr bwMode="auto">
            <a:xfrm>
              <a:off x="1964972" y="2952580"/>
              <a:ext cx="1209309" cy="1494947"/>
            </a:xfrm>
            <a:custGeom>
              <a:avLst/>
              <a:gdLst/>
              <a:ahLst/>
              <a:cxnLst/>
              <a:rect l="l" t="t" r="r" b="b"/>
              <a:pathLst>
                <a:path w="1038389" h="1283657">
                  <a:moveTo>
                    <a:pt x="0" y="0"/>
                  </a:moveTo>
                  <a:lnTo>
                    <a:pt x="1038389" y="0"/>
                  </a:lnTo>
                  <a:lnTo>
                    <a:pt x="1037701" y="1908"/>
                  </a:lnTo>
                  <a:lnTo>
                    <a:pt x="1011189" y="58961"/>
                  </a:lnTo>
                  <a:lnTo>
                    <a:pt x="979375" y="111325"/>
                  </a:lnTo>
                  <a:lnTo>
                    <a:pt x="946804" y="162126"/>
                  </a:lnTo>
                  <a:lnTo>
                    <a:pt x="910445" y="212146"/>
                  </a:lnTo>
                  <a:lnTo>
                    <a:pt x="874844" y="259039"/>
                  </a:lnTo>
                  <a:lnTo>
                    <a:pt x="839242" y="307495"/>
                  </a:lnTo>
                  <a:lnTo>
                    <a:pt x="804398" y="355952"/>
                  </a:lnTo>
                  <a:lnTo>
                    <a:pt x="780917" y="395030"/>
                  </a:lnTo>
                  <a:lnTo>
                    <a:pt x="761980" y="439578"/>
                  </a:lnTo>
                  <a:lnTo>
                    <a:pt x="746830" y="486471"/>
                  </a:lnTo>
                  <a:lnTo>
                    <a:pt x="734710" y="537273"/>
                  </a:lnTo>
                  <a:lnTo>
                    <a:pt x="733196" y="561501"/>
                  </a:lnTo>
                  <a:lnTo>
                    <a:pt x="734710" y="590418"/>
                  </a:lnTo>
                  <a:lnTo>
                    <a:pt x="738498" y="625588"/>
                  </a:lnTo>
                  <a:lnTo>
                    <a:pt x="743800" y="662321"/>
                  </a:lnTo>
                  <a:lnTo>
                    <a:pt x="752132" y="702181"/>
                  </a:lnTo>
                  <a:lnTo>
                    <a:pt x="761980" y="742040"/>
                  </a:lnTo>
                  <a:lnTo>
                    <a:pt x="771827" y="780336"/>
                  </a:lnTo>
                  <a:lnTo>
                    <a:pt x="782432" y="817069"/>
                  </a:lnTo>
                  <a:lnTo>
                    <a:pt x="792279" y="849894"/>
                  </a:lnTo>
                  <a:lnTo>
                    <a:pt x="802126" y="878812"/>
                  </a:lnTo>
                  <a:lnTo>
                    <a:pt x="810458" y="899914"/>
                  </a:lnTo>
                  <a:lnTo>
                    <a:pt x="822578" y="931176"/>
                  </a:lnTo>
                  <a:lnTo>
                    <a:pt x="833940" y="969472"/>
                  </a:lnTo>
                  <a:lnTo>
                    <a:pt x="846060" y="1012458"/>
                  </a:lnTo>
                  <a:lnTo>
                    <a:pt x="858179" y="1056225"/>
                  </a:lnTo>
                  <a:lnTo>
                    <a:pt x="871814" y="1096084"/>
                  </a:lnTo>
                  <a:lnTo>
                    <a:pt x="886206" y="1131254"/>
                  </a:lnTo>
                  <a:lnTo>
                    <a:pt x="756677" y="1174240"/>
                  </a:lnTo>
                  <a:lnTo>
                    <a:pt x="630936" y="1210973"/>
                  </a:lnTo>
                  <a:lnTo>
                    <a:pt x="511255" y="1240672"/>
                  </a:lnTo>
                  <a:lnTo>
                    <a:pt x="394603" y="1262555"/>
                  </a:lnTo>
                  <a:lnTo>
                    <a:pt x="280982" y="1278186"/>
                  </a:lnTo>
                  <a:lnTo>
                    <a:pt x="171148" y="1283657"/>
                  </a:lnTo>
                  <a:lnTo>
                    <a:pt x="63586" y="1282094"/>
                  </a:lnTo>
                  <a:lnTo>
                    <a:pt x="0" y="1275914"/>
                  </a:lnTo>
                  <a:close/>
                </a:path>
              </a:pathLst>
            </a:custGeom>
            <a:solidFill>
              <a:srgbClr val="CCDEE6"/>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sp>
          <p:nvSpPr>
            <p:cNvPr id="6" name="Freeform 18">
              <a:extLst>
                <a:ext uri="{FF2B5EF4-FFF2-40B4-BE49-F238E27FC236}">
                  <a16:creationId xmlns:a16="http://schemas.microsoft.com/office/drawing/2014/main" id="{818047E5-0FC8-6B74-08FC-39B6D1CAA7F8}"/>
                </a:ext>
              </a:extLst>
            </p:cNvPr>
            <p:cNvSpPr>
              <a:spLocks/>
            </p:cNvSpPr>
            <p:nvPr/>
          </p:nvSpPr>
          <p:spPr bwMode="auto">
            <a:xfrm>
              <a:off x="643921" y="2952694"/>
              <a:ext cx="1325933" cy="1485930"/>
            </a:xfrm>
            <a:custGeom>
              <a:avLst/>
              <a:gdLst/>
              <a:ahLst/>
              <a:cxnLst/>
              <a:rect l="l" t="t" r="r" b="b"/>
              <a:pathLst>
                <a:path w="1138530" h="1275914">
                  <a:moveTo>
                    <a:pt x="42573" y="0"/>
                  </a:moveTo>
                  <a:lnTo>
                    <a:pt x="1138530" y="0"/>
                  </a:lnTo>
                  <a:lnTo>
                    <a:pt x="1138530" y="1275914"/>
                  </a:lnTo>
                  <a:lnTo>
                    <a:pt x="1097584" y="1271934"/>
                  </a:lnTo>
                  <a:lnTo>
                    <a:pt x="994567" y="1253958"/>
                  </a:lnTo>
                  <a:lnTo>
                    <a:pt x="990022" y="1228167"/>
                  </a:lnTo>
                  <a:lnTo>
                    <a:pt x="984720" y="1198468"/>
                  </a:lnTo>
                  <a:lnTo>
                    <a:pt x="977903" y="1162516"/>
                  </a:lnTo>
                  <a:lnTo>
                    <a:pt x="972600" y="1124220"/>
                  </a:lnTo>
                  <a:lnTo>
                    <a:pt x="965026" y="1082798"/>
                  </a:lnTo>
                  <a:lnTo>
                    <a:pt x="957451" y="1040594"/>
                  </a:lnTo>
                  <a:lnTo>
                    <a:pt x="949118" y="999171"/>
                  </a:lnTo>
                  <a:lnTo>
                    <a:pt x="939271" y="959312"/>
                  </a:lnTo>
                  <a:lnTo>
                    <a:pt x="929424" y="921016"/>
                  </a:lnTo>
                  <a:lnTo>
                    <a:pt x="917304" y="887409"/>
                  </a:lnTo>
                  <a:lnTo>
                    <a:pt x="904427" y="858491"/>
                  </a:lnTo>
                  <a:lnTo>
                    <a:pt x="890793" y="835826"/>
                  </a:lnTo>
                  <a:lnTo>
                    <a:pt x="875643" y="821758"/>
                  </a:lnTo>
                  <a:lnTo>
                    <a:pt x="858979" y="814724"/>
                  </a:lnTo>
                  <a:lnTo>
                    <a:pt x="840042" y="811598"/>
                  </a:lnTo>
                  <a:lnTo>
                    <a:pt x="818075" y="813161"/>
                  </a:lnTo>
                  <a:lnTo>
                    <a:pt x="796108" y="816288"/>
                  </a:lnTo>
                  <a:lnTo>
                    <a:pt x="775656" y="821758"/>
                  </a:lnTo>
                  <a:lnTo>
                    <a:pt x="755962" y="827229"/>
                  </a:lnTo>
                  <a:lnTo>
                    <a:pt x="737782" y="832700"/>
                  </a:lnTo>
                  <a:lnTo>
                    <a:pt x="724148" y="837390"/>
                  </a:lnTo>
                  <a:lnTo>
                    <a:pt x="691576" y="848331"/>
                  </a:lnTo>
                  <a:lnTo>
                    <a:pt x="654460" y="858491"/>
                  </a:lnTo>
                  <a:lnTo>
                    <a:pt x="612799" y="867089"/>
                  </a:lnTo>
                  <a:lnTo>
                    <a:pt x="568865" y="872559"/>
                  </a:lnTo>
                  <a:lnTo>
                    <a:pt x="524932" y="877249"/>
                  </a:lnTo>
                  <a:lnTo>
                    <a:pt x="480240" y="878812"/>
                  </a:lnTo>
                  <a:lnTo>
                    <a:pt x="437822" y="875686"/>
                  </a:lnTo>
                  <a:lnTo>
                    <a:pt x="397675" y="868652"/>
                  </a:lnTo>
                  <a:lnTo>
                    <a:pt x="375709" y="863181"/>
                  </a:lnTo>
                  <a:lnTo>
                    <a:pt x="353742" y="853021"/>
                  </a:lnTo>
                  <a:lnTo>
                    <a:pt x="331775" y="841297"/>
                  </a:lnTo>
                  <a:lnTo>
                    <a:pt x="312838" y="827229"/>
                  </a:lnTo>
                  <a:lnTo>
                    <a:pt x="293144" y="810035"/>
                  </a:lnTo>
                  <a:lnTo>
                    <a:pt x="277994" y="792059"/>
                  </a:lnTo>
                  <a:lnTo>
                    <a:pt x="267390" y="769394"/>
                  </a:lnTo>
                  <a:lnTo>
                    <a:pt x="259057" y="743603"/>
                  </a:lnTo>
                  <a:lnTo>
                    <a:pt x="256027" y="715467"/>
                  </a:lnTo>
                  <a:lnTo>
                    <a:pt x="259057" y="684205"/>
                  </a:lnTo>
                  <a:lnTo>
                    <a:pt x="262845" y="662321"/>
                  </a:lnTo>
                  <a:lnTo>
                    <a:pt x="268147" y="638093"/>
                  </a:lnTo>
                  <a:lnTo>
                    <a:pt x="274207" y="613083"/>
                  </a:lnTo>
                  <a:lnTo>
                    <a:pt x="276479" y="588855"/>
                  </a:lnTo>
                  <a:lnTo>
                    <a:pt x="276479" y="563064"/>
                  </a:lnTo>
                  <a:lnTo>
                    <a:pt x="269662" y="540399"/>
                  </a:lnTo>
                  <a:lnTo>
                    <a:pt x="262845" y="527894"/>
                  </a:lnTo>
                  <a:lnTo>
                    <a:pt x="250725" y="516171"/>
                  </a:lnTo>
                  <a:lnTo>
                    <a:pt x="237848" y="507573"/>
                  </a:lnTo>
                  <a:lnTo>
                    <a:pt x="224213" y="500539"/>
                  </a:lnTo>
                  <a:lnTo>
                    <a:pt x="210579" y="490379"/>
                  </a:lnTo>
                  <a:lnTo>
                    <a:pt x="199974" y="479437"/>
                  </a:lnTo>
                  <a:lnTo>
                    <a:pt x="191642" y="465369"/>
                  </a:lnTo>
                  <a:lnTo>
                    <a:pt x="188612" y="449738"/>
                  </a:lnTo>
                  <a:lnTo>
                    <a:pt x="190127" y="434107"/>
                  </a:lnTo>
                  <a:lnTo>
                    <a:pt x="195429" y="419258"/>
                  </a:lnTo>
                  <a:lnTo>
                    <a:pt x="202247" y="406753"/>
                  </a:lnTo>
                  <a:lnTo>
                    <a:pt x="206791" y="394248"/>
                  </a:lnTo>
                  <a:lnTo>
                    <a:pt x="184825" y="378617"/>
                  </a:lnTo>
                  <a:lnTo>
                    <a:pt x="169675" y="362986"/>
                  </a:lnTo>
                  <a:lnTo>
                    <a:pt x="161343" y="347355"/>
                  </a:lnTo>
                  <a:lnTo>
                    <a:pt x="159828" y="330161"/>
                  </a:lnTo>
                  <a:lnTo>
                    <a:pt x="162100" y="314529"/>
                  </a:lnTo>
                  <a:lnTo>
                    <a:pt x="168160" y="297335"/>
                  </a:lnTo>
                  <a:lnTo>
                    <a:pt x="176492" y="280141"/>
                  </a:lnTo>
                  <a:lnTo>
                    <a:pt x="185582" y="262947"/>
                  </a:lnTo>
                  <a:lnTo>
                    <a:pt x="193914" y="244971"/>
                  </a:lnTo>
                  <a:lnTo>
                    <a:pt x="202247" y="227777"/>
                  </a:lnTo>
                  <a:lnTo>
                    <a:pt x="206791" y="209020"/>
                  </a:lnTo>
                  <a:lnTo>
                    <a:pt x="191642" y="194952"/>
                  </a:lnTo>
                  <a:lnTo>
                    <a:pt x="170433" y="184010"/>
                  </a:lnTo>
                  <a:lnTo>
                    <a:pt x="146951" y="173850"/>
                  </a:lnTo>
                  <a:lnTo>
                    <a:pt x="122711" y="165252"/>
                  </a:lnTo>
                  <a:lnTo>
                    <a:pt x="97715" y="156655"/>
                  </a:lnTo>
                  <a:lnTo>
                    <a:pt x="72718" y="148058"/>
                  </a:lnTo>
                  <a:lnTo>
                    <a:pt x="49236" y="137898"/>
                  </a:lnTo>
                  <a:lnTo>
                    <a:pt x="30299" y="126956"/>
                  </a:lnTo>
                  <a:lnTo>
                    <a:pt x="13635" y="111325"/>
                  </a:lnTo>
                  <a:lnTo>
                    <a:pt x="3788" y="92568"/>
                  </a:lnTo>
                  <a:lnTo>
                    <a:pt x="0" y="73029"/>
                  </a:lnTo>
                  <a:lnTo>
                    <a:pt x="3030" y="54272"/>
                  </a:lnTo>
                  <a:lnTo>
                    <a:pt x="9847" y="37078"/>
                  </a:lnTo>
                  <a:lnTo>
                    <a:pt x="20452" y="23010"/>
                  </a:lnTo>
                  <a:lnTo>
                    <a:pt x="33329" y="8942"/>
                  </a:lnTo>
                  <a:close/>
                </a:path>
              </a:pathLst>
            </a:custGeom>
            <a:solidFill>
              <a:srgbClr val="99BDCD"/>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sp>
          <p:nvSpPr>
            <p:cNvPr id="7" name="Freeform 18">
              <a:extLst>
                <a:ext uri="{FF2B5EF4-FFF2-40B4-BE49-F238E27FC236}">
                  <a16:creationId xmlns:a16="http://schemas.microsoft.com/office/drawing/2014/main" id="{A6C3AE58-A489-A671-9437-DD4FF96B4B80}"/>
                </a:ext>
              </a:extLst>
            </p:cNvPr>
            <p:cNvSpPr>
              <a:spLocks/>
            </p:cNvSpPr>
            <p:nvPr/>
          </p:nvSpPr>
          <p:spPr bwMode="auto">
            <a:xfrm>
              <a:off x="1964975" y="1493918"/>
              <a:ext cx="1269375" cy="1460469"/>
            </a:xfrm>
            <a:custGeom>
              <a:avLst/>
              <a:gdLst/>
              <a:ahLst/>
              <a:cxnLst/>
              <a:rect l="l" t="t" r="r" b="b"/>
              <a:pathLst>
                <a:path w="1089967" h="1254051">
                  <a:moveTo>
                    <a:pt x="9805" y="0"/>
                  </a:moveTo>
                  <a:lnTo>
                    <a:pt x="106762" y="782"/>
                  </a:lnTo>
                  <a:lnTo>
                    <a:pt x="197659" y="7816"/>
                  </a:lnTo>
                  <a:lnTo>
                    <a:pt x="284012" y="19539"/>
                  </a:lnTo>
                  <a:lnTo>
                    <a:pt x="366576" y="36733"/>
                  </a:lnTo>
                  <a:lnTo>
                    <a:pt x="445354" y="57835"/>
                  </a:lnTo>
                  <a:lnTo>
                    <a:pt x="518072" y="85190"/>
                  </a:lnTo>
                  <a:lnTo>
                    <a:pt x="588517" y="114889"/>
                  </a:lnTo>
                  <a:lnTo>
                    <a:pt x="652903" y="150059"/>
                  </a:lnTo>
                  <a:lnTo>
                    <a:pt x="713501" y="189918"/>
                  </a:lnTo>
                  <a:lnTo>
                    <a:pt x="771827" y="234467"/>
                  </a:lnTo>
                  <a:lnTo>
                    <a:pt x="824093" y="282141"/>
                  </a:lnTo>
                  <a:lnTo>
                    <a:pt x="871814" y="335287"/>
                  </a:lnTo>
                  <a:lnTo>
                    <a:pt x="916505" y="390777"/>
                  </a:lnTo>
                  <a:lnTo>
                    <a:pt x="955894" y="450176"/>
                  </a:lnTo>
                  <a:lnTo>
                    <a:pt x="992252" y="512700"/>
                  </a:lnTo>
                  <a:lnTo>
                    <a:pt x="1016492" y="565064"/>
                  </a:lnTo>
                  <a:lnTo>
                    <a:pt x="1037701" y="623681"/>
                  </a:lnTo>
                  <a:lnTo>
                    <a:pt x="1056638" y="687768"/>
                  </a:lnTo>
                  <a:lnTo>
                    <a:pt x="1071788" y="757327"/>
                  </a:lnTo>
                  <a:lnTo>
                    <a:pt x="1083150" y="828448"/>
                  </a:lnTo>
                  <a:lnTo>
                    <a:pt x="1088452" y="901914"/>
                  </a:lnTo>
                  <a:lnTo>
                    <a:pt x="1089967" y="976944"/>
                  </a:lnTo>
                  <a:lnTo>
                    <a:pt x="1085422" y="1051191"/>
                  </a:lnTo>
                  <a:lnTo>
                    <a:pt x="1076332" y="1123876"/>
                  </a:lnTo>
                  <a:lnTo>
                    <a:pt x="1059668" y="1194997"/>
                  </a:lnTo>
                  <a:lnTo>
                    <a:pt x="1038388" y="1254051"/>
                  </a:lnTo>
                  <a:lnTo>
                    <a:pt x="0" y="1254051"/>
                  </a:lnTo>
                  <a:lnTo>
                    <a:pt x="0" y="799"/>
                  </a:lnTo>
                  <a:close/>
                </a:path>
              </a:pathLst>
            </a:custGeom>
            <a:solidFill>
              <a:srgbClr val="0C547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grpSp>
      <p:sp>
        <p:nvSpPr>
          <p:cNvPr id="8" name="TextBox 6">
            <a:extLst>
              <a:ext uri="{FF2B5EF4-FFF2-40B4-BE49-F238E27FC236}">
                <a16:creationId xmlns:a16="http://schemas.microsoft.com/office/drawing/2014/main" id="{9DDBEFBC-2BF6-3CEE-BE23-6CFEF0C75C74}"/>
              </a:ext>
            </a:extLst>
          </p:cNvPr>
          <p:cNvSpPr txBox="1"/>
          <p:nvPr/>
        </p:nvSpPr>
        <p:spPr>
          <a:xfrm>
            <a:off x="580053" y="2416312"/>
            <a:ext cx="3440854" cy="1358513"/>
          </a:xfrm>
          <a:prstGeom prst="rect">
            <a:avLst/>
          </a:prstGeom>
          <a:noFill/>
        </p:spPr>
        <p:txBody>
          <a:bodyPr wrap="square" rtlCol="0">
            <a:spAutoFit/>
          </a:bodyPr>
          <a:lstStyle/>
          <a:p>
            <a:pPr marL="171450" lvl="0" indent="-171450">
              <a:lnSpc>
                <a:spcPts val="1600"/>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Kontinuerlig læring og kompetanseutvikling</a:t>
            </a:r>
          </a:p>
          <a:p>
            <a:pPr marL="171450" lvl="0" indent="-171450">
              <a:lnSpc>
                <a:spcPts val="1600"/>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Evaluering og erfaringsdeling</a:t>
            </a:r>
          </a:p>
          <a:p>
            <a:pPr marL="171450" lvl="0" indent="-171450">
              <a:lnSpc>
                <a:spcPts val="1600"/>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Smidig og innovativ tjenesteutvikling</a:t>
            </a:r>
          </a:p>
          <a:p>
            <a:pPr marL="171450" lvl="0" indent="-171450">
              <a:lnSpc>
                <a:spcPts val="1600"/>
              </a:lnSpc>
              <a:spcAft>
                <a:spcPts val="533"/>
              </a:spcAft>
              <a:buFont typeface="Arial" panose="020B0604020202020204" pitchFamily="34" charset="0"/>
              <a:buChar char="•"/>
              <a:defRPr/>
            </a:pPr>
            <a:endParaRPr lang="nb-NO" sz="1200">
              <a:solidFill>
                <a:srgbClr val="000000"/>
              </a:solidFill>
              <a:latin typeface="Arial"/>
              <a:ea typeface="Calibri" panose="020F0502020204030204" pitchFamily="34" charset="0"/>
              <a:cs typeface="Arial"/>
            </a:endParaRPr>
          </a:p>
          <a:p>
            <a:pPr marL="171450" lvl="0" indent="-171450">
              <a:lnSpc>
                <a:spcPts val="1600"/>
              </a:lnSpc>
              <a:spcAft>
                <a:spcPts val="533"/>
              </a:spcAft>
              <a:buFont typeface="Arial" panose="020B0604020202020204" pitchFamily="34" charset="0"/>
              <a:buChar char="•"/>
              <a:defRPr/>
            </a:pPr>
            <a:endParaRPr lang="nb-NO" sz="1200">
              <a:solidFill>
                <a:srgbClr val="000000"/>
              </a:solidFill>
              <a:latin typeface="Arial"/>
              <a:ea typeface="Calibri" panose="020F0502020204030204" pitchFamily="34" charset="0"/>
              <a:cs typeface="Arial"/>
            </a:endParaRPr>
          </a:p>
        </p:txBody>
      </p:sp>
      <p:sp>
        <p:nvSpPr>
          <p:cNvPr id="9" name="TextBox 10">
            <a:extLst>
              <a:ext uri="{FF2B5EF4-FFF2-40B4-BE49-F238E27FC236}">
                <a16:creationId xmlns:a16="http://schemas.microsoft.com/office/drawing/2014/main" id="{40C6DC6B-6EC1-73A0-7116-6A9CA4EDC599}"/>
              </a:ext>
            </a:extLst>
          </p:cNvPr>
          <p:cNvSpPr txBox="1"/>
          <p:nvPr/>
        </p:nvSpPr>
        <p:spPr>
          <a:xfrm>
            <a:off x="580053" y="4521777"/>
            <a:ext cx="3521944" cy="1265539"/>
          </a:xfrm>
          <a:prstGeom prst="rect">
            <a:avLst/>
          </a:prstGeom>
          <a:noFill/>
        </p:spPr>
        <p:txBody>
          <a:bodyPr wrap="square" rtlCol="0">
            <a:spAutoFit/>
          </a:bodyPr>
          <a:lstStyle/>
          <a:p>
            <a:pPr marL="228594" lvl="0" indent="-228594">
              <a:lnSpc>
                <a:spcPts val="1733"/>
              </a:lnSpc>
              <a:spcAft>
                <a:spcPts val="800"/>
              </a:spcAft>
              <a:buFont typeface="Arial"/>
              <a:buChar char="•"/>
              <a:defRPr/>
            </a:pPr>
            <a:r>
              <a:rPr lang="nb-NO" sz="1200">
                <a:solidFill>
                  <a:srgbClr val="000000"/>
                </a:solidFill>
                <a:latin typeface="Arial"/>
                <a:cs typeface="Arial"/>
              </a:rPr>
              <a:t>Kunnskap om samarbeidspartnere, </a:t>
            </a:r>
            <a:br>
              <a:rPr lang="nb-NO" sz="1200">
                <a:solidFill>
                  <a:srgbClr val="000000"/>
                </a:solidFill>
                <a:latin typeface="Arial"/>
                <a:cs typeface="Arial"/>
              </a:rPr>
            </a:br>
            <a:r>
              <a:rPr lang="nb-NO" sz="1200">
                <a:solidFill>
                  <a:srgbClr val="000000"/>
                </a:solidFill>
                <a:latin typeface="Arial"/>
                <a:cs typeface="Arial"/>
              </a:rPr>
              <a:t>tjenester de kan tilby brukerne og </a:t>
            </a:r>
            <a:br>
              <a:rPr lang="nb-NO" sz="1200">
                <a:solidFill>
                  <a:srgbClr val="000000"/>
                </a:solidFill>
                <a:latin typeface="Arial"/>
                <a:cs typeface="Arial"/>
              </a:rPr>
            </a:br>
            <a:r>
              <a:rPr lang="nb-NO" sz="1200">
                <a:solidFill>
                  <a:srgbClr val="000000"/>
                </a:solidFill>
                <a:latin typeface="Arial"/>
                <a:cs typeface="Arial"/>
              </a:rPr>
              <a:t>effektene av disse</a:t>
            </a:r>
          </a:p>
          <a:p>
            <a:pPr marL="228594" lvl="0" indent="-228594">
              <a:lnSpc>
                <a:spcPts val="1733"/>
              </a:lnSpc>
              <a:spcAft>
                <a:spcPts val="800"/>
              </a:spcAft>
              <a:buFont typeface="Arial"/>
              <a:buChar char="•"/>
              <a:defRPr/>
            </a:pPr>
            <a:r>
              <a:rPr lang="nb-NO" sz="1200">
                <a:solidFill>
                  <a:srgbClr val="000000"/>
                </a:solidFill>
                <a:latin typeface="Arial"/>
                <a:cs typeface="Arial"/>
              </a:rPr>
              <a:t>Kompetanse i tverrfaglig og tverrsektorielt samarbeid og felles utviklingsinitiativer</a:t>
            </a:r>
            <a:endParaRPr lang="nb-NO" sz="1200">
              <a:solidFill>
                <a:srgbClr val="000000"/>
              </a:solidFill>
              <a:latin typeface="Arial" panose="020B0604020202020204" pitchFamily="34" charset="0"/>
              <a:cs typeface="Arial" panose="020B0604020202020204" pitchFamily="34" charset="0"/>
            </a:endParaRPr>
          </a:p>
        </p:txBody>
      </p:sp>
      <p:sp>
        <p:nvSpPr>
          <p:cNvPr id="10" name="TextBox 12">
            <a:extLst>
              <a:ext uri="{FF2B5EF4-FFF2-40B4-BE49-F238E27FC236}">
                <a16:creationId xmlns:a16="http://schemas.microsoft.com/office/drawing/2014/main" id="{12865911-99D6-BCF5-F70E-0E54E01A64B6}"/>
              </a:ext>
            </a:extLst>
          </p:cNvPr>
          <p:cNvSpPr txBox="1"/>
          <p:nvPr/>
        </p:nvSpPr>
        <p:spPr>
          <a:xfrm>
            <a:off x="7937753" y="2338910"/>
            <a:ext cx="3856849" cy="1073179"/>
          </a:xfrm>
          <a:prstGeom prst="rect">
            <a:avLst/>
          </a:prstGeom>
          <a:noFill/>
        </p:spPr>
        <p:txBody>
          <a:bodyPr wrap="square" rtlCol="0">
            <a:spAutoFit/>
          </a:bodyPr>
          <a:lstStyle/>
          <a:p>
            <a:pPr marL="171450" lvl="0" indent="-171450">
              <a:lnSpc>
                <a:spcPts val="1733"/>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Kunnskap om brukerbehov</a:t>
            </a:r>
          </a:p>
          <a:p>
            <a:pPr marL="171450" lvl="0" indent="-171450">
              <a:lnSpc>
                <a:spcPts val="1733"/>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Kunnskap om og oversikt over medarbeidernes kompetanse</a:t>
            </a:r>
          </a:p>
          <a:p>
            <a:pPr marL="171450" lvl="0" indent="-171450">
              <a:lnSpc>
                <a:spcPts val="1733"/>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Veilednings- og </a:t>
            </a:r>
            <a:r>
              <a:rPr lang="nb-NO" sz="1200" err="1">
                <a:solidFill>
                  <a:srgbClr val="000000"/>
                </a:solidFill>
                <a:latin typeface="Arial"/>
                <a:ea typeface="Calibri" panose="020F0502020204030204" pitchFamily="34" charset="0"/>
                <a:cs typeface="Arial"/>
              </a:rPr>
              <a:t>relasjonskompetanse</a:t>
            </a:r>
            <a:endParaRPr lang="nb-NO" sz="1200">
              <a:solidFill>
                <a:srgbClr val="000000"/>
              </a:solidFill>
              <a:latin typeface="Arial"/>
              <a:ea typeface="Calibri" panose="020F0502020204030204" pitchFamily="34" charset="0"/>
              <a:cs typeface="Arial"/>
            </a:endParaRPr>
          </a:p>
        </p:txBody>
      </p:sp>
      <p:sp>
        <p:nvSpPr>
          <p:cNvPr id="11" name="TextBox 12">
            <a:extLst>
              <a:ext uri="{FF2B5EF4-FFF2-40B4-BE49-F238E27FC236}">
                <a16:creationId xmlns:a16="http://schemas.microsoft.com/office/drawing/2014/main" id="{DE6264DB-4943-2AE7-49F4-91055265DB72}"/>
              </a:ext>
            </a:extLst>
          </p:cNvPr>
          <p:cNvSpPr txBox="1"/>
          <p:nvPr/>
        </p:nvSpPr>
        <p:spPr>
          <a:xfrm>
            <a:off x="7937753" y="4238556"/>
            <a:ext cx="4081527" cy="1791324"/>
          </a:xfrm>
          <a:prstGeom prst="rect">
            <a:avLst/>
          </a:prstGeom>
          <a:noFill/>
        </p:spPr>
        <p:txBody>
          <a:bodyPr wrap="square" rtlCol="0">
            <a:spAutoFit/>
          </a:bodyPr>
          <a:lstStyle/>
          <a:p>
            <a:pPr marL="171450" lvl="0" indent="-171450">
              <a:lnSpc>
                <a:spcPts val="1733"/>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Juss-, teknologi- og analysekompetanse</a:t>
            </a:r>
          </a:p>
          <a:p>
            <a:pPr marL="171450" lvl="0" indent="-171450">
              <a:lnSpc>
                <a:spcPts val="1733"/>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Kompetanse om bruk av digitale verktøy i brukermøtene</a:t>
            </a:r>
          </a:p>
          <a:p>
            <a:pPr marL="171450" lvl="0" indent="-171450">
              <a:lnSpc>
                <a:spcPts val="1733"/>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Kompetanse om ansvarlig bruk av beslutningsstøtte basert på kunstig intelligens</a:t>
            </a:r>
          </a:p>
          <a:p>
            <a:pPr marL="171450" lvl="0" indent="-171450">
              <a:lnSpc>
                <a:spcPts val="1733"/>
              </a:lnSpc>
              <a:spcAft>
                <a:spcPts val="533"/>
              </a:spcAft>
              <a:buFont typeface="Arial" panose="020B0604020202020204" pitchFamily="34" charset="0"/>
              <a:buChar char="•"/>
              <a:defRPr/>
            </a:pPr>
            <a:r>
              <a:rPr lang="nb-NO" sz="1200">
                <a:solidFill>
                  <a:srgbClr val="000000"/>
                </a:solidFill>
                <a:latin typeface="Arial"/>
                <a:ea typeface="Calibri" panose="020F0502020204030204" pitchFamily="34" charset="0"/>
                <a:cs typeface="Arial"/>
              </a:rPr>
              <a:t>Forståelse av hvordan digitalisering vil påvirke arbeidsmarkedet</a:t>
            </a:r>
            <a:endParaRPr lang="nb-NO" sz="1200">
              <a:solidFill>
                <a:srgbClr val="000000"/>
              </a:solidFill>
              <a:latin typeface="Arial"/>
              <a:cs typeface="Arial"/>
            </a:endParaRPr>
          </a:p>
        </p:txBody>
      </p:sp>
      <p:sp>
        <p:nvSpPr>
          <p:cNvPr id="12" name="TextBox 5">
            <a:extLst>
              <a:ext uri="{FF2B5EF4-FFF2-40B4-BE49-F238E27FC236}">
                <a16:creationId xmlns:a16="http://schemas.microsoft.com/office/drawing/2014/main" id="{B1D12F1F-D4C6-1649-87A3-479F1F691814}"/>
              </a:ext>
            </a:extLst>
          </p:cNvPr>
          <p:cNvSpPr txBox="1"/>
          <p:nvPr/>
        </p:nvSpPr>
        <p:spPr>
          <a:xfrm>
            <a:off x="3967630" y="2577760"/>
            <a:ext cx="171793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Høy omstillings-takt</a:t>
            </a:r>
          </a:p>
        </p:txBody>
      </p:sp>
      <p:sp>
        <p:nvSpPr>
          <p:cNvPr id="13" name="TextBox 5">
            <a:extLst>
              <a:ext uri="{FF2B5EF4-FFF2-40B4-BE49-F238E27FC236}">
                <a16:creationId xmlns:a16="http://schemas.microsoft.com/office/drawing/2014/main" id="{D8912488-EE3A-B67A-ACED-EB846F3BC75B}"/>
              </a:ext>
            </a:extLst>
          </p:cNvPr>
          <p:cNvSpPr txBox="1"/>
          <p:nvPr/>
        </p:nvSpPr>
        <p:spPr>
          <a:xfrm>
            <a:off x="5367291" y="4426332"/>
            <a:ext cx="195544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err="1">
                <a:ln>
                  <a:noFill/>
                </a:ln>
                <a:effectLst/>
                <a:uLnTx/>
                <a:uFillTx/>
                <a:latin typeface="Arial" panose="020B0604020202020204" pitchFamily="34" charset="0"/>
                <a:cs typeface="Arial" panose="020B0604020202020204" pitchFamily="34" charset="0"/>
              </a:rPr>
              <a:t>Digi</a:t>
            </a:r>
            <a:r>
              <a:rPr kumimoji="0" lang="nb-NO" sz="2000" b="1" i="0" u="none" strike="noStrike" kern="1200" cap="none" spc="0" normalizeH="0" baseline="0">
                <a:ln>
                  <a:noFill/>
                </a:ln>
                <a:effectLst/>
                <a:uLnTx/>
                <a:uFillTx/>
                <a:latin typeface="Arial" panose="020B0604020202020204" pitchFamily="34" charset="0"/>
                <a:cs typeface="Arial" panose="020B0604020202020204" pitchFamily="34" charset="0"/>
              </a:rPr>
              <a:t>-</a:t>
            </a:r>
            <a:br>
              <a:rPr kumimoji="0" lang="nb-NO" sz="2000" b="1" i="0" u="none" strike="noStrike" kern="1200" cap="none" spc="0" normalizeH="0" baseline="0">
                <a:ln>
                  <a:noFill/>
                </a:ln>
                <a:effectLst/>
                <a:uLnTx/>
                <a:uFillTx/>
                <a:latin typeface="Arial" panose="020B0604020202020204" pitchFamily="34" charset="0"/>
                <a:cs typeface="Arial" panose="020B0604020202020204" pitchFamily="34" charset="0"/>
              </a:rPr>
            </a:br>
            <a:r>
              <a:rPr kumimoji="0" lang="nb-NO" sz="2000" b="1" i="0" u="none" strike="noStrike" kern="1200" cap="none" spc="0" normalizeH="0" baseline="0" err="1">
                <a:ln>
                  <a:noFill/>
                </a:ln>
                <a:effectLst/>
                <a:uLnTx/>
                <a:uFillTx/>
                <a:latin typeface="Arial" panose="020B0604020202020204" pitchFamily="34" charset="0"/>
                <a:cs typeface="Arial" panose="020B0604020202020204" pitchFamily="34" charset="0"/>
              </a:rPr>
              <a:t>talisering</a:t>
            </a:r>
            <a:endParaRPr kumimoji="0" lang="nb-NO" sz="2000" b="1" i="0" u="none" strike="noStrike" kern="1200" cap="none" spc="0" normalizeH="0" baseline="0">
              <a:ln>
                <a:noFill/>
              </a:ln>
              <a:effectLst/>
              <a:uLnTx/>
              <a:uFillTx/>
              <a:latin typeface="Arial" panose="020B0604020202020204" pitchFamily="34" charset="0"/>
              <a:cs typeface="Arial" panose="020B0604020202020204" pitchFamily="34" charset="0"/>
            </a:endParaRPr>
          </a:p>
        </p:txBody>
      </p:sp>
      <p:sp>
        <p:nvSpPr>
          <p:cNvPr id="14" name="TextBox 5">
            <a:extLst>
              <a:ext uri="{FF2B5EF4-FFF2-40B4-BE49-F238E27FC236}">
                <a16:creationId xmlns:a16="http://schemas.microsoft.com/office/drawing/2014/main" id="{FEE02ECA-C166-434C-3817-BBD66B537EA9}"/>
              </a:ext>
            </a:extLst>
          </p:cNvPr>
          <p:cNvSpPr txBox="1"/>
          <p:nvPr/>
        </p:nvSpPr>
        <p:spPr>
          <a:xfrm>
            <a:off x="5810995" y="2577760"/>
            <a:ext cx="171793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Endrede</a:t>
            </a:r>
            <a:r>
              <a:rPr kumimoji="0" lang="nb-NO" sz="2000" b="1" i="0" u="none" strike="noStrike" kern="1200" cap="none" spc="0" normalizeH="0">
                <a:ln>
                  <a:noFill/>
                </a:ln>
                <a:solidFill>
                  <a:schemeClr val="bg1"/>
                </a:solidFill>
                <a:effectLst/>
                <a:uLnTx/>
                <a:uFillTx/>
                <a:latin typeface="Arial" panose="020B0604020202020204" pitchFamily="34" charset="0"/>
                <a:cs typeface="Arial" panose="020B0604020202020204" pitchFamily="34" charset="0"/>
              </a:rPr>
              <a:t> bruker-forventinger</a:t>
            </a:r>
            <a:endParaRPr kumimoji="0" lang="nb-NO" sz="20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5" name="TextBox 5">
            <a:extLst>
              <a:ext uri="{FF2B5EF4-FFF2-40B4-BE49-F238E27FC236}">
                <a16:creationId xmlns:a16="http://schemas.microsoft.com/office/drawing/2014/main" id="{CD92B991-B99F-93D1-F3C1-E4C54204FAE2}"/>
              </a:ext>
            </a:extLst>
          </p:cNvPr>
          <p:cNvSpPr txBox="1"/>
          <p:nvPr/>
        </p:nvSpPr>
        <p:spPr>
          <a:xfrm>
            <a:off x="3925960" y="4191430"/>
            <a:ext cx="1771358"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dirty="0">
                <a:ln>
                  <a:noFill/>
                </a:ln>
                <a:effectLst/>
                <a:uLnTx/>
                <a:uFillTx/>
                <a:latin typeface="Arial" panose="020B0604020202020204" pitchFamily="34" charset="0"/>
                <a:cs typeface="Arial" panose="020B0604020202020204" pitchFamily="34" charset="0"/>
              </a:rPr>
              <a:t>Mer samarbeid </a:t>
            </a:r>
            <a:br>
              <a:rPr kumimoji="0" lang="nb-NO" sz="2000" b="1" i="0" u="none" strike="noStrike" kern="1200" cap="none" spc="0" normalizeH="0" baseline="0" dirty="0">
                <a:ln>
                  <a:noFill/>
                </a:ln>
                <a:effectLst/>
                <a:uLnTx/>
                <a:uFillTx/>
                <a:latin typeface="Arial" panose="020B0604020202020204" pitchFamily="34" charset="0"/>
                <a:cs typeface="Arial" panose="020B0604020202020204" pitchFamily="34" charset="0"/>
              </a:rPr>
            </a:br>
            <a:r>
              <a:rPr kumimoji="0" lang="nb-NO" sz="2000" b="1" i="0" u="none" strike="noStrike" kern="1200" cap="none" spc="0" normalizeH="0" baseline="0" dirty="0">
                <a:ln>
                  <a:noFill/>
                </a:ln>
                <a:effectLst/>
                <a:uLnTx/>
                <a:uFillTx/>
                <a:latin typeface="Arial" panose="020B0604020202020204" pitchFamily="34" charset="0"/>
                <a:cs typeface="Arial" panose="020B0604020202020204" pitchFamily="34" charset="0"/>
              </a:rPr>
              <a:t>på tvers</a:t>
            </a:r>
          </a:p>
        </p:txBody>
      </p:sp>
    </p:spTree>
    <p:extLst>
      <p:ext uri="{BB962C8B-B14F-4D97-AF65-F5344CB8AC3E}">
        <p14:creationId xmlns:p14="http://schemas.microsoft.com/office/powerpoint/2010/main" val="26322674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F66000CF-23BB-DB73-58DC-5271A270D8D7}"/>
              </a:ext>
            </a:extLst>
          </p:cNvPr>
          <p:cNvSpPr/>
          <p:nvPr/>
        </p:nvSpPr>
        <p:spPr>
          <a:xfrm>
            <a:off x="0" y="742950"/>
            <a:ext cx="6096000" cy="2034540"/>
          </a:xfrm>
          <a:prstGeom prst="rect">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ktangel 4">
            <a:extLst>
              <a:ext uri="{FF2B5EF4-FFF2-40B4-BE49-F238E27FC236}">
                <a16:creationId xmlns:a16="http://schemas.microsoft.com/office/drawing/2014/main" id="{89BB8A14-BBBF-7D8A-1F8B-530228CE7BF5}"/>
              </a:ext>
            </a:extLst>
          </p:cNvPr>
          <p:cNvSpPr/>
          <p:nvPr/>
        </p:nvSpPr>
        <p:spPr>
          <a:xfrm>
            <a:off x="6096000" y="4823460"/>
            <a:ext cx="6096000" cy="2034540"/>
          </a:xfrm>
          <a:prstGeom prst="rect">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ktangel 5">
            <a:extLst>
              <a:ext uri="{FF2B5EF4-FFF2-40B4-BE49-F238E27FC236}">
                <a16:creationId xmlns:a16="http://schemas.microsoft.com/office/drawing/2014/main" id="{02787D3F-1246-4A8E-288B-0E689C642C1A}"/>
              </a:ext>
            </a:extLst>
          </p:cNvPr>
          <p:cNvSpPr/>
          <p:nvPr/>
        </p:nvSpPr>
        <p:spPr>
          <a:xfrm>
            <a:off x="0" y="2777490"/>
            <a:ext cx="6096000" cy="2034540"/>
          </a:xfrm>
          <a:prstGeom prst="rect">
            <a:avLst/>
          </a:prstGeom>
          <a:solidFill>
            <a:srgbClr val="669D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ktangel 6">
            <a:extLst>
              <a:ext uri="{FF2B5EF4-FFF2-40B4-BE49-F238E27FC236}">
                <a16:creationId xmlns:a16="http://schemas.microsoft.com/office/drawing/2014/main" id="{D5788F81-48DB-51A9-033E-D3D788D47329}"/>
              </a:ext>
            </a:extLst>
          </p:cNvPr>
          <p:cNvSpPr/>
          <p:nvPr/>
        </p:nvSpPr>
        <p:spPr>
          <a:xfrm>
            <a:off x="6096000" y="748665"/>
            <a:ext cx="6096000" cy="2034540"/>
          </a:xfrm>
          <a:prstGeom prst="rect">
            <a:avLst/>
          </a:prstGeom>
          <a:solidFill>
            <a:srgbClr val="669D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extBox 28">
            <a:extLst>
              <a:ext uri="{FF2B5EF4-FFF2-40B4-BE49-F238E27FC236}">
                <a16:creationId xmlns:a16="http://schemas.microsoft.com/office/drawing/2014/main" id="{75894564-91D6-1EF5-C6B1-44769342B7BA}"/>
              </a:ext>
            </a:extLst>
          </p:cNvPr>
          <p:cNvSpPr txBox="1"/>
          <p:nvPr/>
        </p:nvSpPr>
        <p:spPr>
          <a:xfrm>
            <a:off x="2661748" y="101025"/>
            <a:ext cx="6868504"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3200" b="1" i="0" u="none" strike="noStrike" kern="1200" cap="all" spc="300" normalizeH="0" baseline="0" noProof="0">
                <a:ln>
                  <a:noFill/>
                </a:ln>
                <a:solidFill>
                  <a:srgbClr val="0C5472"/>
                </a:solidFill>
                <a:effectLst/>
                <a:uLnTx/>
                <a:uFillTx/>
                <a:latin typeface="Arial" panose="020B0604020202020204"/>
                <a:ea typeface="+mn-ea"/>
                <a:cs typeface="+mn-cs"/>
              </a:rPr>
              <a:t>hovedfunn</a:t>
            </a:r>
            <a:endParaRPr kumimoji="0" lang="nb-NO" sz="3200" b="1" i="0" u="none" strike="noStrike" kern="1200" cap="all" spc="300" normalizeH="0" baseline="30000" noProof="0">
              <a:ln>
                <a:noFill/>
              </a:ln>
              <a:solidFill>
                <a:srgbClr val="0C5472"/>
              </a:solidFill>
              <a:effectLst/>
              <a:uLnTx/>
              <a:uFillTx/>
              <a:latin typeface="Arial" panose="020B0604020202020204"/>
              <a:ea typeface="+mn-ea"/>
              <a:cs typeface="+mn-cs"/>
            </a:endParaRPr>
          </a:p>
        </p:txBody>
      </p:sp>
      <p:sp>
        <p:nvSpPr>
          <p:cNvPr id="9" name="TekstSylinder 17">
            <a:extLst>
              <a:ext uri="{FF2B5EF4-FFF2-40B4-BE49-F238E27FC236}">
                <a16:creationId xmlns:a16="http://schemas.microsoft.com/office/drawing/2014/main" id="{D7C14AE7-3415-0F16-6D57-272EC4802B7C}"/>
              </a:ext>
            </a:extLst>
          </p:cNvPr>
          <p:cNvSpPr txBox="1"/>
          <p:nvPr/>
        </p:nvSpPr>
        <p:spPr>
          <a:xfrm>
            <a:off x="1169010" y="963505"/>
            <a:ext cx="4926990" cy="1654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rbeidsmarked</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mstilling pga. teknologi og grønt skifte. Sårbar globalisering gir regionalisering av internasjonal handel.</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Økte kompetansekrav, særlig mangel på helsepersonell og personer med fagbrev.</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AV må lette omstillingene, bidra til mobilitet og kvalifisering, ved samarbeid med arbeidsgivere og utdanningssektoren</a:t>
            </a:r>
          </a:p>
        </p:txBody>
      </p:sp>
      <p:sp>
        <p:nvSpPr>
          <p:cNvPr id="10" name="TekstSylinder 15">
            <a:extLst>
              <a:ext uri="{FF2B5EF4-FFF2-40B4-BE49-F238E27FC236}">
                <a16:creationId xmlns:a16="http://schemas.microsoft.com/office/drawing/2014/main" id="{80E54BAC-C61D-3E2B-803B-B934566735CD}"/>
              </a:ext>
            </a:extLst>
          </p:cNvPr>
          <p:cNvSpPr txBox="1"/>
          <p:nvPr/>
        </p:nvSpPr>
        <p:spPr>
          <a:xfrm>
            <a:off x="1169010" y="2967610"/>
            <a:ext cx="4756302" cy="1654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mografi</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ldring utfordrer velferdsstaten, sentraliseringen fortsetter. Økt usikkerhet om innvandringen </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vak vekst for tjenester og ytelser i yrkesaktiv alder, 35 prosent brukervekst for hjelpemidler og alderspensjon vil utfordre NAV</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Økt forsørgerbyrde gir økte krav til effektivisering og til arbeidsrettet oppfølging</a:t>
            </a:r>
          </a:p>
        </p:txBody>
      </p:sp>
      <p:sp>
        <p:nvSpPr>
          <p:cNvPr id="11" name="TekstSylinder 19">
            <a:extLst>
              <a:ext uri="{FF2B5EF4-FFF2-40B4-BE49-F238E27FC236}">
                <a16:creationId xmlns:a16="http://schemas.microsoft.com/office/drawing/2014/main" id="{7DF4EEB0-38C5-FF8C-1708-A89F6F4528E8}"/>
              </a:ext>
            </a:extLst>
          </p:cNvPr>
          <p:cNvSpPr txBox="1"/>
          <p:nvPr/>
        </p:nvSpPr>
        <p:spPr>
          <a:xfrm>
            <a:off x="1169010" y="5047034"/>
            <a:ext cx="4756302" cy="12849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rukerforventninger</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ammenhengende tjenester tilpasset behovet</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lang="nb-NO" sz="1200">
                <a:solidFill>
                  <a:srgbClr val="000000"/>
                </a:solidFill>
                <a:latin typeface="Arial" panose="020B0604020202020204" pitchFamily="34" charset="0"/>
                <a:cs typeface="Arial" panose="020B0604020202020204" pitchFamily="34" charset="0"/>
              </a:rPr>
              <a:t>A</a:t>
            </a: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 NAV </a:t>
            </a:r>
            <a:r>
              <a:rPr lang="nb-NO" sz="1200">
                <a:solidFill>
                  <a:srgbClr val="000000"/>
                </a:solidFill>
                <a:latin typeface="Arial" panose="020B0604020202020204" pitchFamily="34" charset="0"/>
                <a:cs typeface="Arial" panose="020B0604020202020204" pitchFamily="34" charset="0"/>
              </a:rPr>
              <a:t>fjerner </a:t>
            </a: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indre for å ta i bruk digitale tjenester</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Økte krav til  personlige møter – ekspertise og relasjons-kompetanse</a:t>
            </a:r>
          </a:p>
        </p:txBody>
      </p:sp>
      <p:sp>
        <p:nvSpPr>
          <p:cNvPr id="12" name="TekstSylinder 18">
            <a:extLst>
              <a:ext uri="{FF2B5EF4-FFF2-40B4-BE49-F238E27FC236}">
                <a16:creationId xmlns:a16="http://schemas.microsoft.com/office/drawing/2014/main" id="{571A82D3-E342-1C4D-68EA-2B0EB1C4141C}"/>
              </a:ext>
            </a:extLst>
          </p:cNvPr>
          <p:cNvSpPr txBox="1"/>
          <p:nvPr/>
        </p:nvSpPr>
        <p:spPr>
          <a:xfrm>
            <a:off x="7141464" y="962665"/>
            <a:ext cx="5000142" cy="128496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a:ea typeface="+mn-ea"/>
                <a:cs typeface="Arial"/>
              </a:rPr>
              <a:t>Teknologi</a:t>
            </a:r>
          </a:p>
          <a:p>
            <a:pPr marL="227965" marR="0" lvl="0" indent="-227965"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a:ea typeface="+mn-ea"/>
                <a:cs typeface="Arial"/>
              </a:rPr>
              <a:t>Mer fleksibel datakraft og økt anvendelighet for kunstig intelligens</a:t>
            </a:r>
            <a:endParaRPr kumimoji="0" lang="en-US" sz="1800" b="0" i="0" u="none" strike="noStrike" kern="1200" cap="none" spc="0" normalizeH="0" baseline="0" noProof="0">
              <a:ln>
                <a:noFill/>
              </a:ln>
              <a:solidFill>
                <a:srgbClr val="000000"/>
              </a:solidFill>
              <a:effectLst/>
              <a:uLnTx/>
              <a:uFillTx/>
              <a:latin typeface="Arial"/>
              <a:ea typeface="+mn-ea"/>
              <a:cs typeface="Arial"/>
            </a:endParaRPr>
          </a:p>
          <a:p>
            <a:pPr marL="227965" marR="0" lvl="0" indent="-227965"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a:ea typeface="+mn-ea"/>
                <a:cs typeface="Arial"/>
              </a:rPr>
              <a:t>Store muligheter for digitalisering av brukerkontakt og forvaltning</a:t>
            </a:r>
          </a:p>
          <a:p>
            <a:pPr marL="227965" marR="0" lvl="0" indent="-227965"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a:ea typeface="+mn-ea"/>
                <a:cs typeface="Arial"/>
              </a:rPr>
              <a:t>Hensyn til personvern, rettssikkerhet og sosial aksept krever </a:t>
            </a:r>
            <a:br>
              <a:rPr kumimoji="0" lang="nb-NO" sz="1200" b="0" i="0" u="none" strike="noStrike" kern="1200" cap="none" spc="0" normalizeH="0" baseline="0" noProof="0">
                <a:ln>
                  <a:noFill/>
                </a:ln>
                <a:solidFill>
                  <a:srgbClr val="000000"/>
                </a:solidFill>
                <a:effectLst/>
                <a:uLnTx/>
                <a:uFillTx/>
                <a:latin typeface="Arial"/>
                <a:ea typeface="+mn-ea"/>
                <a:cs typeface="Arial"/>
              </a:rPr>
            </a:br>
            <a:r>
              <a:rPr kumimoji="0" lang="nb-NO" sz="1200" b="0" i="0" u="none" strike="noStrike" kern="1200" cap="none" spc="0" normalizeH="0" baseline="0" noProof="0">
                <a:ln>
                  <a:noFill/>
                </a:ln>
                <a:solidFill>
                  <a:srgbClr val="000000"/>
                </a:solidFill>
                <a:effectLst/>
                <a:uLnTx/>
                <a:uFillTx/>
                <a:latin typeface="Arial"/>
                <a:ea typeface="+mn-ea"/>
                <a:cs typeface="Arial"/>
              </a:rPr>
              <a:t>etisk bærekraftig digitalisering</a:t>
            </a:r>
          </a:p>
        </p:txBody>
      </p:sp>
      <p:sp>
        <p:nvSpPr>
          <p:cNvPr id="13" name="TekstSylinder 29">
            <a:extLst>
              <a:ext uri="{FF2B5EF4-FFF2-40B4-BE49-F238E27FC236}">
                <a16:creationId xmlns:a16="http://schemas.microsoft.com/office/drawing/2014/main" id="{8ABCC3BA-5AD5-0DA6-3BB7-59762D6F3784}"/>
              </a:ext>
            </a:extLst>
          </p:cNvPr>
          <p:cNvSpPr txBox="1"/>
          <p:nvPr/>
        </p:nvSpPr>
        <p:spPr>
          <a:xfrm>
            <a:off x="7057373" y="2887757"/>
            <a:ext cx="4920010" cy="18389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evekår og helse</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Økende inntektsforskjeller, flyktninger og personer med svak tilknytning til arbeidslivet mest utsatt</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r usikre levekår for utsatte grupper, avhengig av inflasjon og rentenivå</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Økt levealder og bedre folkehelse. Lavere sykdomsbyrde i yrkesaktiv alder, men omstilling gir risiko for utstøting fra arbeidslivet</a:t>
            </a:r>
          </a:p>
        </p:txBody>
      </p:sp>
      <p:sp>
        <p:nvSpPr>
          <p:cNvPr id="14" name="TekstSylinder 22">
            <a:extLst>
              <a:ext uri="{FF2B5EF4-FFF2-40B4-BE49-F238E27FC236}">
                <a16:creationId xmlns:a16="http://schemas.microsoft.com/office/drawing/2014/main" id="{A5A7DDF1-0D0D-B99A-02F1-AAC434C3D8A6}"/>
              </a:ext>
            </a:extLst>
          </p:cNvPr>
          <p:cNvSpPr txBox="1"/>
          <p:nvPr/>
        </p:nvSpPr>
        <p:spPr>
          <a:xfrm>
            <a:off x="7232904" y="4908159"/>
            <a:ext cx="4959096" cy="1654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litiske trender</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mstilling, inkludering og velferdsstatens bærekraft vil prege </a:t>
            </a:r>
            <a:b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rbeids- og velferdspolitikken – viktige konfliktlinjer blir universell vs. behovsprøvd, ytelsesnivåer vs. insentiver, offentlig vs. privat </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U viktigere for Norge i en usikker verden</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siko for økt politisk polarisering utfordrer tilliten til NAV og kan </a:t>
            </a:r>
            <a:b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nb-NO"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i mer uforutsigbarhet i politikken</a:t>
            </a:r>
          </a:p>
        </p:txBody>
      </p:sp>
      <p:pic>
        <p:nvPicPr>
          <p:cNvPr id="15" name="Grafikk 14" descr="Bygnings arbeider hunn kontur">
            <a:extLst>
              <a:ext uri="{FF2B5EF4-FFF2-40B4-BE49-F238E27FC236}">
                <a16:creationId xmlns:a16="http://schemas.microsoft.com/office/drawing/2014/main" id="{85A9AA8B-D0B4-62C8-F87D-398CD6E422B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14617" y="1303019"/>
            <a:ext cx="914400" cy="914400"/>
          </a:xfrm>
          <a:prstGeom prst="rect">
            <a:avLst/>
          </a:prstGeom>
        </p:spPr>
      </p:pic>
      <p:pic>
        <p:nvPicPr>
          <p:cNvPr id="16" name="Grafikk 15" descr="Megafon kontur">
            <a:extLst>
              <a:ext uri="{FF2B5EF4-FFF2-40B4-BE49-F238E27FC236}">
                <a16:creationId xmlns:a16="http://schemas.microsoft.com/office/drawing/2014/main" id="{3A6C3165-EC92-7BD4-D8F3-715B64C502D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233160" y="5222139"/>
            <a:ext cx="914400" cy="914400"/>
          </a:xfrm>
          <a:prstGeom prst="rect">
            <a:avLst/>
          </a:prstGeom>
        </p:spPr>
      </p:pic>
      <p:pic>
        <p:nvPicPr>
          <p:cNvPr id="17" name="Grafikk 16" descr="Mann med baby kontur">
            <a:extLst>
              <a:ext uri="{FF2B5EF4-FFF2-40B4-BE49-F238E27FC236}">
                <a16:creationId xmlns:a16="http://schemas.microsoft.com/office/drawing/2014/main" id="{F2CFEF7C-46A1-6668-6478-EB8872F7DC7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14617" y="3247643"/>
            <a:ext cx="914400" cy="914400"/>
          </a:xfrm>
          <a:prstGeom prst="rect">
            <a:avLst/>
          </a:prstGeom>
        </p:spPr>
      </p:pic>
      <p:pic>
        <p:nvPicPr>
          <p:cNvPr id="18" name="Grafikk 17" descr="Mann med barn kontur">
            <a:extLst>
              <a:ext uri="{FF2B5EF4-FFF2-40B4-BE49-F238E27FC236}">
                <a16:creationId xmlns:a16="http://schemas.microsoft.com/office/drawing/2014/main" id="{D71C422A-B0B0-F127-3C4D-0F7467C7F6CD}"/>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42314" y="5222139"/>
            <a:ext cx="914400" cy="914400"/>
          </a:xfrm>
          <a:prstGeom prst="rect">
            <a:avLst/>
          </a:prstGeom>
        </p:spPr>
      </p:pic>
      <p:pic>
        <p:nvPicPr>
          <p:cNvPr id="19" name="Grafikk 18" descr="Hjerte med puls kontur">
            <a:extLst>
              <a:ext uri="{FF2B5EF4-FFF2-40B4-BE49-F238E27FC236}">
                <a16:creationId xmlns:a16="http://schemas.microsoft.com/office/drawing/2014/main" id="{76F68EAF-FCCE-1DA1-687C-655F6E940DC1}"/>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227064" y="3236213"/>
            <a:ext cx="914400" cy="914400"/>
          </a:xfrm>
          <a:prstGeom prst="rect">
            <a:avLst/>
          </a:prstGeom>
        </p:spPr>
      </p:pic>
      <p:pic>
        <p:nvPicPr>
          <p:cNvPr id="20" name="Grafikk 19" descr="Programmere mann kontur">
            <a:extLst>
              <a:ext uri="{FF2B5EF4-FFF2-40B4-BE49-F238E27FC236}">
                <a16:creationId xmlns:a16="http://schemas.microsoft.com/office/drawing/2014/main" id="{743966E9-C3B0-9BF4-764C-74E0A561482E}"/>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227064" y="1333455"/>
            <a:ext cx="914400" cy="914400"/>
          </a:xfrm>
          <a:prstGeom prst="rect">
            <a:avLst/>
          </a:prstGeom>
        </p:spPr>
      </p:pic>
    </p:spTree>
    <p:extLst>
      <p:ext uri="{BB962C8B-B14F-4D97-AF65-F5344CB8AC3E}">
        <p14:creationId xmlns:p14="http://schemas.microsoft.com/office/powerpoint/2010/main" val="2234891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0C547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A0F8A3-CC91-D945-A929-0ABD25CDE164}"/>
              </a:ext>
            </a:extLst>
          </p:cNvPr>
          <p:cNvSpPr>
            <a:spLocks noGrp="1"/>
          </p:cNvSpPr>
          <p:nvPr>
            <p:ph type="body" sz="quarter" idx="10"/>
          </p:nvPr>
        </p:nvSpPr>
        <p:spPr>
          <a:xfrm>
            <a:off x="1733550" y="3087476"/>
            <a:ext cx="8724900" cy="987567"/>
          </a:xfrm>
        </p:spPr>
        <p:txBody>
          <a:bodyPr>
            <a:normAutofit/>
          </a:bodyPr>
          <a:lstStyle/>
          <a:p>
            <a:r>
              <a:rPr lang="nb-NO" sz="3200" b="1" noProof="0"/>
              <a:t>Vil du vite mer?</a:t>
            </a:r>
          </a:p>
        </p:txBody>
      </p:sp>
      <p:sp>
        <p:nvSpPr>
          <p:cNvPr id="4" name="Text Placeholder 1">
            <a:extLst>
              <a:ext uri="{FF2B5EF4-FFF2-40B4-BE49-F238E27FC236}">
                <a16:creationId xmlns:a16="http://schemas.microsoft.com/office/drawing/2014/main" id="{99B6815F-7717-442C-973F-093B42E688A0}"/>
              </a:ext>
            </a:extLst>
          </p:cNvPr>
          <p:cNvSpPr txBox="1">
            <a:spLocks/>
          </p:cNvSpPr>
          <p:nvPr/>
        </p:nvSpPr>
        <p:spPr>
          <a:xfrm>
            <a:off x="964098" y="3991799"/>
            <a:ext cx="10296939" cy="2110827"/>
          </a:xfrm>
          <a:prstGeom prst="roundRect">
            <a:avLst/>
          </a:prstGeom>
          <a:noFill/>
          <a:effectLst>
            <a:softEdge rad="12700"/>
          </a:effectLst>
        </p:spPr>
        <p:txBody>
          <a:bodyPr vert="horz" lIns="91440" tIns="45720" rIns="91440" bIns="45720" rtlCol="0" anchor="ctr">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defRPr sz="2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
                <a:srgbClr val="FFFFFF"/>
              </a:buClr>
              <a:buSzTx/>
              <a:buFont typeface="Arial" panose="020B0604020202020204" pitchFamily="34" charset="0"/>
              <a:buNone/>
              <a:tabLst/>
              <a:defRPr/>
            </a:pPr>
            <a:r>
              <a:rPr kumimoji="0" lang="nb-NO" sz="2000" b="0" i="0" u="none" strike="noStrike" kern="1200" cap="none" spc="0" normalizeH="0" baseline="0" noProof="0" dirty="0">
                <a:ln>
                  <a:noFill/>
                </a:ln>
                <a:effectLst/>
                <a:uLnTx/>
                <a:uFillTx/>
                <a:latin typeface="Arial"/>
                <a:ea typeface="+mn-ea"/>
                <a:cs typeface="Arial"/>
              </a:rPr>
              <a:t>Mer informasjon på </a:t>
            </a:r>
            <a:r>
              <a:rPr kumimoji="0" lang="nb-NO" sz="2000" b="0" i="0" u="none" strike="noStrike" kern="1200" cap="none" spc="0" normalizeH="0" baseline="0" noProof="0" dirty="0">
                <a:ln>
                  <a:noFill/>
                </a:ln>
                <a:effectLst/>
                <a:uLnTx/>
                <a:uFillTx/>
                <a:latin typeface="Arial"/>
                <a:ea typeface="+mn-ea"/>
                <a:cs typeface="Arial"/>
                <a:hlinkClick r:id="rId3">
                  <a:extLst>
                    <a:ext uri="{A12FA001-AC4F-418D-AE19-62706E023703}">
                      <ahyp:hlinkClr xmlns:ahyp="http://schemas.microsoft.com/office/drawing/2018/hyperlinkcolor" val="tx"/>
                    </a:ext>
                  </a:extLst>
                </a:hlinkClick>
              </a:rPr>
              <a:t>nav.no/omverdensanalyse</a:t>
            </a:r>
            <a:endParaRPr kumimoji="0" lang="nb-NO" sz="2000" b="0" i="0" u="none" strike="noStrike" kern="1200" cap="none" spc="0" normalizeH="0" baseline="0" noProof="0" dirty="0">
              <a:ln>
                <a:noFill/>
              </a:ln>
              <a:effectLst/>
              <a:uLnTx/>
              <a:uFillTx/>
              <a:latin typeface="Arial"/>
              <a:ea typeface="+mn-ea"/>
              <a:cs typeface="Arial"/>
            </a:endParaRPr>
          </a:p>
          <a:p>
            <a:pPr marL="0" marR="0" lvl="0" indent="0" algn="ctr" defTabSz="914400" rtl="0" eaLnBrk="1" fontAlgn="auto" latinLnBrk="0" hangingPunct="1">
              <a:lnSpc>
                <a:spcPct val="120000"/>
              </a:lnSpc>
              <a:spcBef>
                <a:spcPts val="1000"/>
              </a:spcBef>
              <a:spcAft>
                <a:spcPts val="0"/>
              </a:spcAft>
              <a:buClr>
                <a:srgbClr val="FFFFFF"/>
              </a:buClr>
              <a:buSzTx/>
              <a:buFont typeface="Arial" panose="020B0604020202020204" pitchFamily="34" charset="0"/>
              <a:buNone/>
              <a:tabLst/>
              <a:defRPr/>
            </a:pPr>
            <a:r>
              <a:rPr kumimoji="0" lang="nb-NO" sz="2000" b="0" i="0" u="none" strike="noStrike" kern="1200" cap="none" spc="0" normalizeH="0" baseline="0" noProof="0" dirty="0">
                <a:ln>
                  <a:noFill/>
                </a:ln>
                <a:effectLst/>
                <a:uLnTx/>
                <a:uFillTx/>
                <a:latin typeface="Arial"/>
                <a:ea typeface="+mn-ea"/>
                <a:cs typeface="Arial"/>
              </a:rPr>
              <a:t>Du kan stille spørsmål og diskutere på Viva </a:t>
            </a:r>
            <a:r>
              <a:rPr kumimoji="0" lang="nb-NO" sz="2000" b="0" i="0" u="none" strike="noStrike" kern="1200" cap="none" spc="0" normalizeH="0" baseline="0" noProof="0" dirty="0" err="1">
                <a:ln>
                  <a:noFill/>
                </a:ln>
                <a:effectLst/>
                <a:uLnTx/>
                <a:uFillTx/>
                <a:latin typeface="Arial"/>
                <a:ea typeface="+mn-ea"/>
                <a:cs typeface="Arial"/>
              </a:rPr>
              <a:t>Engage</a:t>
            </a:r>
            <a:r>
              <a:rPr kumimoji="0" lang="nb-NO" sz="2000" b="0" i="0" u="none" strike="noStrike" kern="1200" cap="none" spc="0" normalizeH="0" baseline="0" noProof="0" dirty="0">
                <a:ln>
                  <a:noFill/>
                </a:ln>
                <a:effectLst/>
                <a:uLnTx/>
                <a:uFillTx/>
                <a:latin typeface="Arial"/>
                <a:ea typeface="+mn-ea"/>
                <a:cs typeface="Arial"/>
              </a:rPr>
              <a:t> (</a:t>
            </a:r>
            <a:r>
              <a:rPr lang="nb-NO" sz="2000" dirty="0" err="1">
                <a:latin typeface="Arial"/>
                <a:cs typeface="Arial"/>
              </a:rPr>
              <a:t>Yammer</a:t>
            </a:r>
            <a:r>
              <a:rPr lang="nb-NO" sz="2000" dirty="0">
                <a:latin typeface="Arial"/>
                <a:cs typeface="Arial"/>
              </a:rPr>
              <a:t>)</a:t>
            </a:r>
            <a:r>
              <a:rPr kumimoji="0" lang="nb-NO" sz="2000" b="0" i="0" u="none" strike="noStrike" kern="1200" cap="none" spc="0" normalizeH="0" baseline="0" noProof="0" dirty="0">
                <a:ln>
                  <a:noFill/>
                </a:ln>
                <a:effectLst/>
                <a:uLnTx/>
                <a:uFillTx/>
                <a:latin typeface="Arial"/>
                <a:ea typeface="+mn-ea"/>
                <a:cs typeface="Arial"/>
              </a:rPr>
              <a:t> </a:t>
            </a:r>
            <a:r>
              <a:rPr kumimoji="0" lang="nb-NO" sz="2000" b="0" i="0" u="none" strike="noStrike" kern="1200" cap="none" spc="0" normalizeH="0" baseline="0" noProof="0" dirty="0">
                <a:ln>
                  <a:noFill/>
                </a:ln>
                <a:effectLst/>
                <a:uLnTx/>
                <a:uFillTx/>
                <a:latin typeface="Arial"/>
                <a:ea typeface="+mn-ea"/>
                <a:cs typeface="Arial"/>
                <a:hlinkClick r:id="rId4">
                  <a:extLst>
                    <a:ext uri="{A12FA001-AC4F-418D-AE19-62706E023703}">
                      <ahyp:hlinkClr xmlns:ahyp="http://schemas.microsoft.com/office/drawing/2018/hyperlinkcolor" val="tx"/>
                    </a:ext>
                  </a:extLst>
                </a:hlinkClick>
              </a:rPr>
              <a:t>Omverdensanalysen</a:t>
            </a:r>
            <a:endParaRPr kumimoji="0" lang="nb-NO" sz="2000" b="0" i="0" u="none" strike="noStrike" kern="1200" cap="none" spc="0" normalizeH="0" baseline="0" noProof="0" dirty="0">
              <a:ln>
                <a:noFill/>
              </a:ln>
              <a:effectLst/>
              <a:uLnTx/>
              <a:uFillTx/>
              <a:latin typeface="Arial"/>
              <a:ea typeface="+mn-ea"/>
              <a:cs typeface="Arial"/>
            </a:endParaRPr>
          </a:p>
          <a:p>
            <a:pPr marL="0" marR="0" lvl="0" indent="0" algn="ctr" defTabSz="914400" rtl="0" eaLnBrk="1" fontAlgn="auto" latinLnBrk="0" hangingPunct="1">
              <a:lnSpc>
                <a:spcPct val="120000"/>
              </a:lnSpc>
              <a:spcBef>
                <a:spcPts val="1000"/>
              </a:spcBef>
              <a:spcAft>
                <a:spcPts val="0"/>
              </a:spcAft>
              <a:buClr>
                <a:srgbClr val="FFFFFF"/>
              </a:buClr>
              <a:buSzTx/>
              <a:buFont typeface="Arial" panose="020B0604020202020204" pitchFamily="34" charset="0"/>
              <a:buNone/>
              <a:tabLst/>
              <a:defRPr/>
            </a:pPr>
            <a:r>
              <a:rPr kumimoji="0" lang="nb-NO" sz="2000" b="0" i="0" u="none" strike="noStrike" kern="1200" cap="none" spc="0" normalizeH="0" baseline="0" noProof="0" dirty="0">
                <a:ln>
                  <a:noFill/>
                </a:ln>
                <a:effectLst/>
                <a:uLnTx/>
                <a:uFillTx/>
                <a:latin typeface="Arial"/>
                <a:ea typeface="+mn-ea"/>
                <a:cs typeface="Arial"/>
              </a:rPr>
              <a:t>Du kan også ta kontakt på e-post </a:t>
            </a:r>
            <a:r>
              <a:rPr kumimoji="0" lang="nb-NO" sz="2000" b="0" i="0" u="none" strike="noStrike" kern="1200" cap="none" spc="0" normalizeH="0" baseline="0" noProof="0" dirty="0">
                <a:ln>
                  <a:noFill/>
                </a:ln>
                <a:effectLst/>
                <a:uLnTx/>
                <a:uFillTx/>
                <a:latin typeface="Arial"/>
                <a:ea typeface="+mn-ea"/>
                <a:cs typeface="Arial"/>
                <a:hlinkClick r:id="rId5">
                  <a:extLst>
                    <a:ext uri="{A12FA001-AC4F-418D-AE19-62706E023703}">
                      <ahyp:hlinkClr xmlns:ahyp="http://schemas.microsoft.com/office/drawing/2018/hyperlinkcolor" val="tx"/>
                    </a:ext>
                  </a:extLst>
                </a:hlinkClick>
              </a:rPr>
              <a:t>redaksjon.omverdensanalysen@nav.no</a:t>
            </a:r>
            <a:endParaRPr kumimoji="0" lang="nb-NO" sz="2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983499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846555"/>
            <a:ext cx="5743643" cy="4330408"/>
          </a:xfrm>
        </p:spPr>
        <p:txBody>
          <a:bodyPr>
            <a:normAutofit/>
          </a:bodyPr>
          <a:lstStyle/>
          <a:p>
            <a:pPr>
              <a:lnSpc>
                <a:spcPct val="100000"/>
              </a:lnSpc>
              <a:buClrTx/>
            </a:pPr>
            <a:r>
              <a:rPr lang="nb-NO" sz="2400" noProof="0"/>
              <a:t>Uforutsette hendelser</a:t>
            </a:r>
          </a:p>
          <a:p>
            <a:pPr>
              <a:lnSpc>
                <a:spcPct val="100000"/>
              </a:lnSpc>
              <a:buClrTx/>
            </a:pPr>
            <a:endParaRPr lang="nb-NO" sz="2400" noProof="0"/>
          </a:p>
          <a:p>
            <a:pPr>
              <a:lnSpc>
                <a:spcPct val="100000"/>
              </a:lnSpc>
              <a:buClrTx/>
            </a:pPr>
            <a:r>
              <a:rPr lang="nb-NO" sz="2400" noProof="0"/>
              <a:t>Innvandring</a:t>
            </a:r>
          </a:p>
          <a:p>
            <a:pPr>
              <a:lnSpc>
                <a:spcPct val="100000"/>
              </a:lnSpc>
              <a:buClrTx/>
            </a:pPr>
            <a:endParaRPr lang="nb-NO" sz="2400"/>
          </a:p>
          <a:p>
            <a:pPr>
              <a:lnSpc>
                <a:spcPct val="100000"/>
              </a:lnSpc>
              <a:buClrTx/>
            </a:pPr>
            <a:r>
              <a:rPr lang="nb-NO" sz="2400"/>
              <a:t>Evne til omstilling på arbeids-</a:t>
            </a:r>
            <a:br>
              <a:rPr lang="nb-NO" sz="2400"/>
            </a:br>
            <a:r>
              <a:rPr lang="nb-NO" sz="2400"/>
              <a:t>markedet og av offentlig sektor</a:t>
            </a:r>
          </a:p>
          <a:p>
            <a:pPr>
              <a:lnSpc>
                <a:spcPct val="100000"/>
              </a:lnSpc>
              <a:buClrTx/>
            </a:pPr>
            <a:endParaRPr lang="nb-NO" sz="2400"/>
          </a:p>
          <a:p>
            <a:pPr>
              <a:lnSpc>
                <a:spcPct val="100000"/>
              </a:lnSpc>
              <a:buClrTx/>
            </a:pPr>
            <a:r>
              <a:rPr lang="nb-NO" sz="2400"/>
              <a:t>Tillit og polarisering</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a:xfrm>
            <a:off x="838200" y="482400"/>
            <a:ext cx="7696200" cy="1072080"/>
          </a:xfrm>
        </p:spPr>
        <p:txBody>
          <a:bodyPr>
            <a:normAutofit/>
          </a:bodyPr>
          <a:lstStyle/>
          <a:p>
            <a:r>
              <a:rPr lang="nb-NO" noProof="0">
                <a:solidFill>
                  <a:schemeClr val="tx1"/>
                </a:solidFill>
              </a:rPr>
              <a:t>De største usikkerhetene for NAV</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087983" y="6581001"/>
            <a:ext cx="1602378" cy="276999"/>
          </a:xfrm>
          <a:prstGeom prst="rect">
            <a:avLst/>
          </a:prstGeom>
          <a:noFill/>
        </p:spPr>
        <p:txBody>
          <a:bodyPr wrap="square" rtlCol="0">
            <a:spAutoFit/>
          </a:bodyPr>
          <a:lstStyle/>
          <a:p>
            <a:r>
              <a:rPr lang="nb-NO" sz="1200"/>
              <a:t>Foto: </a:t>
            </a:r>
            <a:r>
              <a:rPr lang="nb-NO" sz="1200" err="1"/>
              <a:t>Unsplash</a:t>
            </a:r>
            <a:endParaRPr lang="nb-NO" sz="1200"/>
          </a:p>
        </p:txBody>
      </p:sp>
      <p:sp>
        <p:nvSpPr>
          <p:cNvPr id="7" name="Rektangel 6">
            <a:extLst>
              <a:ext uri="{FF2B5EF4-FFF2-40B4-BE49-F238E27FC236}">
                <a16:creationId xmlns:a16="http://schemas.microsoft.com/office/drawing/2014/main" id="{4C183D20-C3B9-43C4-B8D2-51673FA386C7}"/>
              </a:ext>
            </a:extLst>
          </p:cNvPr>
          <p:cNvSpPr/>
          <p:nvPr/>
        </p:nvSpPr>
        <p:spPr>
          <a:xfrm>
            <a:off x="8115289" y="2996052"/>
            <a:ext cx="3023181" cy="1190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b="1"/>
              <a:t>BYTTES UT</a:t>
            </a:r>
            <a:endParaRPr lang="nb-NO" sz="1600" b="1"/>
          </a:p>
        </p:txBody>
      </p:sp>
      <p:pic>
        <p:nvPicPr>
          <p:cNvPr id="9" name="Plassholder for bilde 8" descr="Et bilde som inneholder tre, utendørs&#10;&#10;Automatisk generert beskrivelse">
            <a:extLst>
              <a:ext uri="{FF2B5EF4-FFF2-40B4-BE49-F238E27FC236}">
                <a16:creationId xmlns:a16="http://schemas.microsoft.com/office/drawing/2014/main" id="{B66FB5ED-3630-97F8-2E0B-7FE6DAB00086}"/>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463229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31601"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200" b="1" cap="all" spc="300">
              <a:solidFill>
                <a:srgbClr val="D87F0A"/>
              </a:solidFill>
              <a:latin typeface="Arial" panose="020B0604020202020204"/>
            </a:endParaRPr>
          </a:p>
        </p:txBody>
      </p:sp>
      <p:sp>
        <p:nvSpPr>
          <p:cNvPr id="8" name="Rectangle 7"/>
          <p:cNvSpPr/>
          <p:nvPr/>
        </p:nvSpPr>
        <p:spPr>
          <a:xfrm>
            <a:off x="4446813"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p:txBody>
      </p:sp>
      <p:sp>
        <p:nvSpPr>
          <p:cNvPr id="9" name="Rectangle 8"/>
          <p:cNvSpPr/>
          <p:nvPr/>
        </p:nvSpPr>
        <p:spPr>
          <a:xfrm>
            <a:off x="8158957"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p:txBody>
      </p:sp>
      <p:sp>
        <p:nvSpPr>
          <p:cNvPr id="12" name="Rectangle 11"/>
          <p:cNvSpPr/>
          <p:nvPr/>
        </p:nvSpPr>
        <p:spPr>
          <a:xfrm>
            <a:off x="731601" y="3278389"/>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3" name="Rectangle 12"/>
          <p:cNvSpPr/>
          <p:nvPr/>
        </p:nvSpPr>
        <p:spPr>
          <a:xfrm>
            <a:off x="4442269" y="3289054"/>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5" name="Rectangle 14"/>
          <p:cNvSpPr/>
          <p:nvPr/>
        </p:nvSpPr>
        <p:spPr>
          <a:xfrm>
            <a:off x="8152937" y="3278389"/>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7" name="TextBox 28">
            <a:extLst>
              <a:ext uri="{FF2B5EF4-FFF2-40B4-BE49-F238E27FC236}">
                <a16:creationId xmlns:a16="http://schemas.microsoft.com/office/drawing/2014/main" id="{7E77B6E7-F185-402F-9170-540DD7FC284D}"/>
              </a:ext>
            </a:extLst>
          </p:cNvPr>
          <p:cNvSpPr txBox="1"/>
          <p:nvPr/>
        </p:nvSpPr>
        <p:spPr>
          <a:xfrm>
            <a:off x="723680" y="642827"/>
            <a:ext cx="10735369" cy="646331"/>
          </a:xfrm>
          <a:prstGeom prst="rect">
            <a:avLst/>
          </a:prstGeom>
          <a:noFill/>
        </p:spPr>
        <p:txBody>
          <a:bodyPr wrap="square" lIns="91440" tIns="45720" rIns="91440" bIns="45720" rtlCol="0" anchor="t">
            <a:spAutoFit/>
          </a:bodyPr>
          <a:lstStyle/>
          <a:p>
            <a:pPr algn="ctr" defTabSz="914377">
              <a:defRPr/>
            </a:pPr>
            <a:r>
              <a:rPr lang="nb-NO" sz="5400" b="1" cap="all" spc="300" baseline="30000">
                <a:solidFill>
                  <a:srgbClr val="0C5472"/>
                </a:solidFill>
                <a:latin typeface="Arial" panose="020B0604020202020204"/>
              </a:rPr>
              <a:t>7 samfunnsområder i analysen</a:t>
            </a:r>
          </a:p>
        </p:txBody>
      </p:sp>
      <p:sp>
        <p:nvSpPr>
          <p:cNvPr id="21" name="Rectangle 44">
            <a:extLst>
              <a:ext uri="{FF2B5EF4-FFF2-40B4-BE49-F238E27FC236}">
                <a16:creationId xmlns:a16="http://schemas.microsoft.com/office/drawing/2014/main" id="{B9F25560-FE61-4C03-8F5A-40316F98145C}"/>
              </a:ext>
            </a:extLst>
          </p:cNvPr>
          <p:cNvSpPr/>
          <p:nvPr/>
        </p:nvSpPr>
        <p:spPr>
          <a:xfrm>
            <a:off x="4455661" y="4112976"/>
            <a:ext cx="3325859" cy="369332"/>
          </a:xfrm>
          <a:prstGeom prst="rect">
            <a:avLst/>
          </a:prstGeom>
        </p:spPr>
        <p:txBody>
          <a:bodyPr wrap="square" lIns="91440" tIns="45720" rIns="91440" bIns="45720" anchor="ctr">
            <a:spAutoFit/>
          </a:bodyPr>
          <a:lstStyle/>
          <a:p>
            <a:pPr algn="ctr" defTabSz="914377">
              <a:defRPr/>
            </a:pPr>
            <a:r>
              <a:rPr lang="nb-NO">
                <a:solidFill>
                  <a:srgbClr val="000000"/>
                </a:solidFill>
                <a:latin typeface="Arial" panose="020B0604020202020204"/>
                <a:cs typeface="Arial"/>
              </a:rPr>
              <a:t>Levekår</a:t>
            </a:r>
          </a:p>
        </p:txBody>
      </p:sp>
      <p:sp>
        <p:nvSpPr>
          <p:cNvPr id="24" name="TekstSylinder 23">
            <a:extLst>
              <a:ext uri="{FF2B5EF4-FFF2-40B4-BE49-F238E27FC236}">
                <a16:creationId xmlns:a16="http://schemas.microsoft.com/office/drawing/2014/main" id="{FE432514-F7EA-49A8-A070-1C703AAAE12F}"/>
              </a:ext>
            </a:extLst>
          </p:cNvPr>
          <p:cNvSpPr txBox="1"/>
          <p:nvPr/>
        </p:nvSpPr>
        <p:spPr>
          <a:xfrm>
            <a:off x="4435951" y="2447834"/>
            <a:ext cx="3310785"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nb-NO">
                <a:solidFill>
                  <a:srgbClr val="3E3832"/>
                </a:solidFill>
                <a:latin typeface="Arial" panose="020B0604020202020204" pitchFamily="34" charset="0"/>
                <a:ea typeface="Segoe UI" charset="0"/>
                <a:cs typeface="Arial" panose="020B0604020202020204" pitchFamily="34" charset="0"/>
              </a:rPr>
              <a:t>Demografi</a:t>
            </a:r>
          </a:p>
        </p:txBody>
      </p:sp>
      <p:pic>
        <p:nvPicPr>
          <p:cNvPr id="25" name="Picture 3" descr="Hus kontur">
            <a:extLst>
              <a:ext uri="{FF2B5EF4-FFF2-40B4-BE49-F238E27FC236}">
                <a16:creationId xmlns:a16="http://schemas.microsoft.com/office/drawing/2014/main" id="{A2CC1AB8-7612-4FFB-9553-7FA08C9C708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733112" y="1696873"/>
            <a:ext cx="693757" cy="693757"/>
          </a:xfrm>
          <a:prstGeom prst="rect">
            <a:avLst/>
          </a:prstGeom>
        </p:spPr>
      </p:pic>
      <p:pic>
        <p:nvPicPr>
          <p:cNvPr id="26" name="Picture 3" descr="Universell tilgang kontur">
            <a:extLst>
              <a:ext uri="{FF2B5EF4-FFF2-40B4-BE49-F238E27FC236}">
                <a16:creationId xmlns:a16="http://schemas.microsoft.com/office/drawing/2014/main" id="{13C5FCC3-8FE1-4BA9-8704-33F5BBC8FE3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474360" y="1656856"/>
            <a:ext cx="773792" cy="773792"/>
          </a:xfrm>
          <a:prstGeom prst="rect">
            <a:avLst/>
          </a:prstGeom>
        </p:spPr>
      </p:pic>
      <p:sp>
        <p:nvSpPr>
          <p:cNvPr id="27" name="TekstSylinder 26">
            <a:extLst>
              <a:ext uri="{FF2B5EF4-FFF2-40B4-BE49-F238E27FC236}">
                <a16:creationId xmlns:a16="http://schemas.microsoft.com/office/drawing/2014/main" id="{B18BC72B-7537-4C31-80B1-4C58C8992DAD}"/>
              </a:ext>
            </a:extLst>
          </p:cNvPr>
          <p:cNvSpPr txBox="1"/>
          <p:nvPr/>
        </p:nvSpPr>
        <p:spPr>
          <a:xfrm>
            <a:off x="8180208" y="2456962"/>
            <a:ext cx="3325859"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nb-NO">
                <a:solidFill>
                  <a:srgbClr val="3E3832"/>
                </a:solidFill>
                <a:latin typeface="Arial" panose="020B0604020202020204" pitchFamily="34" charset="0"/>
                <a:ea typeface="Segoe UI" charset="0"/>
                <a:cs typeface="Arial" panose="020B0604020202020204" pitchFamily="34" charset="0"/>
              </a:rPr>
              <a:t>Brukerforventninger</a:t>
            </a:r>
          </a:p>
        </p:txBody>
      </p:sp>
      <p:sp>
        <p:nvSpPr>
          <p:cNvPr id="31" name="Rectangle 44">
            <a:extLst>
              <a:ext uri="{FF2B5EF4-FFF2-40B4-BE49-F238E27FC236}">
                <a16:creationId xmlns:a16="http://schemas.microsoft.com/office/drawing/2014/main" id="{87F0AD1B-A2F1-49DD-BFCD-7CD84AFB3F95}"/>
              </a:ext>
            </a:extLst>
          </p:cNvPr>
          <p:cNvSpPr/>
          <p:nvPr/>
        </p:nvSpPr>
        <p:spPr>
          <a:xfrm>
            <a:off x="723806" y="4112976"/>
            <a:ext cx="3299923" cy="369332"/>
          </a:xfrm>
          <a:prstGeom prst="rect">
            <a:avLst/>
          </a:prstGeom>
        </p:spPr>
        <p:txBody>
          <a:bodyPr wrap="square" anchor="ctr">
            <a:spAutoFit/>
          </a:bodyPr>
          <a:lstStyle/>
          <a:p>
            <a:pPr algn="ctr" defTabSz="914377">
              <a:defRPr/>
            </a:pPr>
            <a:r>
              <a:rPr lang="nb-NO">
                <a:solidFill>
                  <a:srgbClr val="000000"/>
                </a:solidFill>
                <a:latin typeface="Arial" panose="020B0604020202020204"/>
              </a:rPr>
              <a:t>Teknologi</a:t>
            </a:r>
          </a:p>
        </p:txBody>
      </p:sp>
      <p:sp>
        <p:nvSpPr>
          <p:cNvPr id="22" name="TekstSylinder 21">
            <a:extLst>
              <a:ext uri="{FF2B5EF4-FFF2-40B4-BE49-F238E27FC236}">
                <a16:creationId xmlns:a16="http://schemas.microsoft.com/office/drawing/2014/main" id="{C73AD9CA-E330-4768-A9A5-63386CB7F662}"/>
              </a:ext>
            </a:extLst>
          </p:cNvPr>
          <p:cNvSpPr txBox="1"/>
          <p:nvPr/>
        </p:nvSpPr>
        <p:spPr>
          <a:xfrm>
            <a:off x="731600" y="2447834"/>
            <a:ext cx="3292129"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nb-NO">
                <a:solidFill>
                  <a:srgbClr val="3E3832"/>
                </a:solidFill>
                <a:latin typeface="Arial" panose="020B0604020202020204" pitchFamily="34" charset="0"/>
                <a:ea typeface="Segoe UI" charset="0"/>
                <a:cs typeface="Arial" panose="020B0604020202020204" pitchFamily="34" charset="0"/>
              </a:rPr>
              <a:t>Arbeidsmarkedet</a:t>
            </a:r>
          </a:p>
        </p:txBody>
      </p:sp>
      <p:pic>
        <p:nvPicPr>
          <p:cNvPr id="32" name="Picture 3" descr="Bygnings arbeider hunn kontur">
            <a:extLst>
              <a:ext uri="{FF2B5EF4-FFF2-40B4-BE49-F238E27FC236}">
                <a16:creationId xmlns:a16="http://schemas.microsoft.com/office/drawing/2014/main" id="{7710732F-06BA-4EB3-AC67-E703F07B88D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982361" y="1647346"/>
            <a:ext cx="693757" cy="693757"/>
          </a:xfrm>
          <a:prstGeom prst="rect">
            <a:avLst/>
          </a:prstGeom>
        </p:spPr>
      </p:pic>
      <p:pic>
        <p:nvPicPr>
          <p:cNvPr id="33" name="Picture 3" descr="Internett kontur">
            <a:extLst>
              <a:ext uri="{FF2B5EF4-FFF2-40B4-BE49-F238E27FC236}">
                <a16:creationId xmlns:a16="http://schemas.microsoft.com/office/drawing/2014/main" id="{9867032B-F6C7-4817-9943-F386FADD78F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982361" y="3347044"/>
            <a:ext cx="747665" cy="747665"/>
          </a:xfrm>
          <a:prstGeom prst="rect">
            <a:avLst/>
          </a:prstGeom>
        </p:spPr>
      </p:pic>
      <p:pic>
        <p:nvPicPr>
          <p:cNvPr id="34" name="Picture 3" descr="Hjerte med puls kontur">
            <a:extLst>
              <a:ext uri="{FF2B5EF4-FFF2-40B4-BE49-F238E27FC236}">
                <a16:creationId xmlns:a16="http://schemas.microsoft.com/office/drawing/2014/main" id="{CC79040F-B185-4980-9649-97C2429CD53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5790054" y="3387109"/>
            <a:ext cx="657075" cy="657075"/>
          </a:xfrm>
          <a:prstGeom prst="rect">
            <a:avLst/>
          </a:prstGeom>
        </p:spPr>
      </p:pic>
      <p:sp>
        <p:nvSpPr>
          <p:cNvPr id="35" name="Rectangle 44">
            <a:extLst>
              <a:ext uri="{FF2B5EF4-FFF2-40B4-BE49-F238E27FC236}">
                <a16:creationId xmlns:a16="http://schemas.microsoft.com/office/drawing/2014/main" id="{3F10FF2E-4FE8-4DF8-9D73-3A292D0703E1}"/>
              </a:ext>
            </a:extLst>
          </p:cNvPr>
          <p:cNvSpPr/>
          <p:nvPr/>
        </p:nvSpPr>
        <p:spPr>
          <a:xfrm>
            <a:off x="8142335" y="4112976"/>
            <a:ext cx="3325859" cy="369332"/>
          </a:xfrm>
          <a:prstGeom prst="rect">
            <a:avLst/>
          </a:prstGeom>
        </p:spPr>
        <p:txBody>
          <a:bodyPr wrap="square" anchor="ctr">
            <a:spAutoFit/>
          </a:bodyPr>
          <a:lstStyle/>
          <a:p>
            <a:pPr algn="ctr" defTabSz="914377">
              <a:defRPr/>
            </a:pPr>
            <a:r>
              <a:rPr lang="nb-NO">
                <a:solidFill>
                  <a:srgbClr val="000000"/>
                </a:solidFill>
                <a:latin typeface="Arial" panose="020B0604020202020204"/>
              </a:rPr>
              <a:t>Helse</a:t>
            </a:r>
          </a:p>
        </p:txBody>
      </p:sp>
      <p:pic>
        <p:nvPicPr>
          <p:cNvPr id="36" name="Picture 3" descr="Plaster kontur">
            <a:extLst>
              <a:ext uri="{FF2B5EF4-FFF2-40B4-BE49-F238E27FC236}">
                <a16:creationId xmlns:a16="http://schemas.microsoft.com/office/drawing/2014/main" id="{509FBF9E-CB9F-40F8-9CBB-FD884A667ED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a:off x="9474360" y="3353387"/>
            <a:ext cx="657075" cy="657075"/>
          </a:xfrm>
          <a:prstGeom prst="rect">
            <a:avLst/>
          </a:prstGeom>
        </p:spPr>
      </p:pic>
      <p:sp>
        <p:nvSpPr>
          <p:cNvPr id="4" name="Rectangle 12">
            <a:extLst>
              <a:ext uri="{FF2B5EF4-FFF2-40B4-BE49-F238E27FC236}">
                <a16:creationId xmlns:a16="http://schemas.microsoft.com/office/drawing/2014/main" id="{C587A292-9BC2-3391-3AF6-3EE55225EBDD}"/>
              </a:ext>
            </a:extLst>
          </p:cNvPr>
          <p:cNvSpPr/>
          <p:nvPr/>
        </p:nvSpPr>
        <p:spPr>
          <a:xfrm>
            <a:off x="4455661" y="4992800"/>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5" name="Rectangle 44">
            <a:extLst>
              <a:ext uri="{FF2B5EF4-FFF2-40B4-BE49-F238E27FC236}">
                <a16:creationId xmlns:a16="http://schemas.microsoft.com/office/drawing/2014/main" id="{080D0388-F0F7-1B28-2D9A-A6DB431C4EF7}"/>
              </a:ext>
            </a:extLst>
          </p:cNvPr>
          <p:cNvSpPr/>
          <p:nvPr/>
        </p:nvSpPr>
        <p:spPr>
          <a:xfrm>
            <a:off x="4469053" y="5824342"/>
            <a:ext cx="3325859" cy="369332"/>
          </a:xfrm>
          <a:prstGeom prst="rect">
            <a:avLst/>
          </a:prstGeom>
        </p:spPr>
        <p:txBody>
          <a:bodyPr wrap="square" lIns="91440" tIns="45720" rIns="91440" bIns="45720" anchor="ctr">
            <a:spAutoFit/>
          </a:bodyPr>
          <a:lstStyle/>
          <a:p>
            <a:pPr algn="ctr" defTabSz="914377">
              <a:defRPr/>
            </a:pPr>
            <a:r>
              <a:rPr lang="nb-NO">
                <a:solidFill>
                  <a:srgbClr val="000000"/>
                </a:solidFill>
                <a:latin typeface="Arial" panose="020B0604020202020204"/>
                <a:cs typeface="Arial"/>
              </a:rPr>
              <a:t>Politiske trender</a:t>
            </a:r>
          </a:p>
        </p:txBody>
      </p:sp>
      <p:pic>
        <p:nvPicPr>
          <p:cNvPr id="6" name="Picture 3" descr="Megafon kontur">
            <a:extLst>
              <a:ext uri="{FF2B5EF4-FFF2-40B4-BE49-F238E27FC236}">
                <a16:creationId xmlns:a16="http://schemas.microsoft.com/office/drawing/2014/main" id="{1945E089-9F97-86C4-B58A-2C86F92642E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5803446" y="5090855"/>
            <a:ext cx="657075" cy="657075"/>
          </a:xfrm>
          <a:prstGeom prst="rect">
            <a:avLst/>
          </a:prstGeom>
        </p:spPr>
      </p:pic>
    </p:spTree>
    <p:extLst>
      <p:ext uri="{BB962C8B-B14F-4D97-AF65-F5344CB8AC3E}">
        <p14:creationId xmlns:p14="http://schemas.microsoft.com/office/powerpoint/2010/main" val="3606504357"/>
      </p:ext>
    </p:extLst>
  </p:cSld>
  <p:clrMapOvr>
    <a:masterClrMapping/>
  </p:clrMapOvr>
  <p:transition spd="med" advClick="0">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169D3F4F-EA94-447E-4104-B4E18672D7C7}"/>
              </a:ext>
            </a:extLst>
          </p:cNvPr>
          <p:cNvSpPr>
            <a:spLocks noGrp="1"/>
          </p:cNvSpPr>
          <p:nvPr>
            <p:ph type="title"/>
          </p:nvPr>
        </p:nvSpPr>
        <p:spPr>
          <a:xfrm>
            <a:off x="1" y="688489"/>
            <a:ext cx="12191999" cy="688488"/>
          </a:xfrm>
        </p:spPr>
        <p:txBody>
          <a:bodyPr>
            <a:normAutofit/>
          </a:bodyPr>
          <a:lstStyle/>
          <a:p>
            <a:pPr algn="ctr"/>
            <a:r>
              <a:rPr lang="nb-NO" sz="1600" noProof="0">
                <a:solidFill>
                  <a:schemeClr val="tx1"/>
                </a:solidFill>
              </a:rPr>
              <a:t>De fem samfunnstrendene som ifølge </a:t>
            </a:r>
            <a:r>
              <a:rPr lang="nb-NO" sz="1600" noProof="0" err="1">
                <a:solidFill>
                  <a:schemeClr val="tx1"/>
                </a:solidFill>
              </a:rPr>
              <a:t>NAVs</a:t>
            </a:r>
            <a:r>
              <a:rPr lang="nb-NO" sz="1600" noProof="0">
                <a:solidFill>
                  <a:schemeClr val="tx1"/>
                </a:solidFill>
              </a:rPr>
              <a:t> ansatte vil påvirke NAV mest og minst de neste 10 årene </a:t>
            </a:r>
            <a:endParaRPr lang="nb-NO" sz="3600" noProof="0">
              <a:solidFill>
                <a:schemeClr val="tx1"/>
              </a:solidFill>
            </a:endParaRPr>
          </a:p>
        </p:txBody>
      </p:sp>
      <p:sp>
        <p:nvSpPr>
          <p:cNvPr id="3" name="Rektangel 2">
            <a:extLst>
              <a:ext uri="{FF2B5EF4-FFF2-40B4-BE49-F238E27FC236}">
                <a16:creationId xmlns:a16="http://schemas.microsoft.com/office/drawing/2014/main" id="{4808CDCB-000C-A9FF-35B4-BBD695D5B225}"/>
              </a:ext>
            </a:extLst>
          </p:cNvPr>
          <p:cNvSpPr/>
          <p:nvPr/>
        </p:nvSpPr>
        <p:spPr>
          <a:xfrm>
            <a:off x="0" y="1"/>
            <a:ext cx="12192000" cy="688488"/>
          </a:xfrm>
          <a:prstGeom prst="rect">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4000">
                <a:latin typeface="Arial" panose="020B0604020202020204" pitchFamily="34" charset="0"/>
                <a:cs typeface="Arial" panose="020B0604020202020204" pitchFamily="34" charset="0"/>
              </a:rPr>
              <a:t>Spørreundersøkelse blant egne ansatte juni 2022</a:t>
            </a:r>
          </a:p>
        </p:txBody>
      </p:sp>
      <p:sp>
        <p:nvSpPr>
          <p:cNvPr id="11" name="TekstSylinder 10">
            <a:extLst>
              <a:ext uri="{FF2B5EF4-FFF2-40B4-BE49-F238E27FC236}">
                <a16:creationId xmlns:a16="http://schemas.microsoft.com/office/drawing/2014/main" id="{679A9086-7825-6ED9-F4D2-C202161D8DFE}"/>
              </a:ext>
            </a:extLst>
          </p:cNvPr>
          <p:cNvSpPr txBox="1"/>
          <p:nvPr/>
        </p:nvSpPr>
        <p:spPr>
          <a:xfrm>
            <a:off x="7136635" y="5880525"/>
            <a:ext cx="1765852" cy="276999"/>
          </a:xfrm>
          <a:prstGeom prst="rect">
            <a:avLst/>
          </a:prstGeom>
          <a:noFill/>
        </p:spPr>
        <p:txBody>
          <a:bodyPr wrap="square" rtlCol="0">
            <a:spAutoFit/>
          </a:bodyPr>
          <a:lstStyle/>
          <a:p>
            <a:pPr algn="ctr"/>
            <a:r>
              <a:rPr lang="nb-NO" sz="1200">
                <a:latin typeface="Arial" panose="020B0604020202020204" pitchFamily="34" charset="0"/>
                <a:cs typeface="Arial" panose="020B0604020202020204" pitchFamily="34" charset="0"/>
              </a:rPr>
              <a:t>Noe påvirkning</a:t>
            </a:r>
          </a:p>
        </p:txBody>
      </p:sp>
      <p:sp>
        <p:nvSpPr>
          <p:cNvPr id="12" name="TekstSylinder 11">
            <a:extLst>
              <a:ext uri="{FF2B5EF4-FFF2-40B4-BE49-F238E27FC236}">
                <a16:creationId xmlns:a16="http://schemas.microsoft.com/office/drawing/2014/main" id="{E5A1B7C8-294B-F464-5CF6-49FAD722C8B8}"/>
              </a:ext>
            </a:extLst>
          </p:cNvPr>
          <p:cNvSpPr txBox="1"/>
          <p:nvPr/>
        </p:nvSpPr>
        <p:spPr>
          <a:xfrm>
            <a:off x="9741541" y="5880524"/>
            <a:ext cx="1365567" cy="276999"/>
          </a:xfrm>
          <a:prstGeom prst="rect">
            <a:avLst/>
          </a:prstGeom>
          <a:noFill/>
        </p:spPr>
        <p:txBody>
          <a:bodyPr wrap="square" rtlCol="0">
            <a:spAutoFit/>
          </a:bodyPr>
          <a:lstStyle/>
          <a:p>
            <a:pPr algn="ctr"/>
            <a:r>
              <a:rPr lang="nb-NO" sz="1200">
                <a:latin typeface="Arial" panose="020B0604020202020204" pitchFamily="34" charset="0"/>
                <a:cs typeface="Arial" panose="020B0604020202020204" pitchFamily="34" charset="0"/>
              </a:rPr>
              <a:t>Stor påvirkning</a:t>
            </a:r>
          </a:p>
        </p:txBody>
      </p:sp>
      <p:sp>
        <p:nvSpPr>
          <p:cNvPr id="13" name="TekstSylinder 12">
            <a:extLst>
              <a:ext uri="{FF2B5EF4-FFF2-40B4-BE49-F238E27FC236}">
                <a16:creationId xmlns:a16="http://schemas.microsoft.com/office/drawing/2014/main" id="{8CD3DD24-9597-39B5-5333-1808A69CA5C2}"/>
              </a:ext>
            </a:extLst>
          </p:cNvPr>
          <p:cNvSpPr txBox="1"/>
          <p:nvPr/>
        </p:nvSpPr>
        <p:spPr>
          <a:xfrm>
            <a:off x="4888730" y="5880526"/>
            <a:ext cx="1312536" cy="276999"/>
          </a:xfrm>
          <a:prstGeom prst="rect">
            <a:avLst/>
          </a:prstGeom>
          <a:noFill/>
        </p:spPr>
        <p:txBody>
          <a:bodyPr wrap="square" rtlCol="0">
            <a:spAutoFit/>
          </a:bodyPr>
          <a:lstStyle/>
          <a:p>
            <a:pPr algn="ctr"/>
            <a:r>
              <a:rPr lang="nb-NO" sz="1200">
                <a:latin typeface="Arial" panose="020B0604020202020204" pitchFamily="34" charset="0"/>
                <a:cs typeface="Arial" panose="020B0604020202020204" pitchFamily="34" charset="0"/>
              </a:rPr>
              <a:t>Liten påvirkning</a:t>
            </a:r>
          </a:p>
        </p:txBody>
      </p:sp>
      <p:graphicFrame>
        <p:nvGraphicFramePr>
          <p:cNvPr id="5" name="Chart 1">
            <a:extLst>
              <a:ext uri="{FF2B5EF4-FFF2-40B4-BE49-F238E27FC236}">
                <a16:creationId xmlns:a16="http://schemas.microsoft.com/office/drawing/2014/main" id="{78587611-CF88-3A61-FAAD-F670D730DF62}"/>
              </a:ext>
            </a:extLst>
          </p:cNvPr>
          <p:cNvGraphicFramePr>
            <a:graphicFrameLocks/>
          </p:cNvGraphicFramePr>
          <p:nvPr>
            <p:extLst>
              <p:ext uri="{D42A27DB-BD31-4B8C-83A1-F6EECF244321}">
                <p14:modId xmlns:p14="http://schemas.microsoft.com/office/powerpoint/2010/main" val="1667735422"/>
              </p:ext>
            </p:extLst>
          </p:nvPr>
        </p:nvGraphicFramePr>
        <p:xfrm>
          <a:off x="1495425" y="1376977"/>
          <a:ext cx="9143999" cy="49190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17460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image" Target="../media/image4.jpeg"/></Relationships>
</file>

<file path=ppt/theme/theme1.xml><?xml version="1.0" encoding="utf-8"?>
<a:theme xmlns:a="http://schemas.openxmlformats.org/drawingml/2006/main" name="Office-tema">
  <a:themeElements>
    <a:clrScheme name="NAV">
      <a:dk1>
        <a:srgbClr val="000000"/>
      </a:dk1>
      <a:lt1>
        <a:srgbClr val="FFFFFF"/>
      </a:lt1>
      <a:dk2>
        <a:srgbClr val="3E3832"/>
      </a:dk2>
      <a:lt2>
        <a:srgbClr val="E9E7E7"/>
      </a:lt2>
      <a:accent1>
        <a:srgbClr val="C30000"/>
      </a:accent1>
      <a:accent2>
        <a:srgbClr val="0067C5"/>
      </a:accent2>
      <a:accent3>
        <a:srgbClr val="A2AD00"/>
      </a:accent3>
      <a:accent4>
        <a:srgbClr val="FF9100"/>
      </a:accent4>
      <a:accent5>
        <a:srgbClr val="06893A"/>
      </a:accent5>
      <a:accent6>
        <a:srgbClr val="634689"/>
      </a:accent6>
      <a:hlink>
        <a:srgbClr val="0067C5"/>
      </a:hlink>
      <a:folHlink>
        <a:srgbClr val="63468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D115AE5-62DA-49E4-941C-0CAD096C68B1}" vid="{635A7B2C-7959-4FAC-9936-FB7518985716}"/>
    </a:ext>
  </a:extLst>
</a:theme>
</file>

<file path=ppt/theme/theme2.xml><?xml version="1.0" encoding="utf-8"?>
<a:theme xmlns:a="http://schemas.openxmlformats.org/drawingml/2006/main" name="1_Office-tema">
  <a:themeElements>
    <a:clrScheme name="NAV">
      <a:dk1>
        <a:srgbClr val="000000"/>
      </a:dk1>
      <a:lt1>
        <a:srgbClr val="FFFFFF"/>
      </a:lt1>
      <a:dk2>
        <a:srgbClr val="3E3832"/>
      </a:dk2>
      <a:lt2>
        <a:srgbClr val="E9E7E7"/>
      </a:lt2>
      <a:accent1>
        <a:srgbClr val="C30000"/>
      </a:accent1>
      <a:accent2>
        <a:srgbClr val="0067C5"/>
      </a:accent2>
      <a:accent3>
        <a:srgbClr val="A2AD00"/>
      </a:accent3>
      <a:accent4>
        <a:srgbClr val="FF9100"/>
      </a:accent4>
      <a:accent5>
        <a:srgbClr val="06893A"/>
      </a:accent5>
      <a:accent6>
        <a:srgbClr val="634689"/>
      </a:accent6>
      <a:hlink>
        <a:srgbClr val="0067C5"/>
      </a:hlink>
      <a:folHlink>
        <a:srgbClr val="63468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B0123D0-EAF0-49D1-B774-E8D06FB9B61C}" vid="{2C0C07A7-A903-4988-8925-53FC2A42362D}"/>
    </a:ext>
  </a:extLst>
</a:theme>
</file>

<file path=ppt/theme/theme3.xml><?xml version="1.0" encoding="utf-8"?>
<a:theme xmlns:a="http://schemas.openxmlformats.org/drawingml/2006/main" name="1_NAV PRESENTASJONSMAL">
  <a:themeElements>
    <a:clrScheme name="NAV farger">
      <a:dk1>
        <a:srgbClr val="3E3832"/>
      </a:dk1>
      <a:lt1>
        <a:srgbClr val="FFFFFF"/>
      </a:lt1>
      <a:dk2>
        <a:srgbClr val="06893A"/>
      </a:dk2>
      <a:lt2>
        <a:srgbClr val="66CBEC"/>
      </a:lt2>
      <a:accent1>
        <a:srgbClr val="3E3832"/>
      </a:accent1>
      <a:accent2>
        <a:srgbClr val="C30000"/>
      </a:accent2>
      <a:accent3>
        <a:srgbClr val="BA3A26"/>
      </a:accent3>
      <a:accent4>
        <a:srgbClr val="005B82"/>
      </a:accent4>
      <a:accent5>
        <a:srgbClr val="634689"/>
      </a:accent5>
      <a:accent6>
        <a:srgbClr val="FF9100"/>
      </a:accent6>
      <a:hlink>
        <a:srgbClr val="0067C5"/>
      </a:hlink>
      <a:folHlink>
        <a:srgbClr val="005B82"/>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lumMod val="20000"/>
            <a:lumOff val="80000"/>
          </a:schemeClr>
        </a:solidFill>
        <a:ln w="25400" cap="flat" cmpd="sng" algn="ctr">
          <a:noFill/>
          <a:prstDash val="solid"/>
          <a:round/>
          <a:headEnd type="none" w="med" len="med"/>
          <a:tailEnd type="none" w="med" len="med"/>
        </a:ln>
        <a:effectLst/>
      </a:spPr>
      <a:bodyPr vert="horz" wrap="square" lIns="36000" tIns="36000" rIns="36000" bIns="360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accent1"/>
            </a:solidFill>
            <a:effectLst/>
            <a:latin typeface="Arial" panose="020B0604020202020204" pitchFamily="34" charset="0"/>
            <a:ea typeface="ヒラギノ角ゴ ProN W3" charset="0"/>
            <a:cs typeface="Arial" panose="020B0604020202020204" pitchFamily="34" charset="0"/>
            <a:sym typeface="Gill Sans" charset="0"/>
          </a:defRPr>
        </a:defPPr>
      </a:lstStyle>
    </a:spDef>
    <a:lnDef>
      <a:spPr bwMode="auto">
        <a:blipFill dpi="0" rotWithShape="0">
          <a:blip xmlns:r="http://schemas.openxmlformats.org/officeDocument/2006/relationships" r:embed="rId1"/>
          <a:srcRect/>
          <a:tile tx="0" ty="0" sx="100000" sy="100000" flip="none" algn="tl"/>
        </a:blipFill>
        <a:ln w="127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none" lIns="0" tIns="0" rIns="0" bIns="0" rtlCol="0">
        <a:spAutoFit/>
      </a:bodyPr>
      <a:lstStyle>
        <a:defPPr marL="216000" indent="-180000" algn="l">
          <a:spcBef>
            <a:spcPts val="600"/>
          </a:spcBef>
          <a:buClr>
            <a:schemeClr val="accent2"/>
          </a:buClr>
          <a:buSzPct val="80000"/>
          <a:buBlip>
            <a:blip xmlns:r="http://schemas.openxmlformats.org/officeDocument/2006/relationships" r:embed="rId2">
              <a:extLst>
                <a:ext uri="{96DAC541-7B7A-43D3-8B79-37D633B846F1}">
                  <asvg:svgBlip xmlns:asvg="http://schemas.microsoft.com/office/drawing/2016/SVG/main" r:embed="rId3"/>
                </a:ext>
              </a:extLst>
            </a:blip>
          </a:buBlip>
          <a:defRPr sz="1400" dirty="0" err="1" smtClean="0">
            <a:latin typeface="Arial" panose="020B0604020202020204" pitchFamily="34" charset="0"/>
            <a:ea typeface="Segoe UI" charset="0"/>
            <a:cs typeface="Arial" panose="020B0604020202020204" pitchFamily="34" charset="0"/>
          </a:defRPr>
        </a:defPPr>
      </a:lstStyle>
    </a:txDef>
  </a:objectDefaults>
  <a:extraClrSchemeLst>
    <a:extraClrScheme>
      <a:clrScheme name="FRONTPAGE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 mal" id="{B6D9CCDE-D400-2346-9CBB-DFA0930C6C1D}" vid="{766770FE-94E5-0C4E-ADD4-B20B2844A947}"/>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1.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2.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3.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4.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f68d134-57be-4622-84ed-afa6d3bf819b">
      <Terms xmlns="http://schemas.microsoft.com/office/infopath/2007/PartnerControls"/>
    </lcf76f155ced4ddcb4097134ff3c332f>
    <TaxCatchAll xmlns="57a30541-e129-40c4-aedb-01caf0bc69a4" xsi:nil="true"/>
    <SharedWithUsers xmlns="57a30541-e129-40c4-aedb-01caf0bc69a4">
      <UserInfo>
        <DisplayName>Pedersen, Marianne</DisplayName>
        <AccountId>89</AccountId>
        <AccountType/>
      </UserInfo>
      <UserInfo>
        <DisplayName>Schjold, Hanne Røvig</DisplayName>
        <AccountId>230</AccountId>
        <AccountType/>
      </UserInfo>
      <UserInfo>
        <DisplayName>Christensen, Petter</DisplayName>
        <AccountId>222</AccountId>
        <AccountType/>
      </UserInfo>
      <UserInfo>
        <DisplayName>Omverdensanalysen Members</DisplayName>
        <AccountId>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5BB1D4BEC8A464BA39CA79479942468" ma:contentTypeVersion="15" ma:contentTypeDescription="Create a new document." ma:contentTypeScope="" ma:versionID="02345f44801e48dd2204af0de16e5d1e">
  <xsd:schema xmlns:xsd="http://www.w3.org/2001/XMLSchema" xmlns:xs="http://www.w3.org/2001/XMLSchema" xmlns:p="http://schemas.microsoft.com/office/2006/metadata/properties" xmlns:ns2="9f68d134-57be-4622-84ed-afa6d3bf819b" xmlns:ns3="57a30541-e129-40c4-aedb-01caf0bc69a4" targetNamespace="http://schemas.microsoft.com/office/2006/metadata/properties" ma:root="true" ma:fieldsID="2ddfee69f15c2b6f60827cc9a20bf8a5" ns2:_="" ns3:_="">
    <xsd:import namespace="9f68d134-57be-4622-84ed-afa6d3bf819b"/>
    <xsd:import namespace="57a30541-e129-40c4-aedb-01caf0bc69a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68d134-57be-4622-84ed-afa6d3bf81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228493a-ba9a-494e-af97-f05f01d29ce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7a30541-e129-40c4-aedb-01caf0bc69a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0a69bdc-b7f8-46f4-b380-dd78b1ae5731}" ma:internalName="TaxCatchAll" ma:showField="CatchAllData" ma:web="57a30541-e129-40c4-aedb-01caf0bc69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BA16CF-69EA-4443-BEE0-73385E2EEDD0}">
  <ds:schemaRefs>
    <ds:schemaRef ds:uri="http://schemas.microsoft.com/sharepoint/v3/contenttype/forms"/>
  </ds:schemaRefs>
</ds:datastoreItem>
</file>

<file path=customXml/itemProps2.xml><?xml version="1.0" encoding="utf-8"?>
<ds:datastoreItem xmlns:ds="http://schemas.openxmlformats.org/officeDocument/2006/customXml" ds:itemID="{AC591905-A811-45D1-A44B-D4999240A5F2}">
  <ds:schemaRefs>
    <ds:schemaRef ds:uri="9f68d134-57be-4622-84ed-afa6d3bf819b"/>
    <ds:schemaRef ds:uri="57a30541-e129-40c4-aedb-01caf0bc69a4"/>
    <ds:schemaRef ds:uri="http://schemas.microsoft.com/office/infopath/2007/PartnerControls"/>
    <ds:schemaRef ds:uri="http://schemas.microsoft.com/office/2006/documentManagement/types"/>
    <ds:schemaRef ds:uri="http://purl.org/dc/dcmitype/"/>
    <ds:schemaRef ds:uri="http://schemas.microsoft.com/office/2006/metadata/properties"/>
    <ds:schemaRef ds:uri="http://purl.org/dc/elements/1.1/"/>
    <ds:schemaRef ds:uri="http://purl.org/dc/terms/"/>
    <ds:schemaRef ds:uri="http://www.w3.org/XML/1998/namespace"/>
    <ds:schemaRef ds:uri="http://schemas.openxmlformats.org/package/2006/metadata/core-properties"/>
  </ds:schemaRefs>
</ds:datastoreItem>
</file>

<file path=customXml/itemProps3.xml><?xml version="1.0" encoding="utf-8"?>
<ds:datastoreItem xmlns:ds="http://schemas.openxmlformats.org/officeDocument/2006/customXml" ds:itemID="{4FF37D72-4F44-47CB-9B60-2B2119953D8B}"/>
</file>

<file path=docProps/app.xml><?xml version="1.0" encoding="utf-8"?>
<Properties xmlns="http://schemas.openxmlformats.org/officeDocument/2006/extended-properties" xmlns:vt="http://schemas.openxmlformats.org/officeDocument/2006/docPropsVTypes">
  <TotalTime>5</TotalTime>
  <Words>19205</Words>
  <Application>Microsoft Office PowerPoint</Application>
  <PresentationFormat>Widescreen</PresentationFormat>
  <Paragraphs>912</Paragraphs>
  <Slides>64</Slides>
  <Notes>64</Notes>
  <HiddenSlides>2</HiddenSlides>
  <MMClips>0</MMClips>
  <ScaleCrop>false</ScaleCrop>
  <HeadingPairs>
    <vt:vector size="8" baseType="variant">
      <vt:variant>
        <vt:lpstr>Brukte skrifter</vt:lpstr>
      </vt:variant>
      <vt:variant>
        <vt:i4>7</vt:i4>
      </vt:variant>
      <vt:variant>
        <vt:lpstr>Tema</vt:lpstr>
      </vt:variant>
      <vt:variant>
        <vt:i4>3</vt:i4>
      </vt:variant>
      <vt:variant>
        <vt:lpstr>Innebygde OLE-servere</vt:lpstr>
      </vt:variant>
      <vt:variant>
        <vt:i4>1</vt:i4>
      </vt:variant>
      <vt:variant>
        <vt:lpstr>Lysbildetitler</vt:lpstr>
      </vt:variant>
      <vt:variant>
        <vt:i4>64</vt:i4>
      </vt:variant>
    </vt:vector>
  </HeadingPairs>
  <TitlesOfParts>
    <vt:vector size="75" baseType="lpstr">
      <vt:lpstr>Arial</vt:lpstr>
      <vt:lpstr>Calibri</vt:lpstr>
      <vt:lpstr>Gill Sans</vt:lpstr>
      <vt:lpstr>Segoe UI</vt:lpstr>
      <vt:lpstr>Symbol</vt:lpstr>
      <vt:lpstr>Times New Roman</vt:lpstr>
      <vt:lpstr>Wingdings</vt:lpstr>
      <vt:lpstr>Office-tema</vt:lpstr>
      <vt:lpstr>1_Office-tema</vt:lpstr>
      <vt:lpstr>1_NAV PRESENTASJONSMAL</vt:lpstr>
      <vt:lpstr>think-cell Slide</vt:lpstr>
      <vt:lpstr>Informasjon til deg som skal bruke denne presentasjonen</vt:lpstr>
      <vt:lpstr>Innhold</vt:lpstr>
      <vt:lpstr>PowerPoint-presentasjon</vt:lpstr>
      <vt:lpstr>Hvorfor trenger NAV en omverdensanalyse?</vt:lpstr>
      <vt:lpstr>Fra framtidsvisjon til å levere endring</vt:lpstr>
      <vt:lpstr>Samfunnstrender og NAV mot 2035</vt:lpstr>
      <vt:lpstr>De største usikkerhetene for NAV</vt:lpstr>
      <vt:lpstr>PowerPoint-presentasjon</vt:lpstr>
      <vt:lpstr>De fem samfunnstrendene som ifølge NAVs ansatte vil påvirke NAV mest og minst de neste 10 årene </vt:lpstr>
      <vt:lpstr>PowerPoint-presentasjon</vt:lpstr>
      <vt:lpstr>Vi spurte  kunstig  intelligens</vt:lpstr>
      <vt:lpstr>PowerPoint-presentasjon</vt:lpstr>
      <vt:lpstr>To grunner til høy omstillingstakt</vt:lpstr>
      <vt:lpstr>PowerPoint-presentasjon</vt:lpstr>
      <vt:lpstr>Næringssammensetningen vil endre seg</vt:lpstr>
      <vt:lpstr>Det grønne skiftet – kompetansebehov </vt:lpstr>
      <vt:lpstr>1 av 5 fullfører ikke  videregående skole </vt:lpstr>
      <vt:lpstr>Konsekvenser av omstilling og økte kompetansekrav</vt:lpstr>
      <vt:lpstr>Refleksjonsspørsmål</vt:lpstr>
      <vt:lpstr>PowerPoint-presentasjon</vt:lpstr>
      <vt:lpstr>Svakere befolkningsvekst – sterk aldring</vt:lpstr>
      <vt:lpstr>Sterk vekst i mottakere av hjelpemidler og alderspensjon</vt:lpstr>
      <vt:lpstr>Størst vekst i sentrale  kommuner</vt:lpstr>
      <vt:lpstr>Når antall eldre vil passere antall yngre i fylkene…</vt:lpstr>
      <vt:lpstr>Noe lavere nettoinnvandring Klimaendringer, krig/konflikt og mangel på arbeidskraft gir økt usikkerhet</vt:lpstr>
      <vt:lpstr>Refleksjonsspørsmål</vt:lpstr>
      <vt:lpstr>PowerPoint-presentasjon</vt:lpstr>
      <vt:lpstr>Hva påvirker brukerforventninger?</vt:lpstr>
      <vt:lpstr>Brukerforventningene i 2035</vt:lpstr>
      <vt:lpstr>Mennesket i sentrum og sammenhengende tjenester</vt:lpstr>
      <vt:lpstr>Inkluderende tjenester</vt:lpstr>
      <vt:lpstr>Økte forventninger til personlige møter </vt:lpstr>
      <vt:lpstr>Forventninger fra arbeidsgivere</vt:lpstr>
      <vt:lpstr>Refleksjonsspørsmål</vt:lpstr>
      <vt:lpstr>PowerPoint-presentasjon</vt:lpstr>
      <vt:lpstr>Digitaliseringen fortsetter å bre om seg Vedvarende og tiltakende trender</vt:lpstr>
      <vt:lpstr>Nye utviklingstrekk</vt:lpstr>
      <vt:lpstr>Konsekvenser for NAV</vt:lpstr>
      <vt:lpstr>Risikoer for utviklingstakten</vt:lpstr>
      <vt:lpstr>Refleksjonsspørsmål</vt:lpstr>
      <vt:lpstr>PowerPoint-presentasjon</vt:lpstr>
      <vt:lpstr>Alle har fått økt inntekt, men liten vekst de siste årene</vt:lpstr>
      <vt:lpstr>Økende inntektsforskjeller</vt:lpstr>
      <vt:lpstr>Barn og unge voksne mest utsatt</vt:lpstr>
      <vt:lpstr>Levekår – framover mot 2035</vt:lpstr>
      <vt:lpstr>Refleksjonsspørsmål</vt:lpstr>
      <vt:lpstr>PowerPoint-presentasjon</vt:lpstr>
      <vt:lpstr>Vi lever lenger og blir friskere</vt:lpstr>
      <vt:lpstr>Aldringen gir utflating i sykdomsbyrden,  men fortsatt nedgang i yrkesaktiv alder</vt:lpstr>
      <vt:lpstr>Hvordan har koronapandemien påvirket folkehelsen?</vt:lpstr>
      <vt:lpstr>Færre med helserelaterte ytelser</vt:lpstr>
      <vt:lpstr>Stadig flere unge mottar uføretrygd</vt:lpstr>
      <vt:lpstr>Helse – utviklingen mot 2035</vt:lpstr>
      <vt:lpstr>Refleksjonsspørsmål</vt:lpstr>
      <vt:lpstr>PowerPoint-presentasjon</vt:lpstr>
      <vt:lpstr>Omstilling, inkludering og bærekraft</vt:lpstr>
      <vt:lpstr>Viktige konfliktlinjer fremover</vt:lpstr>
      <vt:lpstr>Internasjonal påvirkning</vt:lpstr>
      <vt:lpstr>Politiske muligheter</vt:lpstr>
      <vt:lpstr>Refleksjonsspørsmål</vt:lpstr>
      <vt:lpstr>PowerPoint-presentasjon</vt:lpstr>
      <vt:lpstr>Framtidas kompetansebehov i NAV</vt:lpstr>
      <vt:lpstr>PowerPoint-presentasjo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s omverdensanalyse 2021</dc:title>
  <dc:creator>Schjold, Hanne Røvig</dc:creator>
  <cp:lastModifiedBy>Lien, Ole Christian</cp:lastModifiedBy>
  <cp:revision>9</cp:revision>
  <dcterms:created xsi:type="dcterms:W3CDTF">2020-12-28T14:50:45Z</dcterms:created>
  <dcterms:modified xsi:type="dcterms:W3CDTF">2023-04-18T18:3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491420-1ae2-4120-89e6-e6f668f067e2_Enabled">
    <vt:lpwstr>true</vt:lpwstr>
  </property>
  <property fmtid="{D5CDD505-2E9C-101B-9397-08002B2CF9AE}" pid="3" name="MSIP_Label_d3491420-1ae2-4120-89e6-e6f668f067e2_SetDate">
    <vt:lpwstr>2020-12-28T14:54:20Z</vt:lpwstr>
  </property>
  <property fmtid="{D5CDD505-2E9C-101B-9397-08002B2CF9AE}" pid="4" name="MSIP_Label_d3491420-1ae2-4120-89e6-e6f668f067e2_Method">
    <vt:lpwstr>Standard</vt:lpwstr>
  </property>
  <property fmtid="{D5CDD505-2E9C-101B-9397-08002B2CF9AE}" pid="5" name="MSIP_Label_d3491420-1ae2-4120-89e6-e6f668f067e2_Name">
    <vt:lpwstr>d3491420-1ae2-4120-89e6-e6f668f067e2</vt:lpwstr>
  </property>
  <property fmtid="{D5CDD505-2E9C-101B-9397-08002B2CF9AE}" pid="6" name="MSIP_Label_d3491420-1ae2-4120-89e6-e6f668f067e2_SiteId">
    <vt:lpwstr>62366534-1ec3-4962-8869-9b5535279d0b</vt:lpwstr>
  </property>
  <property fmtid="{D5CDD505-2E9C-101B-9397-08002B2CF9AE}" pid="7" name="MSIP_Label_d3491420-1ae2-4120-89e6-e6f668f067e2_ActionId">
    <vt:lpwstr>f3701526-7a93-4a58-b725-3e21a15cb5fa</vt:lpwstr>
  </property>
  <property fmtid="{D5CDD505-2E9C-101B-9397-08002B2CF9AE}" pid="8" name="MSIP_Label_d3491420-1ae2-4120-89e6-e6f668f067e2_ContentBits">
    <vt:lpwstr>0</vt:lpwstr>
  </property>
  <property fmtid="{D5CDD505-2E9C-101B-9397-08002B2CF9AE}" pid="9" name="ContentTypeId">
    <vt:lpwstr>0x010100C5BB1D4BEC8A464BA39CA79479942468</vt:lpwstr>
  </property>
  <property fmtid="{D5CDD505-2E9C-101B-9397-08002B2CF9AE}" pid="10" name="MediaServiceImageTags">
    <vt:lpwstr/>
  </property>
</Properties>
</file>